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4" r:id="rId5"/>
    <p:sldMasterId id="2147483809" r:id="rId6"/>
    <p:sldMasterId id="2147483652" r:id="rId7"/>
  </p:sldMasterIdLst>
  <p:notesMasterIdLst>
    <p:notesMasterId r:id="rId67"/>
  </p:notesMasterIdLst>
  <p:handoutMasterIdLst>
    <p:handoutMasterId r:id="rId68"/>
  </p:handoutMasterIdLst>
  <p:sldIdLst>
    <p:sldId id="258" r:id="rId8"/>
    <p:sldId id="808" r:id="rId9"/>
    <p:sldId id="259" r:id="rId10"/>
    <p:sldId id="927" r:id="rId11"/>
    <p:sldId id="928" r:id="rId12"/>
    <p:sldId id="866" r:id="rId13"/>
    <p:sldId id="816" r:id="rId14"/>
    <p:sldId id="929" r:id="rId15"/>
    <p:sldId id="930" r:id="rId16"/>
    <p:sldId id="931" r:id="rId17"/>
    <p:sldId id="932" r:id="rId18"/>
    <p:sldId id="933" r:id="rId19"/>
    <p:sldId id="934" r:id="rId20"/>
    <p:sldId id="935" r:id="rId21"/>
    <p:sldId id="936" r:id="rId22"/>
    <p:sldId id="938" r:id="rId23"/>
    <p:sldId id="939" r:id="rId24"/>
    <p:sldId id="940" r:id="rId25"/>
    <p:sldId id="944" r:id="rId26"/>
    <p:sldId id="945" r:id="rId27"/>
    <p:sldId id="942" r:id="rId28"/>
    <p:sldId id="937" r:id="rId29"/>
    <p:sldId id="943" r:id="rId30"/>
    <p:sldId id="887" r:id="rId31"/>
    <p:sldId id="888" r:id="rId32"/>
    <p:sldId id="946" r:id="rId33"/>
    <p:sldId id="947" r:id="rId34"/>
    <p:sldId id="948" r:id="rId35"/>
    <p:sldId id="949" r:id="rId36"/>
    <p:sldId id="950" r:id="rId37"/>
    <p:sldId id="951" r:id="rId38"/>
    <p:sldId id="952" r:id="rId39"/>
    <p:sldId id="953" r:id="rId40"/>
    <p:sldId id="954" r:id="rId41"/>
    <p:sldId id="955" r:id="rId42"/>
    <p:sldId id="956" r:id="rId43"/>
    <p:sldId id="957" r:id="rId44"/>
    <p:sldId id="958" r:id="rId45"/>
    <p:sldId id="959" r:id="rId46"/>
    <p:sldId id="960" r:id="rId47"/>
    <p:sldId id="894" r:id="rId48"/>
    <p:sldId id="907" r:id="rId49"/>
    <p:sldId id="908" r:id="rId50"/>
    <p:sldId id="962" r:id="rId51"/>
    <p:sldId id="963" r:id="rId52"/>
    <p:sldId id="964" r:id="rId53"/>
    <p:sldId id="965" r:id="rId54"/>
    <p:sldId id="966" r:id="rId55"/>
    <p:sldId id="967" r:id="rId56"/>
    <p:sldId id="968" r:id="rId57"/>
    <p:sldId id="969" r:id="rId58"/>
    <p:sldId id="970" r:id="rId59"/>
    <p:sldId id="971" r:id="rId60"/>
    <p:sldId id="972" r:id="rId61"/>
    <p:sldId id="975" r:id="rId62"/>
    <p:sldId id="976" r:id="rId63"/>
    <p:sldId id="961" r:id="rId64"/>
    <p:sldId id="260" r:id="rId65"/>
    <p:sldId id="261" r:id="rId66"/>
  </p:sldIdLst>
  <p:sldSz cx="12192000" cy="6858000"/>
  <p:notesSz cx="6858000" cy="9144000"/>
  <p:custDataLst>
    <p:tags r:id="rId6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hBwdAm/XgiefggEQtIIG+w==" hashData="lqrH0l3W/S5ZVZLdfcqgH6IQeFlTWYPCC2n6SNExwlMmJIV5snOLgUSkDIDhGB4SsQ1mPwvHBrbBOqRjWbY3HQ=="/>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rio Dickmann" initials="DD" lastIdx="9" clrIdx="0"/>
  <p:cmAuthor id="2" name="Matthias" initials="M" lastIdx="3" clrIdx="1"/>
  <p:cmAuthor id="3" name="Maximilian Muecke" initials="MM" lastIdx="1" clrIdx="2">
    <p:extLst>
      <p:ext uri="{19B8F6BF-5375-455C-9EA6-DF929625EA0E}">
        <p15:presenceInfo xmlns:p15="http://schemas.microsoft.com/office/powerpoint/2012/main" userId="ff712aa7-5ff3-41e3-a12e-67ebeaf1487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93052"/>
    <a:srgbClr val="4F2E6A"/>
    <a:srgbClr val="2038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1291FF-3ED2-D1AB-6EC7-3F82956190C7}" v="579" dt="2020-03-17T21:48:50.776"/>
    <p1510:client id="{37C9B8C0-52B5-386A-6ED7-EC46893B2221}" v="147" dt="2020-03-17T16:12:03.031"/>
    <p1510:client id="{5F1E348E-7353-61D8-C6BD-B8780B2D8DD1}" v="968" dt="2020-03-17T18:27:46.314"/>
    <p1510:client id="{6B1E5ED4-B0EE-9969-BA16-54CE7A1DE464}" v="298" dt="2020-03-17T21:09:51.321"/>
    <p1510:client id="{BE0B3A27-98F3-EF3F-7A17-3E4D8247F448}" v="61" dt="2020-03-17T22:13:05.15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96" autoAdjust="0"/>
    <p:restoredTop sz="87015" autoAdjust="0"/>
  </p:normalViewPr>
  <p:slideViewPr>
    <p:cSldViewPr snapToGrid="0">
      <p:cViewPr>
        <p:scale>
          <a:sx n="50" d="100"/>
          <a:sy n="50" d="100"/>
        </p:scale>
        <p:origin x="1300" y="15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microsoft.com/office/2015/10/relationships/revisionInfo" Target="revisionInfo.xml"/><Relationship Id="rId7" Type="http://schemas.openxmlformats.org/officeDocument/2006/relationships/slideMaster" Target="slideMasters/slideMaster3.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ltrina Rexhahmetaj" userId="S::kaltrina.rexhahmetaj@bvh.org::c314e318-93e0-4c36-9995-6aa0f00e0010" providerId="AD" clId="Web-{37C9B8C0-52B5-386A-6ED7-EC46893B2221}"/>
    <pc:docChg chg="addSld delSld modSld sldOrd">
      <pc:chgData name="Kaltrina Rexhahmetaj" userId="S::kaltrina.rexhahmetaj@bvh.org::c314e318-93e0-4c36-9995-6aa0f00e0010" providerId="AD" clId="Web-{37C9B8C0-52B5-386A-6ED7-EC46893B2221}" dt="2020-03-17T16:12:03.031" v="145"/>
      <pc:docMkLst>
        <pc:docMk/>
      </pc:docMkLst>
      <pc:sldChg chg="modSp">
        <pc:chgData name="Kaltrina Rexhahmetaj" userId="S::kaltrina.rexhahmetaj@bvh.org::c314e318-93e0-4c36-9995-6aa0f00e0010" providerId="AD" clId="Web-{37C9B8C0-52B5-386A-6ED7-EC46893B2221}" dt="2020-03-17T16:10:52.828" v="122"/>
        <pc:sldMkLst>
          <pc:docMk/>
          <pc:sldMk cId="105958133" sldId="257"/>
        </pc:sldMkLst>
        <pc:spChg chg="mod">
          <ac:chgData name="Kaltrina Rexhahmetaj" userId="S::kaltrina.rexhahmetaj@bvh.org::c314e318-93e0-4c36-9995-6aa0f00e0010" providerId="AD" clId="Web-{37C9B8C0-52B5-386A-6ED7-EC46893B2221}" dt="2020-03-17T16:10:52.828" v="122"/>
          <ac:spMkLst>
            <pc:docMk/>
            <pc:sldMk cId="105958133" sldId="257"/>
            <ac:spMk id="5" creationId="{66CD1C1B-1503-45E7-8F13-04EE60650889}"/>
          </ac:spMkLst>
        </pc:spChg>
      </pc:sldChg>
      <pc:sldChg chg="modSp">
        <pc:chgData name="Kaltrina Rexhahmetaj" userId="S::kaltrina.rexhahmetaj@bvh.org::c314e318-93e0-4c36-9995-6aa0f00e0010" providerId="AD" clId="Web-{37C9B8C0-52B5-386A-6ED7-EC46893B2221}" dt="2020-03-17T16:06:52.940" v="30" actId="20577"/>
        <pc:sldMkLst>
          <pc:docMk/>
          <pc:sldMk cId="312950373" sldId="259"/>
        </pc:sldMkLst>
        <pc:spChg chg="mod">
          <ac:chgData name="Kaltrina Rexhahmetaj" userId="S::kaltrina.rexhahmetaj@bvh.org::c314e318-93e0-4c36-9995-6aa0f00e0010" providerId="AD" clId="Web-{37C9B8C0-52B5-386A-6ED7-EC46893B2221}" dt="2020-03-17T16:06:43.784" v="28" actId="20577"/>
          <ac:spMkLst>
            <pc:docMk/>
            <pc:sldMk cId="312950373" sldId="259"/>
            <ac:spMk id="2" creationId="{6C8391A7-3AE6-4B92-A4C0-039C64524D11}"/>
          </ac:spMkLst>
        </pc:spChg>
        <pc:spChg chg="mod">
          <ac:chgData name="Kaltrina Rexhahmetaj" userId="S::kaltrina.rexhahmetaj@bvh.org::c314e318-93e0-4c36-9995-6aa0f00e0010" providerId="AD" clId="Web-{37C9B8C0-52B5-386A-6ED7-EC46893B2221}" dt="2020-03-17T16:06:52.940" v="30" actId="20577"/>
          <ac:spMkLst>
            <pc:docMk/>
            <pc:sldMk cId="312950373" sldId="259"/>
            <ac:spMk id="4" creationId="{9EDDA327-C479-4EF1-BEE4-62C6A4B60F02}"/>
          </ac:spMkLst>
        </pc:spChg>
      </pc:sldChg>
      <pc:sldChg chg="del">
        <pc:chgData name="Kaltrina Rexhahmetaj" userId="S::kaltrina.rexhahmetaj@bvh.org::c314e318-93e0-4c36-9995-6aa0f00e0010" providerId="AD" clId="Web-{37C9B8C0-52B5-386A-6ED7-EC46893B2221}" dt="2020-03-17T16:11:49.515" v="138"/>
        <pc:sldMkLst>
          <pc:docMk/>
          <pc:sldMk cId="2474177869" sldId="262"/>
        </pc:sldMkLst>
      </pc:sldChg>
      <pc:sldChg chg="addSp delSp modSp ord">
        <pc:chgData name="Kaltrina Rexhahmetaj" userId="S::kaltrina.rexhahmetaj@bvh.org::c314e318-93e0-4c36-9995-6aa0f00e0010" providerId="AD" clId="Web-{37C9B8C0-52B5-386A-6ED7-EC46893B2221}" dt="2020-03-17T16:09:34.130" v="95"/>
        <pc:sldMkLst>
          <pc:docMk/>
          <pc:sldMk cId="266673231" sldId="816"/>
        </pc:sldMkLst>
        <pc:spChg chg="del">
          <ac:chgData name="Kaltrina Rexhahmetaj" userId="S::kaltrina.rexhahmetaj@bvh.org::c314e318-93e0-4c36-9995-6aa0f00e0010" providerId="AD" clId="Web-{37C9B8C0-52B5-386A-6ED7-EC46893B2221}" dt="2020-03-17T16:09:19.407" v="93"/>
          <ac:spMkLst>
            <pc:docMk/>
            <pc:sldMk cId="266673231" sldId="816"/>
            <ac:spMk id="3" creationId="{7C6C8FF3-69E2-47D7-9F7F-F68430034205}"/>
          </ac:spMkLst>
        </pc:spChg>
        <pc:spChg chg="del">
          <ac:chgData name="Kaltrina Rexhahmetaj" userId="S::kaltrina.rexhahmetaj@bvh.org::c314e318-93e0-4c36-9995-6aa0f00e0010" providerId="AD" clId="Web-{37C9B8C0-52B5-386A-6ED7-EC46893B2221}" dt="2020-03-17T16:09:19.407" v="92"/>
          <ac:spMkLst>
            <pc:docMk/>
            <pc:sldMk cId="266673231" sldId="816"/>
            <ac:spMk id="5" creationId="{77A19410-0518-4EEA-9BE7-3221413DA03B}"/>
          </ac:spMkLst>
        </pc:spChg>
        <pc:spChg chg="del">
          <ac:chgData name="Kaltrina Rexhahmetaj" userId="S::kaltrina.rexhahmetaj@bvh.org::c314e318-93e0-4c36-9995-6aa0f00e0010" providerId="AD" clId="Web-{37C9B8C0-52B5-386A-6ED7-EC46893B2221}" dt="2020-03-17T16:09:19.236" v="87"/>
          <ac:spMkLst>
            <pc:docMk/>
            <pc:sldMk cId="266673231" sldId="816"/>
            <ac:spMk id="10" creationId="{A19431CE-5388-4BE8-8EF4-FE510BC60946}"/>
          </ac:spMkLst>
        </pc:spChg>
        <pc:spChg chg="del">
          <ac:chgData name="Kaltrina Rexhahmetaj" userId="S::kaltrina.rexhahmetaj@bvh.org::c314e318-93e0-4c36-9995-6aa0f00e0010" providerId="AD" clId="Web-{37C9B8C0-52B5-386A-6ED7-EC46893B2221}" dt="2020-03-17T16:09:19.236" v="85"/>
          <ac:spMkLst>
            <pc:docMk/>
            <pc:sldMk cId="266673231" sldId="816"/>
            <ac:spMk id="19" creationId="{031658F6-0776-46DF-91A6-83B8BA39D19D}"/>
          </ac:spMkLst>
        </pc:spChg>
        <pc:spChg chg="del">
          <ac:chgData name="Kaltrina Rexhahmetaj" userId="S::kaltrina.rexhahmetaj@bvh.org::c314e318-93e0-4c36-9995-6aa0f00e0010" providerId="AD" clId="Web-{37C9B8C0-52B5-386A-6ED7-EC46893B2221}" dt="2020-03-17T16:09:19.220" v="84"/>
          <ac:spMkLst>
            <pc:docMk/>
            <pc:sldMk cId="266673231" sldId="816"/>
            <ac:spMk id="20" creationId="{92C3BE9E-49BA-488C-B037-1807381F8382}"/>
          </ac:spMkLst>
        </pc:spChg>
        <pc:spChg chg="del">
          <ac:chgData name="Kaltrina Rexhahmetaj" userId="S::kaltrina.rexhahmetaj@bvh.org::c314e318-93e0-4c36-9995-6aa0f00e0010" providerId="AD" clId="Web-{37C9B8C0-52B5-386A-6ED7-EC46893B2221}" dt="2020-03-17T16:09:19.220" v="83"/>
          <ac:spMkLst>
            <pc:docMk/>
            <pc:sldMk cId="266673231" sldId="816"/>
            <ac:spMk id="21" creationId="{3BB96C7E-10BC-4A47-B48B-9C8F0693423A}"/>
          </ac:spMkLst>
        </pc:spChg>
        <pc:spChg chg="del">
          <ac:chgData name="Kaltrina Rexhahmetaj" userId="S::kaltrina.rexhahmetaj@bvh.org::c314e318-93e0-4c36-9995-6aa0f00e0010" providerId="AD" clId="Web-{37C9B8C0-52B5-386A-6ED7-EC46893B2221}" dt="2020-03-17T16:09:19.220" v="82"/>
          <ac:spMkLst>
            <pc:docMk/>
            <pc:sldMk cId="266673231" sldId="816"/>
            <ac:spMk id="22" creationId="{6CC1F423-1E95-4ECE-8FB3-1E2B42B1BC01}"/>
          </ac:spMkLst>
        </pc:spChg>
        <pc:spChg chg="add del mod">
          <ac:chgData name="Kaltrina Rexhahmetaj" userId="S::kaltrina.rexhahmetaj@bvh.org::c314e318-93e0-4c36-9995-6aa0f00e0010" providerId="AD" clId="Web-{37C9B8C0-52B5-386A-6ED7-EC46893B2221}" dt="2020-03-17T16:09:34.130" v="95"/>
          <ac:spMkLst>
            <pc:docMk/>
            <pc:sldMk cId="266673231" sldId="816"/>
            <ac:spMk id="23" creationId="{4EA2F9D0-7732-47B9-9291-65BDDB4F53BD}"/>
          </ac:spMkLst>
        </pc:spChg>
        <pc:spChg chg="add">
          <ac:chgData name="Kaltrina Rexhahmetaj" userId="S::kaltrina.rexhahmetaj@bvh.org::c314e318-93e0-4c36-9995-6aa0f00e0010" providerId="AD" clId="Web-{37C9B8C0-52B5-386A-6ED7-EC46893B2221}" dt="2020-03-17T16:09:29.439" v="94"/>
          <ac:spMkLst>
            <pc:docMk/>
            <pc:sldMk cId="266673231" sldId="816"/>
            <ac:spMk id="24" creationId="{006CF973-08E6-47DD-9AF8-7AB3508B0053}"/>
          </ac:spMkLst>
        </pc:spChg>
        <pc:spChg chg="add">
          <ac:chgData name="Kaltrina Rexhahmetaj" userId="S::kaltrina.rexhahmetaj@bvh.org::c314e318-93e0-4c36-9995-6aa0f00e0010" providerId="AD" clId="Web-{37C9B8C0-52B5-386A-6ED7-EC46893B2221}" dt="2020-03-17T16:09:29.439" v="94"/>
          <ac:spMkLst>
            <pc:docMk/>
            <pc:sldMk cId="266673231" sldId="816"/>
            <ac:spMk id="25" creationId="{4F9B42C1-A957-41BB-9BA6-CE339D1364B1}"/>
          </ac:spMkLst>
        </pc:spChg>
        <pc:grpChg chg="del">
          <ac:chgData name="Kaltrina Rexhahmetaj" userId="S::kaltrina.rexhahmetaj@bvh.org::c314e318-93e0-4c36-9995-6aa0f00e0010" providerId="AD" clId="Web-{37C9B8C0-52B5-386A-6ED7-EC46893B2221}" dt="2020-03-17T16:09:19.236" v="86"/>
          <ac:grpSpMkLst>
            <pc:docMk/>
            <pc:sldMk cId="266673231" sldId="816"/>
            <ac:grpSpMk id="11" creationId="{596FC6BE-1B56-4C0E-A288-5D12740EBDE7}"/>
          </ac:grpSpMkLst>
        </pc:grpChg>
        <pc:picChg chg="del">
          <ac:chgData name="Kaltrina Rexhahmetaj" userId="S::kaltrina.rexhahmetaj@bvh.org::c314e318-93e0-4c36-9995-6aa0f00e0010" providerId="AD" clId="Web-{37C9B8C0-52B5-386A-6ED7-EC46893B2221}" dt="2020-03-17T16:09:19.236" v="91"/>
          <ac:picMkLst>
            <pc:docMk/>
            <pc:sldMk cId="266673231" sldId="816"/>
            <ac:picMk id="6" creationId="{298949B4-3ACC-4C16-9E72-1DB20BCA3BF7}"/>
          </ac:picMkLst>
        </pc:picChg>
        <pc:picChg chg="del">
          <ac:chgData name="Kaltrina Rexhahmetaj" userId="S::kaltrina.rexhahmetaj@bvh.org::c314e318-93e0-4c36-9995-6aa0f00e0010" providerId="AD" clId="Web-{37C9B8C0-52B5-386A-6ED7-EC46893B2221}" dt="2020-03-17T16:09:19.236" v="90"/>
          <ac:picMkLst>
            <pc:docMk/>
            <pc:sldMk cId="266673231" sldId="816"/>
            <ac:picMk id="7" creationId="{7A8DBFB5-F604-4CEB-9844-5FC51042DD4D}"/>
          </ac:picMkLst>
        </pc:picChg>
        <pc:picChg chg="del">
          <ac:chgData name="Kaltrina Rexhahmetaj" userId="S::kaltrina.rexhahmetaj@bvh.org::c314e318-93e0-4c36-9995-6aa0f00e0010" providerId="AD" clId="Web-{37C9B8C0-52B5-386A-6ED7-EC46893B2221}" dt="2020-03-17T16:09:19.236" v="89"/>
          <ac:picMkLst>
            <pc:docMk/>
            <pc:sldMk cId="266673231" sldId="816"/>
            <ac:picMk id="8" creationId="{074AA8E9-34E6-4749-A255-BBE43504641E}"/>
          </ac:picMkLst>
        </pc:picChg>
        <pc:picChg chg="del">
          <ac:chgData name="Kaltrina Rexhahmetaj" userId="S::kaltrina.rexhahmetaj@bvh.org::c314e318-93e0-4c36-9995-6aa0f00e0010" providerId="AD" clId="Web-{37C9B8C0-52B5-386A-6ED7-EC46893B2221}" dt="2020-03-17T16:09:19.236" v="88"/>
          <ac:picMkLst>
            <pc:docMk/>
            <pc:sldMk cId="266673231" sldId="816"/>
            <ac:picMk id="9" creationId="{43E6A6B8-EE37-4A49-8F97-090210618295}"/>
          </ac:picMkLst>
        </pc:picChg>
      </pc:sldChg>
      <pc:sldChg chg="del">
        <pc:chgData name="Kaltrina Rexhahmetaj" userId="S::kaltrina.rexhahmetaj@bvh.org::c314e318-93e0-4c36-9995-6aa0f00e0010" providerId="AD" clId="Web-{37C9B8C0-52B5-386A-6ED7-EC46893B2221}" dt="2020-03-17T16:11:29.859" v="133"/>
        <pc:sldMkLst>
          <pc:docMk/>
          <pc:sldMk cId="204079197" sldId="817"/>
        </pc:sldMkLst>
      </pc:sldChg>
      <pc:sldChg chg="del">
        <pc:chgData name="Kaltrina Rexhahmetaj" userId="S::kaltrina.rexhahmetaj@bvh.org::c314e318-93e0-4c36-9995-6aa0f00e0010" providerId="AD" clId="Web-{37C9B8C0-52B5-386A-6ED7-EC46893B2221}" dt="2020-03-17T16:11:33.047" v="134"/>
        <pc:sldMkLst>
          <pc:docMk/>
          <pc:sldMk cId="2292997340" sldId="824"/>
        </pc:sldMkLst>
      </pc:sldChg>
      <pc:sldChg chg="del">
        <pc:chgData name="Kaltrina Rexhahmetaj" userId="S::kaltrina.rexhahmetaj@bvh.org::c314e318-93e0-4c36-9995-6aa0f00e0010" providerId="AD" clId="Web-{37C9B8C0-52B5-386A-6ED7-EC46893B2221}" dt="2020-03-17T16:11:35.859" v="135"/>
        <pc:sldMkLst>
          <pc:docMk/>
          <pc:sldMk cId="4152881469" sldId="825"/>
        </pc:sldMkLst>
      </pc:sldChg>
      <pc:sldChg chg="del">
        <pc:chgData name="Kaltrina Rexhahmetaj" userId="S::kaltrina.rexhahmetaj@bvh.org::c314e318-93e0-4c36-9995-6aa0f00e0010" providerId="AD" clId="Web-{37C9B8C0-52B5-386A-6ED7-EC46893B2221}" dt="2020-03-17T16:11:38.219" v="136"/>
        <pc:sldMkLst>
          <pc:docMk/>
          <pc:sldMk cId="1752931100" sldId="826"/>
        </pc:sldMkLst>
      </pc:sldChg>
      <pc:sldChg chg="del">
        <pc:chgData name="Kaltrina Rexhahmetaj" userId="S::kaltrina.rexhahmetaj@bvh.org::c314e318-93e0-4c36-9995-6aa0f00e0010" providerId="AD" clId="Web-{37C9B8C0-52B5-386A-6ED7-EC46893B2221}" dt="2020-03-17T16:11:45.875" v="137"/>
        <pc:sldMkLst>
          <pc:docMk/>
          <pc:sldMk cId="2462491836" sldId="827"/>
        </pc:sldMkLst>
      </pc:sldChg>
      <pc:sldChg chg="del">
        <pc:chgData name="Kaltrina Rexhahmetaj" userId="S::kaltrina.rexhahmetaj@bvh.org::c314e318-93e0-4c36-9995-6aa0f00e0010" providerId="AD" clId="Web-{37C9B8C0-52B5-386A-6ED7-EC46893B2221}" dt="2020-03-17T16:11:50.875" v="139"/>
        <pc:sldMkLst>
          <pc:docMk/>
          <pc:sldMk cId="3018365118" sldId="828"/>
        </pc:sldMkLst>
      </pc:sldChg>
      <pc:sldChg chg="del">
        <pc:chgData name="Kaltrina Rexhahmetaj" userId="S::kaltrina.rexhahmetaj@bvh.org::c314e318-93e0-4c36-9995-6aa0f00e0010" providerId="AD" clId="Web-{37C9B8C0-52B5-386A-6ED7-EC46893B2221}" dt="2020-03-17T16:11:52.593" v="140"/>
        <pc:sldMkLst>
          <pc:docMk/>
          <pc:sldMk cId="1975191498" sldId="829"/>
        </pc:sldMkLst>
      </pc:sldChg>
      <pc:sldChg chg="del">
        <pc:chgData name="Kaltrina Rexhahmetaj" userId="S::kaltrina.rexhahmetaj@bvh.org::c314e318-93e0-4c36-9995-6aa0f00e0010" providerId="AD" clId="Web-{37C9B8C0-52B5-386A-6ED7-EC46893B2221}" dt="2020-03-17T16:11:54.547" v="141"/>
        <pc:sldMkLst>
          <pc:docMk/>
          <pc:sldMk cId="3711256007" sldId="830"/>
        </pc:sldMkLst>
      </pc:sldChg>
      <pc:sldChg chg="del">
        <pc:chgData name="Kaltrina Rexhahmetaj" userId="S::kaltrina.rexhahmetaj@bvh.org::c314e318-93e0-4c36-9995-6aa0f00e0010" providerId="AD" clId="Web-{37C9B8C0-52B5-386A-6ED7-EC46893B2221}" dt="2020-03-17T16:11:57.203" v="142"/>
        <pc:sldMkLst>
          <pc:docMk/>
          <pc:sldMk cId="4117010465" sldId="831"/>
        </pc:sldMkLst>
      </pc:sldChg>
      <pc:sldChg chg="del">
        <pc:chgData name="Kaltrina Rexhahmetaj" userId="S::kaltrina.rexhahmetaj@bvh.org::c314e318-93e0-4c36-9995-6aa0f00e0010" providerId="AD" clId="Web-{37C9B8C0-52B5-386A-6ED7-EC46893B2221}" dt="2020-03-17T16:11:58.703" v="143"/>
        <pc:sldMkLst>
          <pc:docMk/>
          <pc:sldMk cId="1545142981" sldId="832"/>
        </pc:sldMkLst>
      </pc:sldChg>
      <pc:sldChg chg="del">
        <pc:chgData name="Kaltrina Rexhahmetaj" userId="S::kaltrina.rexhahmetaj@bvh.org::c314e318-93e0-4c36-9995-6aa0f00e0010" providerId="AD" clId="Web-{37C9B8C0-52B5-386A-6ED7-EC46893B2221}" dt="2020-03-17T16:12:00.546" v="144"/>
        <pc:sldMkLst>
          <pc:docMk/>
          <pc:sldMk cId="3037613952" sldId="833"/>
        </pc:sldMkLst>
      </pc:sldChg>
      <pc:sldChg chg="del">
        <pc:chgData name="Kaltrina Rexhahmetaj" userId="S::kaltrina.rexhahmetaj@bvh.org::c314e318-93e0-4c36-9995-6aa0f00e0010" providerId="AD" clId="Web-{37C9B8C0-52B5-386A-6ED7-EC46893B2221}" dt="2020-03-17T16:12:03.031" v="145"/>
        <pc:sldMkLst>
          <pc:docMk/>
          <pc:sldMk cId="319717298" sldId="834"/>
        </pc:sldMkLst>
      </pc:sldChg>
      <pc:sldChg chg="addSp delSp modSp add replId addAnim">
        <pc:chgData name="Kaltrina Rexhahmetaj" userId="S::kaltrina.rexhahmetaj@bvh.org::c314e318-93e0-4c36-9995-6aa0f00e0010" providerId="AD" clId="Web-{37C9B8C0-52B5-386A-6ED7-EC46893B2221}" dt="2020-03-17T16:10:59.094" v="123"/>
        <pc:sldMkLst>
          <pc:docMk/>
          <pc:sldMk cId="378693582" sldId="864"/>
        </pc:sldMkLst>
        <pc:spChg chg="del">
          <ac:chgData name="Kaltrina Rexhahmetaj" userId="S::kaltrina.rexhahmetaj@bvh.org::c314e318-93e0-4c36-9995-6aa0f00e0010" providerId="AD" clId="Web-{37C9B8C0-52B5-386A-6ED7-EC46893B2221}" dt="2020-03-17T16:07:21.502" v="36"/>
          <ac:spMkLst>
            <pc:docMk/>
            <pc:sldMk cId="378693582" sldId="864"/>
            <ac:spMk id="3" creationId="{DA732551-B199-4D86-9884-507D30A29896}"/>
          </ac:spMkLst>
        </pc:spChg>
        <pc:spChg chg="del">
          <ac:chgData name="Kaltrina Rexhahmetaj" userId="S::kaltrina.rexhahmetaj@bvh.org::c314e318-93e0-4c36-9995-6aa0f00e0010" providerId="AD" clId="Web-{37C9B8C0-52B5-386A-6ED7-EC46893B2221}" dt="2020-03-17T16:07:21.315" v="35"/>
          <ac:spMkLst>
            <pc:docMk/>
            <pc:sldMk cId="378693582" sldId="864"/>
            <ac:spMk id="5" creationId="{66CD1C1B-1503-45E7-8F13-04EE60650889}"/>
          </ac:spMkLst>
        </pc:spChg>
        <pc:spChg chg="del">
          <ac:chgData name="Kaltrina Rexhahmetaj" userId="S::kaltrina.rexhahmetaj@bvh.org::c314e318-93e0-4c36-9995-6aa0f00e0010" providerId="AD" clId="Web-{37C9B8C0-52B5-386A-6ED7-EC46893B2221}" dt="2020-03-17T16:07:21.143" v="32"/>
          <ac:spMkLst>
            <pc:docMk/>
            <pc:sldMk cId="378693582" sldId="864"/>
            <ac:spMk id="8" creationId="{E4A1A6D7-A51D-455F-9699-11120CBCB56D}"/>
          </ac:spMkLst>
        </pc:spChg>
        <pc:spChg chg="add mod">
          <ac:chgData name="Kaltrina Rexhahmetaj" userId="S::kaltrina.rexhahmetaj@bvh.org::c314e318-93e0-4c36-9995-6aa0f00e0010" providerId="AD" clId="Web-{37C9B8C0-52B5-386A-6ED7-EC46893B2221}" dt="2020-03-17T16:10:59.094" v="123"/>
          <ac:spMkLst>
            <pc:docMk/>
            <pc:sldMk cId="378693582" sldId="864"/>
            <ac:spMk id="9" creationId="{CFA4B0F6-B153-416F-AD4B-196ABD3AA7CB}"/>
          </ac:spMkLst>
        </pc:spChg>
        <pc:spChg chg="add mod">
          <ac:chgData name="Kaltrina Rexhahmetaj" userId="S::kaltrina.rexhahmetaj@bvh.org::c314e318-93e0-4c36-9995-6aa0f00e0010" providerId="AD" clId="Web-{37C9B8C0-52B5-386A-6ED7-EC46893B2221}" dt="2020-03-17T16:07:21.502" v="36"/>
          <ac:spMkLst>
            <pc:docMk/>
            <pc:sldMk cId="378693582" sldId="864"/>
            <ac:spMk id="11" creationId="{1613416E-E7B5-409E-98CE-2434F05D4684}"/>
          </ac:spMkLst>
        </pc:spChg>
        <pc:spChg chg="add">
          <ac:chgData name="Kaltrina Rexhahmetaj" userId="S::kaltrina.rexhahmetaj@bvh.org::c314e318-93e0-4c36-9995-6aa0f00e0010" providerId="AD" clId="Web-{37C9B8C0-52B5-386A-6ED7-EC46893B2221}" dt="2020-03-17T16:07:43.127" v="38"/>
          <ac:spMkLst>
            <pc:docMk/>
            <pc:sldMk cId="378693582" sldId="864"/>
            <ac:spMk id="13" creationId="{BCCBFE10-DAEE-4CFE-A1A6-3F3FD702B5B1}"/>
          </ac:spMkLst>
        </pc:spChg>
        <pc:spChg chg="add">
          <ac:chgData name="Kaltrina Rexhahmetaj" userId="S::kaltrina.rexhahmetaj@bvh.org::c314e318-93e0-4c36-9995-6aa0f00e0010" providerId="AD" clId="Web-{37C9B8C0-52B5-386A-6ED7-EC46893B2221}" dt="2020-03-17T16:07:43.143" v="39"/>
          <ac:spMkLst>
            <pc:docMk/>
            <pc:sldMk cId="378693582" sldId="864"/>
            <ac:spMk id="15" creationId="{4653A499-35A3-451C-941C-01522FF78E9A}"/>
          </ac:spMkLst>
        </pc:spChg>
        <pc:spChg chg="add">
          <ac:chgData name="Kaltrina Rexhahmetaj" userId="S::kaltrina.rexhahmetaj@bvh.org::c314e318-93e0-4c36-9995-6aa0f00e0010" providerId="AD" clId="Web-{37C9B8C0-52B5-386A-6ED7-EC46893B2221}" dt="2020-03-17T16:07:43.158" v="40"/>
          <ac:spMkLst>
            <pc:docMk/>
            <pc:sldMk cId="378693582" sldId="864"/>
            <ac:spMk id="17" creationId="{EBC4FE05-C1B5-43CF-87D5-C013B4AC64E4}"/>
          </ac:spMkLst>
        </pc:spChg>
        <pc:spChg chg="add">
          <ac:chgData name="Kaltrina Rexhahmetaj" userId="S::kaltrina.rexhahmetaj@bvh.org::c314e318-93e0-4c36-9995-6aa0f00e0010" providerId="AD" clId="Web-{37C9B8C0-52B5-386A-6ED7-EC46893B2221}" dt="2020-03-17T16:07:43.174" v="41"/>
          <ac:spMkLst>
            <pc:docMk/>
            <pc:sldMk cId="378693582" sldId="864"/>
            <ac:spMk id="19" creationId="{7844C4A7-9E28-4916-8A73-EB33D21FCBAD}"/>
          </ac:spMkLst>
        </pc:spChg>
        <pc:spChg chg="add">
          <ac:chgData name="Kaltrina Rexhahmetaj" userId="S::kaltrina.rexhahmetaj@bvh.org::c314e318-93e0-4c36-9995-6aa0f00e0010" providerId="AD" clId="Web-{37C9B8C0-52B5-386A-6ED7-EC46893B2221}" dt="2020-03-17T16:07:43.174" v="42"/>
          <ac:spMkLst>
            <pc:docMk/>
            <pc:sldMk cId="378693582" sldId="864"/>
            <ac:spMk id="21" creationId="{5008D8C2-B616-4AD3-92CD-87A940095C19}"/>
          </ac:spMkLst>
        </pc:spChg>
        <pc:spChg chg="add">
          <ac:chgData name="Kaltrina Rexhahmetaj" userId="S::kaltrina.rexhahmetaj@bvh.org::c314e318-93e0-4c36-9995-6aa0f00e0010" providerId="AD" clId="Web-{37C9B8C0-52B5-386A-6ED7-EC46893B2221}" dt="2020-03-17T16:07:43.190" v="43"/>
          <ac:spMkLst>
            <pc:docMk/>
            <pc:sldMk cId="378693582" sldId="864"/>
            <ac:spMk id="23" creationId="{2B36FBFA-DF52-4266-88F9-EB235B7C16BB}"/>
          </ac:spMkLst>
        </pc:spChg>
        <pc:spChg chg="add">
          <ac:chgData name="Kaltrina Rexhahmetaj" userId="S::kaltrina.rexhahmetaj@bvh.org::c314e318-93e0-4c36-9995-6aa0f00e0010" providerId="AD" clId="Web-{37C9B8C0-52B5-386A-6ED7-EC46893B2221}" dt="2020-03-17T16:07:43.205" v="44"/>
          <ac:spMkLst>
            <pc:docMk/>
            <pc:sldMk cId="378693582" sldId="864"/>
            <ac:spMk id="25" creationId="{853337ED-0311-4D50-9B9C-0BE149157199}"/>
          </ac:spMkLst>
        </pc:spChg>
        <pc:spChg chg="add">
          <ac:chgData name="Kaltrina Rexhahmetaj" userId="S::kaltrina.rexhahmetaj@bvh.org::c314e318-93e0-4c36-9995-6aa0f00e0010" providerId="AD" clId="Web-{37C9B8C0-52B5-386A-6ED7-EC46893B2221}" dt="2020-03-17T16:07:43.221" v="45"/>
          <ac:spMkLst>
            <pc:docMk/>
            <pc:sldMk cId="378693582" sldId="864"/>
            <ac:spMk id="27" creationId="{D9079E6E-837A-403A-A8C5-318821151888}"/>
          </ac:spMkLst>
        </pc:spChg>
        <pc:spChg chg="add del mod">
          <ac:chgData name="Kaltrina Rexhahmetaj" userId="S::kaltrina.rexhahmetaj@bvh.org::c314e318-93e0-4c36-9995-6aa0f00e0010" providerId="AD" clId="Web-{37C9B8C0-52B5-386A-6ED7-EC46893B2221}" dt="2020-03-17T16:07:52.565" v="48"/>
          <ac:spMkLst>
            <pc:docMk/>
            <pc:sldMk cId="378693582" sldId="864"/>
            <ac:spMk id="29" creationId="{F061FB53-7805-4003-A6AA-541AB6EBD782}"/>
          </ac:spMkLst>
        </pc:spChg>
        <pc:picChg chg="del">
          <ac:chgData name="Kaltrina Rexhahmetaj" userId="S::kaltrina.rexhahmetaj@bvh.org::c314e318-93e0-4c36-9995-6aa0f00e0010" providerId="AD" clId="Web-{37C9B8C0-52B5-386A-6ED7-EC46893B2221}" dt="2020-03-17T16:07:21.143" v="34"/>
          <ac:picMkLst>
            <pc:docMk/>
            <pc:sldMk cId="378693582" sldId="864"/>
            <ac:picMk id="6" creationId="{9B9792BA-6A09-401E-AF98-B1512FB5547C}"/>
          </ac:picMkLst>
        </pc:picChg>
        <pc:picChg chg="del">
          <ac:chgData name="Kaltrina Rexhahmetaj" userId="S::kaltrina.rexhahmetaj@bvh.org::c314e318-93e0-4c36-9995-6aa0f00e0010" providerId="AD" clId="Web-{37C9B8C0-52B5-386A-6ED7-EC46893B2221}" dt="2020-03-17T16:07:21.143" v="33"/>
          <ac:picMkLst>
            <pc:docMk/>
            <pc:sldMk cId="378693582" sldId="864"/>
            <ac:picMk id="7" creationId="{FBFCCA31-60EF-47EB-8C70-FC7B18EE78EC}"/>
          </ac:picMkLst>
        </pc:picChg>
      </pc:sldChg>
      <pc:sldChg chg="add del">
        <pc:chgData name="Kaltrina Rexhahmetaj" userId="S::kaltrina.rexhahmetaj@bvh.org::c314e318-93e0-4c36-9995-6aa0f00e0010" providerId="AD" clId="Web-{37C9B8C0-52B5-386A-6ED7-EC46893B2221}" dt="2020-03-17T16:08:07.471" v="64"/>
        <pc:sldMkLst>
          <pc:docMk/>
          <pc:sldMk cId="2739094883" sldId="865"/>
        </pc:sldMkLst>
      </pc:sldChg>
      <pc:sldChg chg="addSp delSp modSp add del ord replId delAnim">
        <pc:chgData name="Kaltrina Rexhahmetaj" userId="S::kaltrina.rexhahmetaj@bvh.org::c314e318-93e0-4c36-9995-6aa0f00e0010" providerId="AD" clId="Web-{37C9B8C0-52B5-386A-6ED7-EC46893B2221}" dt="2020-03-17T16:09:07.736" v="80"/>
        <pc:sldMkLst>
          <pc:docMk/>
          <pc:sldMk cId="3037960200" sldId="865"/>
        </pc:sldMkLst>
        <pc:spChg chg="add mod">
          <ac:chgData name="Kaltrina Rexhahmetaj" userId="S::kaltrina.rexhahmetaj@bvh.org::c314e318-93e0-4c36-9995-6aa0f00e0010" providerId="AD" clId="Web-{37C9B8C0-52B5-386A-6ED7-EC46893B2221}" dt="2020-03-17T16:08:26.470" v="74"/>
          <ac:spMkLst>
            <pc:docMk/>
            <pc:sldMk cId="3037960200" sldId="865"/>
            <ac:spMk id="4" creationId="{1D98634F-6F7D-4045-A6B1-F0B2EF401333}"/>
          </ac:spMkLst>
        </pc:spChg>
        <pc:spChg chg="del">
          <ac:chgData name="Kaltrina Rexhahmetaj" userId="S::kaltrina.rexhahmetaj@bvh.org::c314e318-93e0-4c36-9995-6aa0f00e0010" providerId="AD" clId="Web-{37C9B8C0-52B5-386A-6ED7-EC46893B2221}" dt="2020-03-17T16:08:26.470" v="74"/>
          <ac:spMkLst>
            <pc:docMk/>
            <pc:sldMk cId="3037960200" sldId="865"/>
            <ac:spMk id="9" creationId="{CFA4B0F6-B153-416F-AD4B-196ABD3AA7CB}"/>
          </ac:spMkLst>
        </pc:spChg>
        <pc:spChg chg="del">
          <ac:chgData name="Kaltrina Rexhahmetaj" userId="S::kaltrina.rexhahmetaj@bvh.org::c314e318-93e0-4c36-9995-6aa0f00e0010" providerId="AD" clId="Web-{37C9B8C0-52B5-386A-6ED7-EC46893B2221}" dt="2020-03-17T16:08:26.299" v="73"/>
          <ac:spMkLst>
            <pc:docMk/>
            <pc:sldMk cId="3037960200" sldId="865"/>
            <ac:spMk id="13" creationId="{BCCBFE10-DAEE-4CFE-A1A6-3F3FD702B5B1}"/>
          </ac:spMkLst>
        </pc:spChg>
        <pc:spChg chg="del">
          <ac:chgData name="Kaltrina Rexhahmetaj" userId="S::kaltrina.rexhahmetaj@bvh.org::c314e318-93e0-4c36-9995-6aa0f00e0010" providerId="AD" clId="Web-{37C9B8C0-52B5-386A-6ED7-EC46893B2221}" dt="2020-03-17T16:08:26.299" v="72"/>
          <ac:spMkLst>
            <pc:docMk/>
            <pc:sldMk cId="3037960200" sldId="865"/>
            <ac:spMk id="15" creationId="{4653A499-35A3-451C-941C-01522FF78E9A}"/>
          </ac:spMkLst>
        </pc:spChg>
        <pc:spChg chg="del">
          <ac:chgData name="Kaltrina Rexhahmetaj" userId="S::kaltrina.rexhahmetaj@bvh.org::c314e318-93e0-4c36-9995-6aa0f00e0010" providerId="AD" clId="Web-{37C9B8C0-52B5-386A-6ED7-EC46893B2221}" dt="2020-03-17T16:08:26.299" v="71"/>
          <ac:spMkLst>
            <pc:docMk/>
            <pc:sldMk cId="3037960200" sldId="865"/>
            <ac:spMk id="17" creationId="{EBC4FE05-C1B5-43CF-87D5-C013B4AC64E4}"/>
          </ac:spMkLst>
        </pc:spChg>
        <pc:spChg chg="del">
          <ac:chgData name="Kaltrina Rexhahmetaj" userId="S::kaltrina.rexhahmetaj@bvh.org::c314e318-93e0-4c36-9995-6aa0f00e0010" providerId="AD" clId="Web-{37C9B8C0-52B5-386A-6ED7-EC46893B2221}" dt="2020-03-17T16:08:26.299" v="70"/>
          <ac:spMkLst>
            <pc:docMk/>
            <pc:sldMk cId="3037960200" sldId="865"/>
            <ac:spMk id="19" creationId="{7844C4A7-9E28-4916-8A73-EB33D21FCBAD}"/>
          </ac:spMkLst>
        </pc:spChg>
        <pc:spChg chg="del">
          <ac:chgData name="Kaltrina Rexhahmetaj" userId="S::kaltrina.rexhahmetaj@bvh.org::c314e318-93e0-4c36-9995-6aa0f00e0010" providerId="AD" clId="Web-{37C9B8C0-52B5-386A-6ED7-EC46893B2221}" dt="2020-03-17T16:08:26.299" v="69"/>
          <ac:spMkLst>
            <pc:docMk/>
            <pc:sldMk cId="3037960200" sldId="865"/>
            <ac:spMk id="21" creationId="{5008D8C2-B616-4AD3-92CD-87A940095C19}"/>
          </ac:spMkLst>
        </pc:spChg>
        <pc:spChg chg="del">
          <ac:chgData name="Kaltrina Rexhahmetaj" userId="S::kaltrina.rexhahmetaj@bvh.org::c314e318-93e0-4c36-9995-6aa0f00e0010" providerId="AD" clId="Web-{37C9B8C0-52B5-386A-6ED7-EC46893B2221}" dt="2020-03-17T16:08:26.299" v="68"/>
          <ac:spMkLst>
            <pc:docMk/>
            <pc:sldMk cId="3037960200" sldId="865"/>
            <ac:spMk id="23" creationId="{2B36FBFA-DF52-4266-88F9-EB235B7C16BB}"/>
          </ac:spMkLst>
        </pc:spChg>
        <pc:spChg chg="del">
          <ac:chgData name="Kaltrina Rexhahmetaj" userId="S::kaltrina.rexhahmetaj@bvh.org::c314e318-93e0-4c36-9995-6aa0f00e0010" providerId="AD" clId="Web-{37C9B8C0-52B5-386A-6ED7-EC46893B2221}" dt="2020-03-17T16:08:26.299" v="67"/>
          <ac:spMkLst>
            <pc:docMk/>
            <pc:sldMk cId="3037960200" sldId="865"/>
            <ac:spMk id="25" creationId="{853337ED-0311-4D50-9B9C-0BE149157199}"/>
          </ac:spMkLst>
        </pc:spChg>
        <pc:spChg chg="del">
          <ac:chgData name="Kaltrina Rexhahmetaj" userId="S::kaltrina.rexhahmetaj@bvh.org::c314e318-93e0-4c36-9995-6aa0f00e0010" providerId="AD" clId="Web-{37C9B8C0-52B5-386A-6ED7-EC46893B2221}" dt="2020-03-17T16:08:26.283" v="66"/>
          <ac:spMkLst>
            <pc:docMk/>
            <pc:sldMk cId="3037960200" sldId="865"/>
            <ac:spMk id="27" creationId="{D9079E6E-837A-403A-A8C5-318821151888}"/>
          </ac:spMkLst>
        </pc:spChg>
      </pc:sldChg>
      <pc:sldChg chg="add del">
        <pc:chgData name="Kaltrina Rexhahmetaj" userId="S::kaltrina.rexhahmetaj@bvh.org::c314e318-93e0-4c36-9995-6aa0f00e0010" providerId="AD" clId="Web-{37C9B8C0-52B5-386A-6ED7-EC46893B2221}" dt="2020-03-17T16:08:41.783" v="76"/>
        <pc:sldMkLst>
          <pc:docMk/>
          <pc:sldMk cId="429237917" sldId="866"/>
        </pc:sldMkLst>
      </pc:sldChg>
      <pc:sldChg chg="add">
        <pc:chgData name="Kaltrina Rexhahmetaj" userId="S::kaltrina.rexhahmetaj@bvh.org::c314e318-93e0-4c36-9995-6aa0f00e0010" providerId="AD" clId="Web-{37C9B8C0-52B5-386A-6ED7-EC46893B2221}" dt="2020-03-17T16:08:41.986" v="77"/>
        <pc:sldMkLst>
          <pc:docMk/>
          <pc:sldMk cId="3563663799" sldId="866"/>
        </pc:sldMkLst>
      </pc:sldChg>
      <pc:sldChg chg="addSp delSp modSp add replId">
        <pc:chgData name="Kaltrina Rexhahmetaj" userId="S::kaltrina.rexhahmetaj@bvh.org::c314e318-93e0-4c36-9995-6aa0f00e0010" providerId="AD" clId="Web-{37C9B8C0-52B5-386A-6ED7-EC46893B2221}" dt="2020-03-17T16:11:16.094" v="126" actId="20577"/>
        <pc:sldMkLst>
          <pc:docMk/>
          <pc:sldMk cId="1743709036" sldId="867"/>
        </pc:sldMkLst>
        <pc:spChg chg="del">
          <ac:chgData name="Kaltrina Rexhahmetaj" userId="S::kaltrina.rexhahmetaj@bvh.org::c314e318-93e0-4c36-9995-6aa0f00e0010" providerId="AD" clId="Web-{37C9B8C0-52B5-386A-6ED7-EC46893B2221}" dt="2020-03-17T16:10:03.126" v="110"/>
          <ac:spMkLst>
            <pc:docMk/>
            <pc:sldMk cId="1743709036" sldId="867"/>
            <ac:spMk id="3" creationId="{7C6C8FF3-69E2-47D7-9F7F-F68430034205}"/>
          </ac:spMkLst>
        </pc:spChg>
        <pc:spChg chg="del">
          <ac:chgData name="Kaltrina Rexhahmetaj" userId="S::kaltrina.rexhahmetaj@bvh.org::c314e318-93e0-4c36-9995-6aa0f00e0010" providerId="AD" clId="Web-{37C9B8C0-52B5-386A-6ED7-EC46893B2221}" dt="2020-03-17T16:10:03.110" v="109"/>
          <ac:spMkLst>
            <pc:docMk/>
            <pc:sldMk cId="1743709036" sldId="867"/>
            <ac:spMk id="5" creationId="{77A19410-0518-4EEA-9BE7-3221413DA03B}"/>
          </ac:spMkLst>
        </pc:spChg>
        <pc:spChg chg="del">
          <ac:chgData name="Kaltrina Rexhahmetaj" userId="S::kaltrina.rexhahmetaj@bvh.org::c314e318-93e0-4c36-9995-6aa0f00e0010" providerId="AD" clId="Web-{37C9B8C0-52B5-386A-6ED7-EC46893B2221}" dt="2020-03-17T16:10:02.907" v="104"/>
          <ac:spMkLst>
            <pc:docMk/>
            <pc:sldMk cId="1743709036" sldId="867"/>
            <ac:spMk id="10" creationId="{A19431CE-5388-4BE8-8EF4-FE510BC60946}"/>
          </ac:spMkLst>
        </pc:spChg>
        <pc:spChg chg="del">
          <ac:chgData name="Kaltrina Rexhahmetaj" userId="S::kaltrina.rexhahmetaj@bvh.org::c314e318-93e0-4c36-9995-6aa0f00e0010" providerId="AD" clId="Web-{37C9B8C0-52B5-386A-6ED7-EC46893B2221}" dt="2020-03-17T16:10:02.907" v="102"/>
          <ac:spMkLst>
            <pc:docMk/>
            <pc:sldMk cId="1743709036" sldId="867"/>
            <ac:spMk id="19" creationId="{031658F6-0776-46DF-91A6-83B8BA39D19D}"/>
          </ac:spMkLst>
        </pc:spChg>
        <pc:spChg chg="del">
          <ac:chgData name="Kaltrina Rexhahmetaj" userId="S::kaltrina.rexhahmetaj@bvh.org::c314e318-93e0-4c36-9995-6aa0f00e0010" providerId="AD" clId="Web-{37C9B8C0-52B5-386A-6ED7-EC46893B2221}" dt="2020-03-17T16:10:02.907" v="101"/>
          <ac:spMkLst>
            <pc:docMk/>
            <pc:sldMk cId="1743709036" sldId="867"/>
            <ac:spMk id="20" creationId="{92C3BE9E-49BA-488C-B037-1807381F8382}"/>
          </ac:spMkLst>
        </pc:spChg>
        <pc:spChg chg="del">
          <ac:chgData name="Kaltrina Rexhahmetaj" userId="S::kaltrina.rexhahmetaj@bvh.org::c314e318-93e0-4c36-9995-6aa0f00e0010" providerId="AD" clId="Web-{37C9B8C0-52B5-386A-6ED7-EC46893B2221}" dt="2020-03-17T16:10:02.891" v="100"/>
          <ac:spMkLst>
            <pc:docMk/>
            <pc:sldMk cId="1743709036" sldId="867"/>
            <ac:spMk id="21" creationId="{3BB96C7E-10BC-4A47-B48B-9C8F0693423A}"/>
          </ac:spMkLst>
        </pc:spChg>
        <pc:spChg chg="del">
          <ac:chgData name="Kaltrina Rexhahmetaj" userId="S::kaltrina.rexhahmetaj@bvh.org::c314e318-93e0-4c36-9995-6aa0f00e0010" providerId="AD" clId="Web-{37C9B8C0-52B5-386A-6ED7-EC46893B2221}" dt="2020-03-17T16:10:02.891" v="99"/>
          <ac:spMkLst>
            <pc:docMk/>
            <pc:sldMk cId="1743709036" sldId="867"/>
            <ac:spMk id="22" creationId="{6CC1F423-1E95-4ECE-8FB3-1E2B42B1BC01}"/>
          </ac:spMkLst>
        </pc:spChg>
        <pc:spChg chg="add mod">
          <ac:chgData name="Kaltrina Rexhahmetaj" userId="S::kaltrina.rexhahmetaj@bvh.org::c314e318-93e0-4c36-9995-6aa0f00e0010" providerId="AD" clId="Web-{37C9B8C0-52B5-386A-6ED7-EC46893B2221}" dt="2020-03-17T16:11:05.172" v="124"/>
          <ac:spMkLst>
            <pc:docMk/>
            <pc:sldMk cId="1743709036" sldId="867"/>
            <ac:spMk id="23" creationId="{12A05E04-4A47-4514-B521-EDFA5CAE3C32}"/>
          </ac:spMkLst>
        </pc:spChg>
        <pc:spChg chg="add mod">
          <ac:chgData name="Kaltrina Rexhahmetaj" userId="S::kaltrina.rexhahmetaj@bvh.org::c314e318-93e0-4c36-9995-6aa0f00e0010" providerId="AD" clId="Web-{37C9B8C0-52B5-386A-6ED7-EC46893B2221}" dt="2020-03-17T16:11:16.094" v="126" actId="20577"/>
          <ac:spMkLst>
            <pc:docMk/>
            <pc:sldMk cId="1743709036" sldId="867"/>
            <ac:spMk id="27" creationId="{7E31ED22-2099-4681-AEDE-A399A8F94D8D}"/>
          </ac:spMkLst>
        </pc:spChg>
        <pc:spChg chg="add del mod">
          <ac:chgData name="Kaltrina Rexhahmetaj" userId="S::kaltrina.rexhahmetaj@bvh.org::c314e318-93e0-4c36-9995-6aa0f00e0010" providerId="AD" clId="Web-{37C9B8C0-52B5-386A-6ED7-EC46893B2221}" dt="2020-03-17T16:10:40.094" v="113"/>
          <ac:spMkLst>
            <pc:docMk/>
            <pc:sldMk cId="1743709036" sldId="867"/>
            <ac:spMk id="28" creationId="{8965F9D9-D20E-459B-B9F0-7804B506D48A}"/>
          </ac:spMkLst>
        </pc:spChg>
        <pc:grpChg chg="del">
          <ac:chgData name="Kaltrina Rexhahmetaj" userId="S::kaltrina.rexhahmetaj@bvh.org::c314e318-93e0-4c36-9995-6aa0f00e0010" providerId="AD" clId="Web-{37C9B8C0-52B5-386A-6ED7-EC46893B2221}" dt="2020-03-17T16:10:02.907" v="103"/>
          <ac:grpSpMkLst>
            <pc:docMk/>
            <pc:sldMk cId="1743709036" sldId="867"/>
            <ac:grpSpMk id="11" creationId="{596FC6BE-1B56-4C0E-A288-5D12740EBDE7}"/>
          </ac:grpSpMkLst>
        </pc:grpChg>
        <pc:picChg chg="del">
          <ac:chgData name="Kaltrina Rexhahmetaj" userId="S::kaltrina.rexhahmetaj@bvh.org::c314e318-93e0-4c36-9995-6aa0f00e0010" providerId="AD" clId="Web-{37C9B8C0-52B5-386A-6ED7-EC46893B2221}" dt="2020-03-17T16:10:02.907" v="108"/>
          <ac:picMkLst>
            <pc:docMk/>
            <pc:sldMk cId="1743709036" sldId="867"/>
            <ac:picMk id="6" creationId="{298949B4-3ACC-4C16-9E72-1DB20BCA3BF7}"/>
          </ac:picMkLst>
        </pc:picChg>
        <pc:picChg chg="del">
          <ac:chgData name="Kaltrina Rexhahmetaj" userId="S::kaltrina.rexhahmetaj@bvh.org::c314e318-93e0-4c36-9995-6aa0f00e0010" providerId="AD" clId="Web-{37C9B8C0-52B5-386A-6ED7-EC46893B2221}" dt="2020-03-17T16:10:02.907" v="107"/>
          <ac:picMkLst>
            <pc:docMk/>
            <pc:sldMk cId="1743709036" sldId="867"/>
            <ac:picMk id="7" creationId="{7A8DBFB5-F604-4CEB-9844-5FC51042DD4D}"/>
          </ac:picMkLst>
        </pc:picChg>
        <pc:picChg chg="del">
          <ac:chgData name="Kaltrina Rexhahmetaj" userId="S::kaltrina.rexhahmetaj@bvh.org::c314e318-93e0-4c36-9995-6aa0f00e0010" providerId="AD" clId="Web-{37C9B8C0-52B5-386A-6ED7-EC46893B2221}" dt="2020-03-17T16:10:02.907" v="106"/>
          <ac:picMkLst>
            <pc:docMk/>
            <pc:sldMk cId="1743709036" sldId="867"/>
            <ac:picMk id="8" creationId="{074AA8E9-34E6-4749-A255-BBE43504641E}"/>
          </ac:picMkLst>
        </pc:picChg>
        <pc:picChg chg="del">
          <ac:chgData name="Kaltrina Rexhahmetaj" userId="S::kaltrina.rexhahmetaj@bvh.org::c314e318-93e0-4c36-9995-6aa0f00e0010" providerId="AD" clId="Web-{37C9B8C0-52B5-386A-6ED7-EC46893B2221}" dt="2020-03-17T16:10:02.907" v="105"/>
          <ac:picMkLst>
            <pc:docMk/>
            <pc:sldMk cId="1743709036" sldId="867"/>
            <ac:picMk id="9" creationId="{43E6A6B8-EE37-4A49-8F97-090210618295}"/>
          </ac:picMkLst>
        </pc:picChg>
        <pc:picChg chg="add">
          <ac:chgData name="Kaltrina Rexhahmetaj" userId="S::kaltrina.rexhahmetaj@bvh.org::c314e318-93e0-4c36-9995-6aa0f00e0010" providerId="AD" clId="Web-{37C9B8C0-52B5-386A-6ED7-EC46893B2221}" dt="2020-03-17T16:10:33.204" v="111"/>
          <ac:picMkLst>
            <pc:docMk/>
            <pc:sldMk cId="1743709036" sldId="867"/>
            <ac:picMk id="24" creationId="{E44E6C44-EA85-47C8-A048-B786AB77CF4F}"/>
          </ac:picMkLst>
        </pc:picChg>
        <pc:picChg chg="add">
          <ac:chgData name="Kaltrina Rexhahmetaj" userId="S::kaltrina.rexhahmetaj@bvh.org::c314e318-93e0-4c36-9995-6aa0f00e0010" providerId="AD" clId="Web-{37C9B8C0-52B5-386A-6ED7-EC46893B2221}" dt="2020-03-17T16:10:33.204" v="111"/>
          <ac:picMkLst>
            <pc:docMk/>
            <pc:sldMk cId="1743709036" sldId="867"/>
            <ac:picMk id="25" creationId="{EA2DD57D-FF56-4BA9-89F2-2F7D151CAEAB}"/>
          </ac:picMkLst>
        </pc:picChg>
        <pc:picChg chg="add">
          <ac:chgData name="Kaltrina Rexhahmetaj" userId="S::kaltrina.rexhahmetaj@bvh.org::c314e318-93e0-4c36-9995-6aa0f00e0010" providerId="AD" clId="Web-{37C9B8C0-52B5-386A-6ED7-EC46893B2221}" dt="2020-03-17T16:10:33.204" v="111"/>
          <ac:picMkLst>
            <pc:docMk/>
            <pc:sldMk cId="1743709036" sldId="867"/>
            <ac:picMk id="26" creationId="{7429E967-737C-4C69-9102-A5FF5977608E}"/>
          </ac:picMkLst>
        </pc:picChg>
      </pc:sldChg>
      <pc:sldChg chg="add del replId">
        <pc:chgData name="Kaltrina Rexhahmetaj" userId="S::kaltrina.rexhahmetaj@bvh.org::c314e318-93e0-4c36-9995-6aa0f00e0010" providerId="AD" clId="Web-{37C9B8C0-52B5-386A-6ED7-EC46893B2221}" dt="2020-03-17T16:09:54.235" v="97"/>
        <pc:sldMkLst>
          <pc:docMk/>
          <pc:sldMk cId="1251399529" sldId="868"/>
        </pc:sldMkLst>
      </pc:sldChg>
      <pc:sldChg chg="add del replId">
        <pc:chgData name="Kaltrina Rexhahmetaj" userId="S::kaltrina.rexhahmetaj@bvh.org::c314e318-93e0-4c36-9995-6aa0f00e0010" providerId="AD" clId="Web-{37C9B8C0-52B5-386A-6ED7-EC46893B2221}" dt="2020-03-17T16:11:27.578" v="132"/>
        <pc:sldMkLst>
          <pc:docMk/>
          <pc:sldMk cId="1671583314" sldId="868"/>
        </pc:sldMkLst>
      </pc:sldChg>
      <pc:sldChg chg="addSp delSp modSp add replId">
        <pc:chgData name="Kaltrina Rexhahmetaj" userId="S::kaltrina.rexhahmetaj@bvh.org::c314e318-93e0-4c36-9995-6aa0f00e0010" providerId="AD" clId="Web-{37C9B8C0-52B5-386A-6ED7-EC46893B2221}" dt="2020-03-17T16:11:23.172" v="131"/>
        <pc:sldMkLst>
          <pc:docMk/>
          <pc:sldMk cId="4241842451" sldId="869"/>
        </pc:sldMkLst>
        <pc:spChg chg="add mod">
          <ac:chgData name="Kaltrina Rexhahmetaj" userId="S::kaltrina.rexhahmetaj@bvh.org::c314e318-93e0-4c36-9995-6aa0f00e0010" providerId="AD" clId="Web-{37C9B8C0-52B5-386A-6ED7-EC46893B2221}" dt="2020-03-17T16:11:23.172" v="131"/>
          <ac:spMkLst>
            <pc:docMk/>
            <pc:sldMk cId="4241842451" sldId="869"/>
            <ac:spMk id="4" creationId="{69C750CA-9BFF-4BC2-BB76-AF3912ADFD1D}"/>
          </ac:spMkLst>
        </pc:spChg>
        <pc:spChg chg="del">
          <ac:chgData name="Kaltrina Rexhahmetaj" userId="S::kaltrina.rexhahmetaj@bvh.org::c314e318-93e0-4c36-9995-6aa0f00e0010" providerId="AD" clId="Web-{37C9B8C0-52B5-386A-6ED7-EC46893B2221}" dt="2020-03-17T16:11:23.172" v="131"/>
          <ac:spMkLst>
            <pc:docMk/>
            <pc:sldMk cId="4241842451" sldId="869"/>
            <ac:spMk id="23" creationId="{12A05E04-4A47-4514-B521-EDFA5CAE3C32}"/>
          </ac:spMkLst>
        </pc:spChg>
        <pc:spChg chg="del">
          <ac:chgData name="Kaltrina Rexhahmetaj" userId="S::kaltrina.rexhahmetaj@bvh.org::c314e318-93e0-4c36-9995-6aa0f00e0010" providerId="AD" clId="Web-{37C9B8C0-52B5-386A-6ED7-EC46893B2221}" dt="2020-03-17T16:11:22.984" v="127"/>
          <ac:spMkLst>
            <pc:docMk/>
            <pc:sldMk cId="4241842451" sldId="869"/>
            <ac:spMk id="27" creationId="{7E31ED22-2099-4681-AEDE-A399A8F94D8D}"/>
          </ac:spMkLst>
        </pc:spChg>
        <pc:picChg chg="del">
          <ac:chgData name="Kaltrina Rexhahmetaj" userId="S::kaltrina.rexhahmetaj@bvh.org::c314e318-93e0-4c36-9995-6aa0f00e0010" providerId="AD" clId="Web-{37C9B8C0-52B5-386A-6ED7-EC46893B2221}" dt="2020-03-17T16:11:23" v="130"/>
          <ac:picMkLst>
            <pc:docMk/>
            <pc:sldMk cId="4241842451" sldId="869"/>
            <ac:picMk id="24" creationId="{E44E6C44-EA85-47C8-A048-B786AB77CF4F}"/>
          </ac:picMkLst>
        </pc:picChg>
        <pc:picChg chg="del">
          <ac:chgData name="Kaltrina Rexhahmetaj" userId="S::kaltrina.rexhahmetaj@bvh.org::c314e318-93e0-4c36-9995-6aa0f00e0010" providerId="AD" clId="Web-{37C9B8C0-52B5-386A-6ED7-EC46893B2221}" dt="2020-03-17T16:11:22.984" v="129"/>
          <ac:picMkLst>
            <pc:docMk/>
            <pc:sldMk cId="4241842451" sldId="869"/>
            <ac:picMk id="25" creationId="{EA2DD57D-FF56-4BA9-89F2-2F7D151CAEAB}"/>
          </ac:picMkLst>
        </pc:picChg>
        <pc:picChg chg="del">
          <ac:chgData name="Kaltrina Rexhahmetaj" userId="S::kaltrina.rexhahmetaj@bvh.org::c314e318-93e0-4c36-9995-6aa0f00e0010" providerId="AD" clId="Web-{37C9B8C0-52B5-386A-6ED7-EC46893B2221}" dt="2020-03-17T16:11:22.984" v="128"/>
          <ac:picMkLst>
            <pc:docMk/>
            <pc:sldMk cId="4241842451" sldId="869"/>
            <ac:picMk id="26" creationId="{7429E967-737C-4C69-9102-A5FF5977608E}"/>
          </ac:picMkLst>
        </pc:picChg>
      </pc:sldChg>
      <pc:sldMasterChg chg="addSldLayout">
        <pc:chgData name="Kaltrina Rexhahmetaj" userId="S::kaltrina.rexhahmetaj@bvh.org::c314e318-93e0-4c36-9995-6aa0f00e0010" providerId="AD" clId="Web-{37C9B8C0-52B5-386A-6ED7-EC46893B2221}" dt="2020-03-17T16:07:31.268" v="37"/>
        <pc:sldMasterMkLst>
          <pc:docMk/>
          <pc:sldMasterMk cId="2085862480" sldId="2147483809"/>
        </pc:sldMasterMkLst>
        <pc:sldLayoutChg chg="add">
          <pc:chgData name="Kaltrina Rexhahmetaj" userId="S::kaltrina.rexhahmetaj@bvh.org::c314e318-93e0-4c36-9995-6aa0f00e0010" providerId="AD" clId="Web-{37C9B8C0-52B5-386A-6ED7-EC46893B2221}" dt="2020-03-17T16:07:31.268" v="37"/>
          <pc:sldLayoutMkLst>
            <pc:docMk/>
            <pc:sldMasterMk cId="2085862480" sldId="2147483809"/>
            <pc:sldLayoutMk cId="2057389856" sldId="2147483787"/>
          </pc:sldLayoutMkLst>
        </pc:sldLayoutChg>
        <pc:sldLayoutChg chg="add">
          <pc:chgData name="Kaltrina Rexhahmetaj" userId="S::kaltrina.rexhahmetaj@bvh.org::c314e318-93e0-4c36-9995-6aa0f00e0010" providerId="AD" clId="Web-{37C9B8C0-52B5-386A-6ED7-EC46893B2221}" dt="2020-03-17T16:07:31.268" v="37"/>
          <pc:sldLayoutMkLst>
            <pc:docMk/>
            <pc:sldMasterMk cId="2085862480" sldId="2147483809"/>
            <pc:sldLayoutMk cId="2679553717" sldId="2147483788"/>
          </pc:sldLayoutMkLst>
        </pc:sldLayoutChg>
        <pc:sldLayoutChg chg="add">
          <pc:chgData name="Kaltrina Rexhahmetaj" userId="S::kaltrina.rexhahmetaj@bvh.org::c314e318-93e0-4c36-9995-6aa0f00e0010" providerId="AD" clId="Web-{37C9B8C0-52B5-386A-6ED7-EC46893B2221}" dt="2020-03-17T16:07:31.268" v="37"/>
          <pc:sldLayoutMkLst>
            <pc:docMk/>
            <pc:sldMasterMk cId="2085862480" sldId="2147483809"/>
            <pc:sldLayoutMk cId="3862825796" sldId="2147483789"/>
          </pc:sldLayoutMkLst>
        </pc:sldLayoutChg>
        <pc:sldLayoutChg chg="add">
          <pc:chgData name="Kaltrina Rexhahmetaj" userId="S::kaltrina.rexhahmetaj@bvh.org::c314e318-93e0-4c36-9995-6aa0f00e0010" providerId="AD" clId="Web-{37C9B8C0-52B5-386A-6ED7-EC46893B2221}" dt="2020-03-17T16:07:31.268" v="37"/>
          <pc:sldLayoutMkLst>
            <pc:docMk/>
            <pc:sldMasterMk cId="2085862480" sldId="2147483809"/>
            <pc:sldLayoutMk cId="1774942853" sldId="2147483806"/>
          </pc:sldLayoutMkLst>
        </pc:sldLayoutChg>
      </pc:sldMasterChg>
      <pc:sldMasterChg chg="addSldLayout">
        <pc:chgData name="Kaltrina Rexhahmetaj" userId="S::kaltrina.rexhahmetaj@bvh.org::c314e318-93e0-4c36-9995-6aa0f00e0010" providerId="AD" clId="Web-{37C9B8C0-52B5-386A-6ED7-EC46893B2221}" dt="2020-03-17T16:08:41.986" v="77"/>
        <pc:sldMasterMkLst>
          <pc:docMk/>
          <pc:sldMasterMk cId="3859193514" sldId="2147483824"/>
        </pc:sldMasterMkLst>
        <pc:sldLayoutChg chg="add replId">
          <pc:chgData name="Kaltrina Rexhahmetaj" userId="S::kaltrina.rexhahmetaj@bvh.org::c314e318-93e0-4c36-9995-6aa0f00e0010" providerId="AD" clId="Web-{37C9B8C0-52B5-386A-6ED7-EC46893B2221}" dt="2020-03-17T16:08:41.986" v="77"/>
          <pc:sldLayoutMkLst>
            <pc:docMk/>
            <pc:sldMasterMk cId="3859193514" sldId="2147483824"/>
            <pc:sldLayoutMk cId="1458664369" sldId="2147483807"/>
          </pc:sldLayoutMkLst>
        </pc:sldLayoutChg>
      </pc:sldMasterChg>
    </pc:docChg>
  </pc:docChgLst>
  <pc:docChgLst>
    <pc:chgData name="Max Hamscher" userId="a664a659-f5c6-44ed-b1cd-54892a049d63" providerId="ADAL" clId="{BE634FCA-A327-4F08-A7F7-B3A7B7963EDF}"/>
    <pc:docChg chg="modMainMaster">
      <pc:chgData name="Max Hamscher" userId="a664a659-f5c6-44ed-b1cd-54892a049d63" providerId="ADAL" clId="{BE634FCA-A327-4F08-A7F7-B3A7B7963EDF}" dt="2020-07-14T11:55:22.624" v="0" actId="22"/>
      <pc:docMkLst>
        <pc:docMk/>
      </pc:docMkLst>
      <pc:sldMasterChg chg="addSp mod">
        <pc:chgData name="Max Hamscher" userId="a664a659-f5c6-44ed-b1cd-54892a049d63" providerId="ADAL" clId="{BE634FCA-A327-4F08-A7F7-B3A7B7963EDF}" dt="2020-07-14T11:55:22.624" v="0" actId="22"/>
        <pc:sldMasterMkLst>
          <pc:docMk/>
          <pc:sldMasterMk cId="3859193514" sldId="2147483824"/>
        </pc:sldMasterMkLst>
        <pc:picChg chg="add">
          <ac:chgData name="Max Hamscher" userId="a664a659-f5c6-44ed-b1cd-54892a049d63" providerId="ADAL" clId="{BE634FCA-A327-4F08-A7F7-B3A7B7963EDF}" dt="2020-07-14T11:55:22.624" v="0" actId="22"/>
          <ac:picMkLst>
            <pc:docMk/>
            <pc:sldMasterMk cId="3859193514" sldId="2147483824"/>
            <ac:picMk id="4" creationId="{0D62F91B-7347-4583-978F-C4DF1313E7A1}"/>
          </ac:picMkLst>
        </pc:picChg>
      </pc:sldMasterChg>
    </pc:docChg>
  </pc:docChgLst>
  <pc:docChgLst>
    <pc:chgData name="Max Hamscher" userId="a664a659-f5c6-44ed-b1cd-54892a049d63" providerId="ADAL" clId="{62B3B9A9-4379-4686-B530-33AC8AAF861B}"/>
    <pc:docChg chg="undo custSel modSld">
      <pc:chgData name="Max Hamscher" userId="a664a659-f5c6-44ed-b1cd-54892a049d63" providerId="ADAL" clId="{62B3B9A9-4379-4686-B530-33AC8AAF861B}" dt="2020-03-16T18:17:52.203" v="7" actId="14100"/>
      <pc:docMkLst>
        <pc:docMk/>
      </pc:docMkLst>
      <pc:sldChg chg="modSp">
        <pc:chgData name="Max Hamscher" userId="a664a659-f5c6-44ed-b1cd-54892a049d63" providerId="ADAL" clId="{62B3B9A9-4379-4686-B530-33AC8AAF861B}" dt="2020-03-16T18:17:52.203" v="7" actId="14100"/>
        <pc:sldMkLst>
          <pc:docMk/>
          <pc:sldMk cId="3037613952" sldId="833"/>
        </pc:sldMkLst>
        <pc:spChg chg="mod">
          <ac:chgData name="Max Hamscher" userId="a664a659-f5c6-44ed-b1cd-54892a049d63" providerId="ADAL" clId="{62B3B9A9-4379-4686-B530-33AC8AAF861B}" dt="2020-03-16T18:17:35.044" v="4" actId="14100"/>
          <ac:spMkLst>
            <pc:docMk/>
            <pc:sldMk cId="3037613952" sldId="833"/>
            <ac:spMk id="7" creationId="{AC75D14B-B7CE-4C12-A7DD-CE82825E2FD7}"/>
          </ac:spMkLst>
        </pc:spChg>
        <pc:spChg chg="mod">
          <ac:chgData name="Max Hamscher" userId="a664a659-f5c6-44ed-b1cd-54892a049d63" providerId="ADAL" clId="{62B3B9A9-4379-4686-B530-33AC8AAF861B}" dt="2020-03-16T18:17:52.203" v="7" actId="14100"/>
          <ac:spMkLst>
            <pc:docMk/>
            <pc:sldMk cId="3037613952" sldId="833"/>
            <ac:spMk id="10" creationId="{81F06804-1ED0-40E6-A6B5-A8613DBDCDC6}"/>
          </ac:spMkLst>
        </pc:spChg>
        <pc:picChg chg="mod">
          <ac:chgData name="Max Hamscher" userId="a664a659-f5c6-44ed-b1cd-54892a049d63" providerId="ADAL" clId="{62B3B9A9-4379-4686-B530-33AC8AAF861B}" dt="2020-03-16T18:17:30.193" v="3" actId="732"/>
          <ac:picMkLst>
            <pc:docMk/>
            <pc:sldMk cId="3037613952" sldId="833"/>
            <ac:picMk id="6" creationId="{F6ECDD77-C4CC-47F9-9FE8-C6807F3FE652}"/>
          </ac:picMkLst>
        </pc:picChg>
      </pc:sldChg>
    </pc:docChg>
  </pc:docChgLst>
  <pc:docChgLst>
    <pc:chgData name="Kaltrina Rexhahmetaj" userId="S::kaltrina.rexhahmetaj@bvh.org::c314e318-93e0-4c36-9995-6aa0f00e0010" providerId="AD" clId="Web-{6B1E5ED4-B0EE-9969-BA16-54CE7A1DE464}"/>
    <pc:docChg chg="addSld delSld modSld sldOrd addMainMaster delMainMaster modMainMaster">
      <pc:chgData name="Kaltrina Rexhahmetaj" userId="S::kaltrina.rexhahmetaj@bvh.org::c314e318-93e0-4c36-9995-6aa0f00e0010" providerId="AD" clId="Web-{6B1E5ED4-B0EE-9969-BA16-54CE7A1DE464}" dt="2020-03-17T21:09:51.321" v="310"/>
      <pc:docMkLst>
        <pc:docMk/>
      </pc:docMkLst>
      <pc:sldChg chg="del">
        <pc:chgData name="Kaltrina Rexhahmetaj" userId="S::kaltrina.rexhahmetaj@bvh.org::c314e318-93e0-4c36-9995-6aa0f00e0010" providerId="AD" clId="Web-{6B1E5ED4-B0EE-9969-BA16-54CE7A1DE464}" dt="2020-03-17T20:32:38.109" v="0"/>
        <pc:sldMkLst>
          <pc:docMk/>
          <pc:sldMk cId="105958133" sldId="257"/>
        </pc:sldMkLst>
      </pc:sldChg>
      <pc:sldChg chg="addSp delSp modSp modNotes">
        <pc:chgData name="Kaltrina Rexhahmetaj" userId="S::kaltrina.rexhahmetaj@bvh.org::c314e318-93e0-4c36-9995-6aa0f00e0010" providerId="AD" clId="Web-{6B1E5ED4-B0EE-9969-BA16-54CE7A1DE464}" dt="2020-03-17T20:34:51.404" v="28"/>
        <pc:sldMkLst>
          <pc:docMk/>
          <pc:sldMk cId="3635046754" sldId="897"/>
        </pc:sldMkLst>
        <pc:spChg chg="mod">
          <ac:chgData name="Kaltrina Rexhahmetaj" userId="S::kaltrina.rexhahmetaj@bvh.org::c314e318-93e0-4c36-9995-6aa0f00e0010" providerId="AD" clId="Web-{6B1E5ED4-B0EE-9969-BA16-54CE7A1DE464}" dt="2020-03-17T20:33:53.576" v="13" actId="20577"/>
          <ac:spMkLst>
            <pc:docMk/>
            <pc:sldMk cId="3635046754" sldId="897"/>
            <ac:spMk id="4" creationId="{C8722015-4327-4975-8F53-979F07C48E7D}"/>
          </ac:spMkLst>
        </pc:spChg>
        <pc:spChg chg="add">
          <ac:chgData name="Kaltrina Rexhahmetaj" userId="S::kaltrina.rexhahmetaj@bvh.org::c314e318-93e0-4c36-9995-6aa0f00e0010" providerId="AD" clId="Web-{6B1E5ED4-B0EE-9969-BA16-54CE7A1DE464}" dt="2020-03-17T20:33:29.420" v="1"/>
          <ac:spMkLst>
            <pc:docMk/>
            <pc:sldMk cId="3635046754" sldId="897"/>
            <ac:spMk id="7" creationId="{F3C84D3F-2DE1-4784-8945-7814C3E4102B}"/>
          </ac:spMkLst>
        </pc:spChg>
        <pc:spChg chg="add">
          <ac:chgData name="Kaltrina Rexhahmetaj" userId="S::kaltrina.rexhahmetaj@bvh.org::c314e318-93e0-4c36-9995-6aa0f00e0010" providerId="AD" clId="Web-{6B1E5ED4-B0EE-9969-BA16-54CE7A1DE464}" dt="2020-03-17T20:33:29.420" v="1"/>
          <ac:spMkLst>
            <pc:docMk/>
            <pc:sldMk cId="3635046754" sldId="897"/>
            <ac:spMk id="8" creationId="{D416E67F-B7D3-4201-98F5-50204C13602F}"/>
          </ac:spMkLst>
        </pc:spChg>
        <pc:spChg chg="add">
          <ac:chgData name="Kaltrina Rexhahmetaj" userId="S::kaltrina.rexhahmetaj@bvh.org::c314e318-93e0-4c36-9995-6aa0f00e0010" providerId="AD" clId="Web-{6B1E5ED4-B0EE-9969-BA16-54CE7A1DE464}" dt="2020-03-17T20:33:29.420" v="1"/>
          <ac:spMkLst>
            <pc:docMk/>
            <pc:sldMk cId="3635046754" sldId="897"/>
            <ac:spMk id="9" creationId="{606034D1-733E-4A55-BC61-33712AFA4356}"/>
          </ac:spMkLst>
        </pc:spChg>
        <pc:spChg chg="add">
          <ac:chgData name="Kaltrina Rexhahmetaj" userId="S::kaltrina.rexhahmetaj@bvh.org::c314e318-93e0-4c36-9995-6aa0f00e0010" providerId="AD" clId="Web-{6B1E5ED4-B0EE-9969-BA16-54CE7A1DE464}" dt="2020-03-17T20:33:29.420" v="1"/>
          <ac:spMkLst>
            <pc:docMk/>
            <pc:sldMk cId="3635046754" sldId="897"/>
            <ac:spMk id="10" creationId="{82FECF44-98A2-4B5C-B68E-EF2128667364}"/>
          </ac:spMkLst>
        </pc:spChg>
        <pc:spChg chg="add">
          <ac:chgData name="Kaltrina Rexhahmetaj" userId="S::kaltrina.rexhahmetaj@bvh.org::c314e318-93e0-4c36-9995-6aa0f00e0010" providerId="AD" clId="Web-{6B1E5ED4-B0EE-9969-BA16-54CE7A1DE464}" dt="2020-03-17T20:33:29.420" v="1"/>
          <ac:spMkLst>
            <pc:docMk/>
            <pc:sldMk cId="3635046754" sldId="897"/>
            <ac:spMk id="11" creationId="{F56D06F4-DE7E-4B50-84E3-44FD6D5884A8}"/>
          </ac:spMkLst>
        </pc:spChg>
        <pc:spChg chg="add">
          <ac:chgData name="Kaltrina Rexhahmetaj" userId="S::kaltrina.rexhahmetaj@bvh.org::c314e318-93e0-4c36-9995-6aa0f00e0010" providerId="AD" clId="Web-{6B1E5ED4-B0EE-9969-BA16-54CE7A1DE464}" dt="2020-03-17T20:33:29.420" v="1"/>
          <ac:spMkLst>
            <pc:docMk/>
            <pc:sldMk cId="3635046754" sldId="897"/>
            <ac:spMk id="12" creationId="{25A0CE55-48A5-4C57-9D5D-DA6B5DC80864}"/>
          </ac:spMkLst>
        </pc:spChg>
        <pc:spChg chg="add del mod">
          <ac:chgData name="Kaltrina Rexhahmetaj" userId="S::kaltrina.rexhahmetaj@bvh.org::c314e318-93e0-4c36-9995-6aa0f00e0010" providerId="AD" clId="Web-{6B1E5ED4-B0EE-9969-BA16-54CE7A1DE464}" dt="2020-03-17T20:34:06.685" v="16"/>
          <ac:spMkLst>
            <pc:docMk/>
            <pc:sldMk cId="3635046754" sldId="897"/>
            <ac:spMk id="13" creationId="{B77710AD-8EA5-4C6C-BFE4-010C27C980CA}"/>
          </ac:spMkLst>
        </pc:spChg>
        <pc:spChg chg="add del">
          <ac:chgData name="Kaltrina Rexhahmetaj" userId="S::kaltrina.rexhahmetaj@bvh.org::c314e318-93e0-4c36-9995-6aa0f00e0010" providerId="AD" clId="Web-{6B1E5ED4-B0EE-9969-BA16-54CE7A1DE464}" dt="2020-03-17T20:33:56.764" v="14"/>
          <ac:spMkLst>
            <pc:docMk/>
            <pc:sldMk cId="3635046754" sldId="897"/>
            <ac:spMk id="14" creationId="{5CBDD0DB-50DB-42EB-94D5-49E35903841A}"/>
          </ac:spMkLst>
        </pc:spChg>
        <pc:picChg chg="add">
          <ac:chgData name="Kaltrina Rexhahmetaj" userId="S::kaltrina.rexhahmetaj@bvh.org::c314e318-93e0-4c36-9995-6aa0f00e0010" providerId="AD" clId="Web-{6B1E5ED4-B0EE-9969-BA16-54CE7A1DE464}" dt="2020-03-17T20:33:29.420" v="1"/>
          <ac:picMkLst>
            <pc:docMk/>
            <pc:sldMk cId="3635046754" sldId="897"/>
            <ac:picMk id="5" creationId="{023AFC4A-0F9A-4795-A4BD-3FF0E619B3FD}"/>
          </ac:picMkLst>
        </pc:picChg>
        <pc:picChg chg="add">
          <ac:chgData name="Kaltrina Rexhahmetaj" userId="S::kaltrina.rexhahmetaj@bvh.org::c314e318-93e0-4c36-9995-6aa0f00e0010" providerId="AD" clId="Web-{6B1E5ED4-B0EE-9969-BA16-54CE7A1DE464}" dt="2020-03-17T20:33:29.420" v="1"/>
          <ac:picMkLst>
            <pc:docMk/>
            <pc:sldMk cId="3635046754" sldId="897"/>
            <ac:picMk id="6" creationId="{397583A7-A2DA-45A1-944E-4A83B2860200}"/>
          </ac:picMkLst>
        </pc:picChg>
      </pc:sldChg>
      <pc:sldChg chg="addSp delSp modSp add replId modNotes">
        <pc:chgData name="Kaltrina Rexhahmetaj" userId="S::kaltrina.rexhahmetaj@bvh.org::c314e318-93e0-4c36-9995-6aa0f00e0010" providerId="AD" clId="Web-{6B1E5ED4-B0EE-9969-BA16-54CE7A1DE464}" dt="2020-03-17T20:41:16.466" v="87"/>
        <pc:sldMkLst>
          <pc:docMk/>
          <pc:sldMk cId="2363276976" sldId="898"/>
        </pc:sldMkLst>
        <pc:spChg chg="del">
          <ac:chgData name="Kaltrina Rexhahmetaj" userId="S::kaltrina.rexhahmetaj@bvh.org::c314e318-93e0-4c36-9995-6aa0f00e0010" providerId="AD" clId="Web-{6B1E5ED4-B0EE-9969-BA16-54CE7A1DE464}" dt="2020-03-17T20:34:21.967" v="26"/>
          <ac:spMkLst>
            <pc:docMk/>
            <pc:sldMk cId="2363276976" sldId="898"/>
            <ac:spMk id="4" creationId="{C8722015-4327-4975-8F53-979F07C48E7D}"/>
          </ac:spMkLst>
        </pc:spChg>
        <pc:spChg chg="del">
          <ac:chgData name="Kaltrina Rexhahmetaj" userId="S::kaltrina.rexhahmetaj@bvh.org::c314e318-93e0-4c36-9995-6aa0f00e0010" providerId="AD" clId="Web-{6B1E5ED4-B0EE-9969-BA16-54CE7A1DE464}" dt="2020-03-17T20:34:21.826" v="23"/>
          <ac:spMkLst>
            <pc:docMk/>
            <pc:sldMk cId="2363276976" sldId="898"/>
            <ac:spMk id="7" creationId="{F3C84D3F-2DE1-4784-8945-7814C3E4102B}"/>
          </ac:spMkLst>
        </pc:spChg>
        <pc:spChg chg="del">
          <ac:chgData name="Kaltrina Rexhahmetaj" userId="S::kaltrina.rexhahmetaj@bvh.org::c314e318-93e0-4c36-9995-6aa0f00e0010" providerId="AD" clId="Web-{6B1E5ED4-B0EE-9969-BA16-54CE7A1DE464}" dt="2020-03-17T20:34:21.826" v="22"/>
          <ac:spMkLst>
            <pc:docMk/>
            <pc:sldMk cId="2363276976" sldId="898"/>
            <ac:spMk id="8" creationId="{D416E67F-B7D3-4201-98F5-50204C13602F}"/>
          </ac:spMkLst>
        </pc:spChg>
        <pc:spChg chg="del">
          <ac:chgData name="Kaltrina Rexhahmetaj" userId="S::kaltrina.rexhahmetaj@bvh.org::c314e318-93e0-4c36-9995-6aa0f00e0010" providerId="AD" clId="Web-{6B1E5ED4-B0EE-9969-BA16-54CE7A1DE464}" dt="2020-03-17T20:34:21.826" v="21"/>
          <ac:spMkLst>
            <pc:docMk/>
            <pc:sldMk cId="2363276976" sldId="898"/>
            <ac:spMk id="9" creationId="{606034D1-733E-4A55-BC61-33712AFA4356}"/>
          </ac:spMkLst>
        </pc:spChg>
        <pc:spChg chg="del">
          <ac:chgData name="Kaltrina Rexhahmetaj" userId="S::kaltrina.rexhahmetaj@bvh.org::c314e318-93e0-4c36-9995-6aa0f00e0010" providerId="AD" clId="Web-{6B1E5ED4-B0EE-9969-BA16-54CE7A1DE464}" dt="2020-03-17T20:34:21.826" v="20"/>
          <ac:spMkLst>
            <pc:docMk/>
            <pc:sldMk cId="2363276976" sldId="898"/>
            <ac:spMk id="10" creationId="{82FECF44-98A2-4B5C-B68E-EF2128667364}"/>
          </ac:spMkLst>
        </pc:spChg>
        <pc:spChg chg="del">
          <ac:chgData name="Kaltrina Rexhahmetaj" userId="S::kaltrina.rexhahmetaj@bvh.org::c314e318-93e0-4c36-9995-6aa0f00e0010" providerId="AD" clId="Web-{6B1E5ED4-B0EE-9969-BA16-54CE7A1DE464}" dt="2020-03-17T20:34:21.826" v="19"/>
          <ac:spMkLst>
            <pc:docMk/>
            <pc:sldMk cId="2363276976" sldId="898"/>
            <ac:spMk id="11" creationId="{F56D06F4-DE7E-4B50-84E3-44FD6D5884A8}"/>
          </ac:spMkLst>
        </pc:spChg>
        <pc:spChg chg="del">
          <ac:chgData name="Kaltrina Rexhahmetaj" userId="S::kaltrina.rexhahmetaj@bvh.org::c314e318-93e0-4c36-9995-6aa0f00e0010" providerId="AD" clId="Web-{6B1E5ED4-B0EE-9969-BA16-54CE7A1DE464}" dt="2020-03-17T20:34:21.826" v="18"/>
          <ac:spMkLst>
            <pc:docMk/>
            <pc:sldMk cId="2363276976" sldId="898"/>
            <ac:spMk id="12" creationId="{25A0CE55-48A5-4C57-9D5D-DA6B5DC80864}"/>
          </ac:spMkLst>
        </pc:spChg>
        <pc:spChg chg="add mod">
          <ac:chgData name="Kaltrina Rexhahmetaj" userId="S::kaltrina.rexhahmetaj@bvh.org::c314e318-93e0-4c36-9995-6aa0f00e0010" providerId="AD" clId="Web-{6B1E5ED4-B0EE-9969-BA16-54CE7A1DE464}" dt="2020-03-17T20:41:16.466" v="87"/>
          <ac:spMkLst>
            <pc:docMk/>
            <pc:sldMk cId="2363276976" sldId="898"/>
            <ac:spMk id="13" creationId="{3972804A-F587-443B-AD36-B7525B97FFF1}"/>
          </ac:spMkLst>
        </pc:spChg>
        <pc:spChg chg="add">
          <ac:chgData name="Kaltrina Rexhahmetaj" userId="S::kaltrina.rexhahmetaj@bvh.org::c314e318-93e0-4c36-9995-6aa0f00e0010" providerId="AD" clId="Web-{6B1E5ED4-B0EE-9969-BA16-54CE7A1DE464}" dt="2020-03-17T20:35:45.263" v="29"/>
          <ac:spMkLst>
            <pc:docMk/>
            <pc:sldMk cId="2363276976" sldId="898"/>
            <ac:spMk id="18" creationId="{0E33B9E7-48B4-4B25-A872-C0DFE4ABE8A8}"/>
          </ac:spMkLst>
        </pc:spChg>
        <pc:spChg chg="add">
          <ac:chgData name="Kaltrina Rexhahmetaj" userId="S::kaltrina.rexhahmetaj@bvh.org::c314e318-93e0-4c36-9995-6aa0f00e0010" providerId="AD" clId="Web-{6B1E5ED4-B0EE-9969-BA16-54CE7A1DE464}" dt="2020-03-17T20:35:45.263" v="29"/>
          <ac:spMkLst>
            <pc:docMk/>
            <pc:sldMk cId="2363276976" sldId="898"/>
            <ac:spMk id="19" creationId="{FF8023E5-47EB-4E41-B639-F45C26719915}"/>
          </ac:spMkLst>
        </pc:spChg>
        <pc:spChg chg="add">
          <ac:chgData name="Kaltrina Rexhahmetaj" userId="S::kaltrina.rexhahmetaj@bvh.org::c314e318-93e0-4c36-9995-6aa0f00e0010" providerId="AD" clId="Web-{6B1E5ED4-B0EE-9969-BA16-54CE7A1DE464}" dt="2020-03-17T20:35:45.263" v="29"/>
          <ac:spMkLst>
            <pc:docMk/>
            <pc:sldMk cId="2363276976" sldId="898"/>
            <ac:spMk id="20" creationId="{4D2886B3-4CB0-4945-BBE1-B36F48234F35}"/>
          </ac:spMkLst>
        </pc:spChg>
        <pc:spChg chg="add">
          <ac:chgData name="Kaltrina Rexhahmetaj" userId="S::kaltrina.rexhahmetaj@bvh.org::c314e318-93e0-4c36-9995-6aa0f00e0010" providerId="AD" clId="Web-{6B1E5ED4-B0EE-9969-BA16-54CE7A1DE464}" dt="2020-03-17T20:35:45.263" v="29"/>
          <ac:spMkLst>
            <pc:docMk/>
            <pc:sldMk cId="2363276976" sldId="898"/>
            <ac:spMk id="21" creationId="{F0A85BE5-36CF-4465-B2A2-C0DE8341929F}"/>
          </ac:spMkLst>
        </pc:spChg>
        <pc:spChg chg="add">
          <ac:chgData name="Kaltrina Rexhahmetaj" userId="S::kaltrina.rexhahmetaj@bvh.org::c314e318-93e0-4c36-9995-6aa0f00e0010" providerId="AD" clId="Web-{6B1E5ED4-B0EE-9969-BA16-54CE7A1DE464}" dt="2020-03-17T20:35:45.263" v="29"/>
          <ac:spMkLst>
            <pc:docMk/>
            <pc:sldMk cId="2363276976" sldId="898"/>
            <ac:spMk id="22" creationId="{76C17A24-CA23-4757-B386-5909461B8FF4}"/>
          </ac:spMkLst>
        </pc:spChg>
        <pc:spChg chg="add">
          <ac:chgData name="Kaltrina Rexhahmetaj" userId="S::kaltrina.rexhahmetaj@bvh.org::c314e318-93e0-4c36-9995-6aa0f00e0010" providerId="AD" clId="Web-{6B1E5ED4-B0EE-9969-BA16-54CE7A1DE464}" dt="2020-03-17T20:35:45.263" v="29"/>
          <ac:spMkLst>
            <pc:docMk/>
            <pc:sldMk cId="2363276976" sldId="898"/>
            <ac:spMk id="23" creationId="{040C2034-E7C8-4EB7-8836-8AB10952CDF2}"/>
          </ac:spMkLst>
        </pc:spChg>
        <pc:spChg chg="add del mod">
          <ac:chgData name="Kaltrina Rexhahmetaj" userId="S::kaltrina.rexhahmetaj@bvh.org::c314e318-93e0-4c36-9995-6aa0f00e0010" providerId="AD" clId="Web-{6B1E5ED4-B0EE-9969-BA16-54CE7A1DE464}" dt="2020-03-17T20:36:38.357" v="51"/>
          <ac:spMkLst>
            <pc:docMk/>
            <pc:sldMk cId="2363276976" sldId="898"/>
            <ac:spMk id="24" creationId="{9AE65068-2607-41E2-9957-89A6E9327197}"/>
          </ac:spMkLst>
        </pc:spChg>
        <pc:spChg chg="add del">
          <ac:chgData name="Kaltrina Rexhahmetaj" userId="S::kaltrina.rexhahmetaj@bvh.org::c314e318-93e0-4c36-9995-6aa0f00e0010" providerId="AD" clId="Web-{6B1E5ED4-B0EE-9969-BA16-54CE7A1DE464}" dt="2020-03-17T20:36:03.545" v="46"/>
          <ac:spMkLst>
            <pc:docMk/>
            <pc:sldMk cId="2363276976" sldId="898"/>
            <ac:spMk id="25" creationId="{08EC028F-1586-4A8D-892E-D5B4355327D0}"/>
          </ac:spMkLst>
        </pc:spChg>
        <pc:spChg chg="add del">
          <ac:chgData name="Kaltrina Rexhahmetaj" userId="S::kaltrina.rexhahmetaj@bvh.org::c314e318-93e0-4c36-9995-6aa0f00e0010" providerId="AD" clId="Web-{6B1E5ED4-B0EE-9969-BA16-54CE7A1DE464}" dt="2020-03-17T20:36:22.998" v="48"/>
          <ac:spMkLst>
            <pc:docMk/>
            <pc:sldMk cId="2363276976" sldId="898"/>
            <ac:spMk id="30" creationId="{53A1EB06-8B30-48F3-AA29-FAFC52B54808}"/>
          </ac:spMkLst>
        </pc:spChg>
        <pc:spChg chg="add del">
          <ac:chgData name="Kaltrina Rexhahmetaj" userId="S::kaltrina.rexhahmetaj@bvh.org::c314e318-93e0-4c36-9995-6aa0f00e0010" providerId="AD" clId="Web-{6B1E5ED4-B0EE-9969-BA16-54CE7A1DE464}" dt="2020-03-17T20:36:22.998" v="48"/>
          <ac:spMkLst>
            <pc:docMk/>
            <pc:sldMk cId="2363276976" sldId="898"/>
            <ac:spMk id="31" creationId="{F6FB6BA0-5BDC-4533-B660-E59ECE09D5C9}"/>
          </ac:spMkLst>
        </pc:spChg>
        <pc:spChg chg="add del">
          <ac:chgData name="Kaltrina Rexhahmetaj" userId="S::kaltrina.rexhahmetaj@bvh.org::c314e318-93e0-4c36-9995-6aa0f00e0010" providerId="AD" clId="Web-{6B1E5ED4-B0EE-9969-BA16-54CE7A1DE464}" dt="2020-03-17T20:36:22.998" v="48"/>
          <ac:spMkLst>
            <pc:docMk/>
            <pc:sldMk cId="2363276976" sldId="898"/>
            <ac:spMk id="32" creationId="{A4F547E9-49B8-4015-A249-E811C98D9D44}"/>
          </ac:spMkLst>
        </pc:spChg>
        <pc:spChg chg="add del">
          <ac:chgData name="Kaltrina Rexhahmetaj" userId="S::kaltrina.rexhahmetaj@bvh.org::c314e318-93e0-4c36-9995-6aa0f00e0010" providerId="AD" clId="Web-{6B1E5ED4-B0EE-9969-BA16-54CE7A1DE464}" dt="2020-03-17T20:36:22.998" v="48"/>
          <ac:spMkLst>
            <pc:docMk/>
            <pc:sldMk cId="2363276976" sldId="898"/>
            <ac:spMk id="33" creationId="{85CEECDE-5157-415A-8056-28D99A55CE61}"/>
          </ac:spMkLst>
        </pc:spChg>
        <pc:spChg chg="add del">
          <ac:chgData name="Kaltrina Rexhahmetaj" userId="S::kaltrina.rexhahmetaj@bvh.org::c314e318-93e0-4c36-9995-6aa0f00e0010" providerId="AD" clId="Web-{6B1E5ED4-B0EE-9969-BA16-54CE7A1DE464}" dt="2020-03-17T20:36:22.998" v="48"/>
          <ac:spMkLst>
            <pc:docMk/>
            <pc:sldMk cId="2363276976" sldId="898"/>
            <ac:spMk id="34" creationId="{905BC48C-2268-4EB5-9F07-1810E75AB11A}"/>
          </ac:spMkLst>
        </pc:spChg>
        <pc:spChg chg="add del">
          <ac:chgData name="Kaltrina Rexhahmetaj" userId="S::kaltrina.rexhahmetaj@bvh.org::c314e318-93e0-4c36-9995-6aa0f00e0010" providerId="AD" clId="Web-{6B1E5ED4-B0EE-9969-BA16-54CE7A1DE464}" dt="2020-03-17T20:36:22.998" v="48"/>
          <ac:spMkLst>
            <pc:docMk/>
            <pc:sldMk cId="2363276976" sldId="898"/>
            <ac:spMk id="35" creationId="{4A2091D7-3535-478D-A3DD-73402E1693E6}"/>
          </ac:spMkLst>
        </pc:spChg>
        <pc:spChg chg="add del">
          <ac:chgData name="Kaltrina Rexhahmetaj" userId="S::kaltrina.rexhahmetaj@bvh.org::c314e318-93e0-4c36-9995-6aa0f00e0010" providerId="AD" clId="Web-{6B1E5ED4-B0EE-9969-BA16-54CE7A1DE464}" dt="2020-03-17T20:36:22.998" v="48"/>
          <ac:spMkLst>
            <pc:docMk/>
            <pc:sldMk cId="2363276976" sldId="898"/>
            <ac:spMk id="36" creationId="{AF69D690-40FF-4CEC-B450-CDFB04C2E5BE}"/>
          </ac:spMkLst>
        </pc:spChg>
        <pc:spChg chg="add del">
          <ac:chgData name="Kaltrina Rexhahmetaj" userId="S::kaltrina.rexhahmetaj@bvh.org::c314e318-93e0-4c36-9995-6aa0f00e0010" providerId="AD" clId="Web-{6B1E5ED4-B0EE-9969-BA16-54CE7A1DE464}" dt="2020-03-17T20:36:22.998" v="48"/>
          <ac:spMkLst>
            <pc:docMk/>
            <pc:sldMk cId="2363276976" sldId="898"/>
            <ac:spMk id="37" creationId="{A88E02CD-B265-4189-B876-72D0941F4214}"/>
          </ac:spMkLst>
        </pc:spChg>
        <pc:picChg chg="del">
          <ac:chgData name="Kaltrina Rexhahmetaj" userId="S::kaltrina.rexhahmetaj@bvh.org::c314e318-93e0-4c36-9995-6aa0f00e0010" providerId="AD" clId="Web-{6B1E5ED4-B0EE-9969-BA16-54CE7A1DE464}" dt="2020-03-17T20:34:21.826" v="25"/>
          <ac:picMkLst>
            <pc:docMk/>
            <pc:sldMk cId="2363276976" sldId="898"/>
            <ac:picMk id="5" creationId="{023AFC4A-0F9A-4795-A4BD-3FF0E619B3FD}"/>
          </ac:picMkLst>
        </pc:picChg>
        <pc:picChg chg="del">
          <ac:chgData name="Kaltrina Rexhahmetaj" userId="S::kaltrina.rexhahmetaj@bvh.org::c314e318-93e0-4c36-9995-6aa0f00e0010" providerId="AD" clId="Web-{6B1E5ED4-B0EE-9969-BA16-54CE7A1DE464}" dt="2020-03-17T20:34:21.826" v="24"/>
          <ac:picMkLst>
            <pc:docMk/>
            <pc:sldMk cId="2363276976" sldId="898"/>
            <ac:picMk id="6" creationId="{397583A7-A2DA-45A1-944E-4A83B2860200}"/>
          </ac:picMkLst>
        </pc:picChg>
        <pc:picChg chg="add">
          <ac:chgData name="Kaltrina Rexhahmetaj" userId="S::kaltrina.rexhahmetaj@bvh.org::c314e318-93e0-4c36-9995-6aa0f00e0010" providerId="AD" clId="Web-{6B1E5ED4-B0EE-9969-BA16-54CE7A1DE464}" dt="2020-03-17T20:35:45.263" v="29"/>
          <ac:picMkLst>
            <pc:docMk/>
            <pc:sldMk cId="2363276976" sldId="898"/>
            <ac:picMk id="14" creationId="{0DEFDD2E-CE76-4AB5-A674-7DEB9E237B86}"/>
          </ac:picMkLst>
        </pc:picChg>
        <pc:picChg chg="add">
          <ac:chgData name="Kaltrina Rexhahmetaj" userId="S::kaltrina.rexhahmetaj@bvh.org::c314e318-93e0-4c36-9995-6aa0f00e0010" providerId="AD" clId="Web-{6B1E5ED4-B0EE-9969-BA16-54CE7A1DE464}" dt="2020-03-17T20:35:45.263" v="29"/>
          <ac:picMkLst>
            <pc:docMk/>
            <pc:sldMk cId="2363276976" sldId="898"/>
            <ac:picMk id="15" creationId="{1D0FC664-F7B4-41ED-9AFD-4F8A0DA42D17}"/>
          </ac:picMkLst>
        </pc:picChg>
        <pc:picChg chg="add">
          <ac:chgData name="Kaltrina Rexhahmetaj" userId="S::kaltrina.rexhahmetaj@bvh.org::c314e318-93e0-4c36-9995-6aa0f00e0010" providerId="AD" clId="Web-{6B1E5ED4-B0EE-9969-BA16-54CE7A1DE464}" dt="2020-03-17T20:35:45.263" v="29"/>
          <ac:picMkLst>
            <pc:docMk/>
            <pc:sldMk cId="2363276976" sldId="898"/>
            <ac:picMk id="16" creationId="{481EC055-D3EA-4BFE-A399-87532D851BA7}"/>
          </ac:picMkLst>
        </pc:picChg>
        <pc:picChg chg="add">
          <ac:chgData name="Kaltrina Rexhahmetaj" userId="S::kaltrina.rexhahmetaj@bvh.org::c314e318-93e0-4c36-9995-6aa0f00e0010" providerId="AD" clId="Web-{6B1E5ED4-B0EE-9969-BA16-54CE7A1DE464}" dt="2020-03-17T20:35:45.263" v="29"/>
          <ac:picMkLst>
            <pc:docMk/>
            <pc:sldMk cId="2363276976" sldId="898"/>
            <ac:picMk id="17" creationId="{035C27D0-CBE8-4826-B025-151279F00CBC}"/>
          </ac:picMkLst>
        </pc:picChg>
        <pc:picChg chg="add del">
          <ac:chgData name="Kaltrina Rexhahmetaj" userId="S::kaltrina.rexhahmetaj@bvh.org::c314e318-93e0-4c36-9995-6aa0f00e0010" providerId="AD" clId="Web-{6B1E5ED4-B0EE-9969-BA16-54CE7A1DE464}" dt="2020-03-17T20:36:22.998" v="48"/>
          <ac:picMkLst>
            <pc:docMk/>
            <pc:sldMk cId="2363276976" sldId="898"/>
            <ac:picMk id="26" creationId="{75E10589-C017-49C6-9539-665A15745AFB}"/>
          </ac:picMkLst>
        </pc:picChg>
        <pc:picChg chg="add del">
          <ac:chgData name="Kaltrina Rexhahmetaj" userId="S::kaltrina.rexhahmetaj@bvh.org::c314e318-93e0-4c36-9995-6aa0f00e0010" providerId="AD" clId="Web-{6B1E5ED4-B0EE-9969-BA16-54CE7A1DE464}" dt="2020-03-17T20:36:22.998" v="48"/>
          <ac:picMkLst>
            <pc:docMk/>
            <pc:sldMk cId="2363276976" sldId="898"/>
            <ac:picMk id="27" creationId="{5277EB06-7E40-4A23-B5D1-49192D8F5EC5}"/>
          </ac:picMkLst>
        </pc:picChg>
        <pc:picChg chg="add del">
          <ac:chgData name="Kaltrina Rexhahmetaj" userId="S::kaltrina.rexhahmetaj@bvh.org::c314e318-93e0-4c36-9995-6aa0f00e0010" providerId="AD" clId="Web-{6B1E5ED4-B0EE-9969-BA16-54CE7A1DE464}" dt="2020-03-17T20:36:22.998" v="48"/>
          <ac:picMkLst>
            <pc:docMk/>
            <pc:sldMk cId="2363276976" sldId="898"/>
            <ac:picMk id="28" creationId="{D6DB4964-75D8-4140-A808-CDFE314481D0}"/>
          </ac:picMkLst>
        </pc:picChg>
        <pc:picChg chg="add del">
          <ac:chgData name="Kaltrina Rexhahmetaj" userId="S::kaltrina.rexhahmetaj@bvh.org::c314e318-93e0-4c36-9995-6aa0f00e0010" providerId="AD" clId="Web-{6B1E5ED4-B0EE-9969-BA16-54CE7A1DE464}" dt="2020-03-17T20:36:22.998" v="48"/>
          <ac:picMkLst>
            <pc:docMk/>
            <pc:sldMk cId="2363276976" sldId="898"/>
            <ac:picMk id="29" creationId="{302BE265-2C62-4FBF-B623-6CED08C89884}"/>
          </ac:picMkLst>
        </pc:picChg>
      </pc:sldChg>
      <pc:sldChg chg="addSp delSp modSp add replId modNotes">
        <pc:chgData name="Kaltrina Rexhahmetaj" userId="S::kaltrina.rexhahmetaj@bvh.org::c314e318-93e0-4c36-9995-6aa0f00e0010" providerId="AD" clId="Web-{6B1E5ED4-B0EE-9969-BA16-54CE7A1DE464}" dt="2020-03-17T20:42:04.591" v="97"/>
        <pc:sldMkLst>
          <pc:docMk/>
          <pc:sldMk cId="608714497" sldId="899"/>
        </pc:sldMkLst>
        <pc:spChg chg="add mod">
          <ac:chgData name="Kaltrina Rexhahmetaj" userId="S::kaltrina.rexhahmetaj@bvh.org::c314e318-93e0-4c36-9995-6aa0f00e0010" providerId="AD" clId="Web-{6B1E5ED4-B0EE-9969-BA16-54CE7A1DE464}" dt="2020-03-17T20:41:20.841" v="88"/>
          <ac:spMkLst>
            <pc:docMk/>
            <pc:sldMk cId="608714497" sldId="899"/>
            <ac:spMk id="4" creationId="{EA4DBBCF-C1EA-4984-A175-30920F904278}"/>
          </ac:spMkLst>
        </pc:spChg>
        <pc:spChg chg="del">
          <ac:chgData name="Kaltrina Rexhahmetaj" userId="S::kaltrina.rexhahmetaj@bvh.org::c314e318-93e0-4c36-9995-6aa0f00e0010" providerId="AD" clId="Web-{6B1E5ED4-B0EE-9969-BA16-54CE7A1DE464}" dt="2020-03-17T20:37:32.294" v="68"/>
          <ac:spMkLst>
            <pc:docMk/>
            <pc:sldMk cId="608714497" sldId="899"/>
            <ac:spMk id="13" creationId="{3972804A-F587-443B-AD36-B7525B97FFF1}"/>
          </ac:spMkLst>
        </pc:spChg>
        <pc:spChg chg="del">
          <ac:chgData name="Kaltrina Rexhahmetaj" userId="S::kaltrina.rexhahmetaj@bvh.org::c314e318-93e0-4c36-9995-6aa0f00e0010" providerId="AD" clId="Web-{6B1E5ED4-B0EE-9969-BA16-54CE7A1DE464}" dt="2020-03-17T20:37:32.138" v="63"/>
          <ac:spMkLst>
            <pc:docMk/>
            <pc:sldMk cId="608714497" sldId="899"/>
            <ac:spMk id="18" creationId="{0E33B9E7-48B4-4B25-A872-C0DFE4ABE8A8}"/>
          </ac:spMkLst>
        </pc:spChg>
        <pc:spChg chg="del">
          <ac:chgData name="Kaltrina Rexhahmetaj" userId="S::kaltrina.rexhahmetaj@bvh.org::c314e318-93e0-4c36-9995-6aa0f00e0010" providerId="AD" clId="Web-{6B1E5ED4-B0EE-9969-BA16-54CE7A1DE464}" dt="2020-03-17T20:37:32.138" v="62"/>
          <ac:spMkLst>
            <pc:docMk/>
            <pc:sldMk cId="608714497" sldId="899"/>
            <ac:spMk id="19" creationId="{FF8023E5-47EB-4E41-B639-F45C26719915}"/>
          </ac:spMkLst>
        </pc:spChg>
        <pc:spChg chg="del">
          <ac:chgData name="Kaltrina Rexhahmetaj" userId="S::kaltrina.rexhahmetaj@bvh.org::c314e318-93e0-4c36-9995-6aa0f00e0010" providerId="AD" clId="Web-{6B1E5ED4-B0EE-9969-BA16-54CE7A1DE464}" dt="2020-03-17T20:37:32.122" v="61"/>
          <ac:spMkLst>
            <pc:docMk/>
            <pc:sldMk cId="608714497" sldId="899"/>
            <ac:spMk id="20" creationId="{4D2886B3-4CB0-4945-BBE1-B36F48234F35}"/>
          </ac:spMkLst>
        </pc:spChg>
        <pc:spChg chg="del">
          <ac:chgData name="Kaltrina Rexhahmetaj" userId="S::kaltrina.rexhahmetaj@bvh.org::c314e318-93e0-4c36-9995-6aa0f00e0010" providerId="AD" clId="Web-{6B1E5ED4-B0EE-9969-BA16-54CE7A1DE464}" dt="2020-03-17T20:37:32.122" v="60"/>
          <ac:spMkLst>
            <pc:docMk/>
            <pc:sldMk cId="608714497" sldId="899"/>
            <ac:spMk id="21" creationId="{F0A85BE5-36CF-4465-B2A2-C0DE8341929F}"/>
          </ac:spMkLst>
        </pc:spChg>
        <pc:spChg chg="del">
          <ac:chgData name="Kaltrina Rexhahmetaj" userId="S::kaltrina.rexhahmetaj@bvh.org::c314e318-93e0-4c36-9995-6aa0f00e0010" providerId="AD" clId="Web-{6B1E5ED4-B0EE-9969-BA16-54CE7A1DE464}" dt="2020-03-17T20:37:32.122" v="59"/>
          <ac:spMkLst>
            <pc:docMk/>
            <pc:sldMk cId="608714497" sldId="899"/>
            <ac:spMk id="22" creationId="{76C17A24-CA23-4757-B386-5909461B8FF4}"/>
          </ac:spMkLst>
        </pc:spChg>
        <pc:spChg chg="del">
          <ac:chgData name="Kaltrina Rexhahmetaj" userId="S::kaltrina.rexhahmetaj@bvh.org::c314e318-93e0-4c36-9995-6aa0f00e0010" providerId="AD" clId="Web-{6B1E5ED4-B0EE-9969-BA16-54CE7A1DE464}" dt="2020-03-17T20:37:32.122" v="58"/>
          <ac:spMkLst>
            <pc:docMk/>
            <pc:sldMk cId="608714497" sldId="899"/>
            <ac:spMk id="23" creationId="{040C2034-E7C8-4EB7-8836-8AB10952CDF2}"/>
          </ac:spMkLst>
        </pc:spChg>
        <pc:spChg chg="add">
          <ac:chgData name="Kaltrina Rexhahmetaj" userId="S::kaltrina.rexhahmetaj@bvh.org::c314e318-93e0-4c36-9995-6aa0f00e0010" providerId="AD" clId="Web-{6B1E5ED4-B0EE-9969-BA16-54CE7A1DE464}" dt="2020-03-17T20:37:53.357" v="70"/>
          <ac:spMkLst>
            <pc:docMk/>
            <pc:sldMk cId="608714497" sldId="899"/>
            <ac:spMk id="25" creationId="{400F877B-02CA-4557-8977-88FF66F78CC7}"/>
          </ac:spMkLst>
        </pc:spChg>
        <pc:spChg chg="add">
          <ac:chgData name="Kaltrina Rexhahmetaj" userId="S::kaltrina.rexhahmetaj@bvh.org::c314e318-93e0-4c36-9995-6aa0f00e0010" providerId="AD" clId="Web-{6B1E5ED4-B0EE-9969-BA16-54CE7A1DE464}" dt="2020-03-17T20:37:53.357" v="70"/>
          <ac:spMkLst>
            <pc:docMk/>
            <pc:sldMk cId="608714497" sldId="899"/>
            <ac:spMk id="26" creationId="{97819645-ACE1-4F46-B1B2-688D1CB506E0}"/>
          </ac:spMkLst>
        </pc:spChg>
        <pc:spChg chg="add">
          <ac:chgData name="Kaltrina Rexhahmetaj" userId="S::kaltrina.rexhahmetaj@bvh.org::c314e318-93e0-4c36-9995-6aa0f00e0010" providerId="AD" clId="Web-{6B1E5ED4-B0EE-9969-BA16-54CE7A1DE464}" dt="2020-03-17T20:37:53.357" v="70"/>
          <ac:spMkLst>
            <pc:docMk/>
            <pc:sldMk cId="608714497" sldId="899"/>
            <ac:spMk id="27" creationId="{E83FC726-CF73-44BD-8F58-E33ADF848251}"/>
          </ac:spMkLst>
        </pc:spChg>
        <pc:spChg chg="add del mod">
          <ac:chgData name="Kaltrina Rexhahmetaj" userId="S::kaltrina.rexhahmetaj@bvh.org::c314e318-93e0-4c36-9995-6aa0f00e0010" providerId="AD" clId="Web-{6B1E5ED4-B0EE-9969-BA16-54CE7A1DE464}" dt="2020-03-17T20:42:04.591" v="97"/>
          <ac:spMkLst>
            <pc:docMk/>
            <pc:sldMk cId="608714497" sldId="899"/>
            <ac:spMk id="28" creationId="{A062E083-3213-4EAB-B359-1F1752014488}"/>
          </ac:spMkLst>
        </pc:spChg>
        <pc:spChg chg="add del">
          <ac:chgData name="Kaltrina Rexhahmetaj" userId="S::kaltrina.rexhahmetaj@bvh.org::c314e318-93e0-4c36-9995-6aa0f00e0010" providerId="AD" clId="Web-{6B1E5ED4-B0EE-9969-BA16-54CE7A1DE464}" dt="2020-03-17T20:41:09.372" v="86"/>
          <ac:spMkLst>
            <pc:docMk/>
            <pc:sldMk cId="608714497" sldId="899"/>
            <ac:spMk id="29" creationId="{005A1C5E-697F-4D8C-B3EC-69B29CBCADDA}"/>
          </ac:spMkLst>
        </pc:spChg>
        <pc:picChg chg="del">
          <ac:chgData name="Kaltrina Rexhahmetaj" userId="S::kaltrina.rexhahmetaj@bvh.org::c314e318-93e0-4c36-9995-6aa0f00e0010" providerId="AD" clId="Web-{6B1E5ED4-B0EE-9969-BA16-54CE7A1DE464}" dt="2020-03-17T20:37:32.138" v="67"/>
          <ac:picMkLst>
            <pc:docMk/>
            <pc:sldMk cId="608714497" sldId="899"/>
            <ac:picMk id="14" creationId="{0DEFDD2E-CE76-4AB5-A674-7DEB9E237B86}"/>
          </ac:picMkLst>
        </pc:picChg>
        <pc:picChg chg="del">
          <ac:chgData name="Kaltrina Rexhahmetaj" userId="S::kaltrina.rexhahmetaj@bvh.org::c314e318-93e0-4c36-9995-6aa0f00e0010" providerId="AD" clId="Web-{6B1E5ED4-B0EE-9969-BA16-54CE7A1DE464}" dt="2020-03-17T20:37:32.138" v="66"/>
          <ac:picMkLst>
            <pc:docMk/>
            <pc:sldMk cId="608714497" sldId="899"/>
            <ac:picMk id="15" creationId="{1D0FC664-F7B4-41ED-9AFD-4F8A0DA42D17}"/>
          </ac:picMkLst>
        </pc:picChg>
        <pc:picChg chg="del">
          <ac:chgData name="Kaltrina Rexhahmetaj" userId="S::kaltrina.rexhahmetaj@bvh.org::c314e318-93e0-4c36-9995-6aa0f00e0010" providerId="AD" clId="Web-{6B1E5ED4-B0EE-9969-BA16-54CE7A1DE464}" dt="2020-03-17T20:37:32.138" v="65"/>
          <ac:picMkLst>
            <pc:docMk/>
            <pc:sldMk cId="608714497" sldId="899"/>
            <ac:picMk id="16" creationId="{481EC055-D3EA-4BFE-A399-87532D851BA7}"/>
          </ac:picMkLst>
        </pc:picChg>
        <pc:picChg chg="del">
          <ac:chgData name="Kaltrina Rexhahmetaj" userId="S::kaltrina.rexhahmetaj@bvh.org::c314e318-93e0-4c36-9995-6aa0f00e0010" providerId="AD" clId="Web-{6B1E5ED4-B0EE-9969-BA16-54CE7A1DE464}" dt="2020-03-17T20:37:32.138" v="64"/>
          <ac:picMkLst>
            <pc:docMk/>
            <pc:sldMk cId="608714497" sldId="899"/>
            <ac:picMk id="17" creationId="{035C27D0-CBE8-4826-B025-151279F00CBC}"/>
          </ac:picMkLst>
        </pc:picChg>
        <pc:picChg chg="add">
          <ac:chgData name="Kaltrina Rexhahmetaj" userId="S::kaltrina.rexhahmetaj@bvh.org::c314e318-93e0-4c36-9995-6aa0f00e0010" providerId="AD" clId="Web-{6B1E5ED4-B0EE-9969-BA16-54CE7A1DE464}" dt="2020-03-17T20:37:53.357" v="70"/>
          <ac:picMkLst>
            <pc:docMk/>
            <pc:sldMk cId="608714497" sldId="899"/>
            <ac:picMk id="24" creationId="{2CC750DA-EAEA-40F7-858D-26E4331A0456}"/>
          </ac:picMkLst>
        </pc:picChg>
      </pc:sldChg>
      <pc:sldChg chg="addSp delSp add del replId">
        <pc:chgData name="Kaltrina Rexhahmetaj" userId="S::kaltrina.rexhahmetaj@bvh.org::c314e318-93e0-4c36-9995-6aa0f00e0010" providerId="AD" clId="Web-{6B1E5ED4-B0EE-9969-BA16-54CE7A1DE464}" dt="2020-03-17T20:37:04.419" v="54"/>
        <pc:sldMkLst>
          <pc:docMk/>
          <pc:sldMk cId="1178735824" sldId="899"/>
        </pc:sldMkLst>
        <pc:spChg chg="add del">
          <ac:chgData name="Kaltrina Rexhahmetaj" userId="S::kaltrina.rexhahmetaj@bvh.org::c314e318-93e0-4c36-9995-6aa0f00e0010" providerId="AD" clId="Web-{6B1E5ED4-B0EE-9969-BA16-54CE7A1DE464}" dt="2020-03-17T20:36:56.498" v="53"/>
          <ac:spMkLst>
            <pc:docMk/>
            <pc:sldMk cId="1178735824" sldId="899"/>
            <ac:spMk id="29" creationId="{F7135A56-1143-4111-A938-9D6DCD966373}"/>
          </ac:spMkLst>
        </pc:spChg>
        <pc:spChg chg="add del">
          <ac:chgData name="Kaltrina Rexhahmetaj" userId="S::kaltrina.rexhahmetaj@bvh.org::c314e318-93e0-4c36-9995-6aa0f00e0010" providerId="AD" clId="Web-{6B1E5ED4-B0EE-9969-BA16-54CE7A1DE464}" dt="2020-03-17T20:36:56.498" v="53"/>
          <ac:spMkLst>
            <pc:docMk/>
            <pc:sldMk cId="1178735824" sldId="899"/>
            <ac:spMk id="30" creationId="{BAB98D79-142B-4F20-A4C7-B78DFAB9E9E6}"/>
          </ac:spMkLst>
        </pc:spChg>
        <pc:spChg chg="add del">
          <ac:chgData name="Kaltrina Rexhahmetaj" userId="S::kaltrina.rexhahmetaj@bvh.org::c314e318-93e0-4c36-9995-6aa0f00e0010" providerId="AD" clId="Web-{6B1E5ED4-B0EE-9969-BA16-54CE7A1DE464}" dt="2020-03-17T20:36:56.498" v="53"/>
          <ac:spMkLst>
            <pc:docMk/>
            <pc:sldMk cId="1178735824" sldId="899"/>
            <ac:spMk id="31" creationId="{7F31E3CE-8102-4625-98CE-30DF39ABBA61}"/>
          </ac:spMkLst>
        </pc:spChg>
        <pc:spChg chg="add del">
          <ac:chgData name="Kaltrina Rexhahmetaj" userId="S::kaltrina.rexhahmetaj@bvh.org::c314e318-93e0-4c36-9995-6aa0f00e0010" providerId="AD" clId="Web-{6B1E5ED4-B0EE-9969-BA16-54CE7A1DE464}" dt="2020-03-17T20:36:56.498" v="53"/>
          <ac:spMkLst>
            <pc:docMk/>
            <pc:sldMk cId="1178735824" sldId="899"/>
            <ac:spMk id="32" creationId="{14B801A9-99B2-41BE-8EB8-EF0C4089EB0F}"/>
          </ac:spMkLst>
        </pc:spChg>
        <pc:spChg chg="add del">
          <ac:chgData name="Kaltrina Rexhahmetaj" userId="S::kaltrina.rexhahmetaj@bvh.org::c314e318-93e0-4c36-9995-6aa0f00e0010" providerId="AD" clId="Web-{6B1E5ED4-B0EE-9969-BA16-54CE7A1DE464}" dt="2020-03-17T20:36:56.498" v="53"/>
          <ac:spMkLst>
            <pc:docMk/>
            <pc:sldMk cId="1178735824" sldId="899"/>
            <ac:spMk id="33" creationId="{877CBAED-60B8-44E2-A347-B35E50327008}"/>
          </ac:spMkLst>
        </pc:spChg>
        <pc:spChg chg="add del">
          <ac:chgData name="Kaltrina Rexhahmetaj" userId="S::kaltrina.rexhahmetaj@bvh.org::c314e318-93e0-4c36-9995-6aa0f00e0010" providerId="AD" clId="Web-{6B1E5ED4-B0EE-9969-BA16-54CE7A1DE464}" dt="2020-03-17T20:36:56.498" v="53"/>
          <ac:spMkLst>
            <pc:docMk/>
            <pc:sldMk cId="1178735824" sldId="899"/>
            <ac:spMk id="34" creationId="{C6EA685A-13DD-4E81-B79A-BAACE4E79123}"/>
          </ac:spMkLst>
        </pc:spChg>
        <pc:spChg chg="add del">
          <ac:chgData name="Kaltrina Rexhahmetaj" userId="S::kaltrina.rexhahmetaj@bvh.org::c314e318-93e0-4c36-9995-6aa0f00e0010" providerId="AD" clId="Web-{6B1E5ED4-B0EE-9969-BA16-54CE7A1DE464}" dt="2020-03-17T20:36:56.498" v="53"/>
          <ac:spMkLst>
            <pc:docMk/>
            <pc:sldMk cId="1178735824" sldId="899"/>
            <ac:spMk id="35" creationId="{A595BC62-8A57-4AF1-BF1A-FFD4384E01D8}"/>
          </ac:spMkLst>
        </pc:spChg>
        <pc:spChg chg="add del">
          <ac:chgData name="Kaltrina Rexhahmetaj" userId="S::kaltrina.rexhahmetaj@bvh.org::c314e318-93e0-4c36-9995-6aa0f00e0010" providerId="AD" clId="Web-{6B1E5ED4-B0EE-9969-BA16-54CE7A1DE464}" dt="2020-03-17T20:36:56.498" v="53"/>
          <ac:spMkLst>
            <pc:docMk/>
            <pc:sldMk cId="1178735824" sldId="899"/>
            <ac:spMk id="36" creationId="{AA1104A3-535D-4CB4-B7AF-9E5154B305F4}"/>
          </ac:spMkLst>
        </pc:spChg>
        <pc:picChg chg="add del">
          <ac:chgData name="Kaltrina Rexhahmetaj" userId="S::kaltrina.rexhahmetaj@bvh.org::c314e318-93e0-4c36-9995-6aa0f00e0010" providerId="AD" clId="Web-{6B1E5ED4-B0EE-9969-BA16-54CE7A1DE464}" dt="2020-03-17T20:36:56.498" v="53"/>
          <ac:picMkLst>
            <pc:docMk/>
            <pc:sldMk cId="1178735824" sldId="899"/>
            <ac:picMk id="25" creationId="{CE122307-A622-4971-8042-6DF3F31B9CE2}"/>
          </ac:picMkLst>
        </pc:picChg>
        <pc:picChg chg="add del">
          <ac:chgData name="Kaltrina Rexhahmetaj" userId="S::kaltrina.rexhahmetaj@bvh.org::c314e318-93e0-4c36-9995-6aa0f00e0010" providerId="AD" clId="Web-{6B1E5ED4-B0EE-9969-BA16-54CE7A1DE464}" dt="2020-03-17T20:36:56.498" v="53"/>
          <ac:picMkLst>
            <pc:docMk/>
            <pc:sldMk cId="1178735824" sldId="899"/>
            <ac:picMk id="26" creationId="{E28B114B-058A-4FCD-9C6D-582E053B5AAB}"/>
          </ac:picMkLst>
        </pc:picChg>
        <pc:picChg chg="add del">
          <ac:chgData name="Kaltrina Rexhahmetaj" userId="S::kaltrina.rexhahmetaj@bvh.org::c314e318-93e0-4c36-9995-6aa0f00e0010" providerId="AD" clId="Web-{6B1E5ED4-B0EE-9969-BA16-54CE7A1DE464}" dt="2020-03-17T20:36:56.498" v="53"/>
          <ac:picMkLst>
            <pc:docMk/>
            <pc:sldMk cId="1178735824" sldId="899"/>
            <ac:picMk id="27" creationId="{630071F6-F1F2-4BD3-BE39-B390D16946D4}"/>
          </ac:picMkLst>
        </pc:picChg>
        <pc:picChg chg="add del">
          <ac:chgData name="Kaltrina Rexhahmetaj" userId="S::kaltrina.rexhahmetaj@bvh.org::c314e318-93e0-4c36-9995-6aa0f00e0010" providerId="AD" clId="Web-{6B1E5ED4-B0EE-9969-BA16-54CE7A1DE464}" dt="2020-03-17T20:36:56.498" v="53"/>
          <ac:picMkLst>
            <pc:docMk/>
            <pc:sldMk cId="1178735824" sldId="899"/>
            <ac:picMk id="28" creationId="{3BD1F349-AE83-4448-840B-8830F5A4EC79}"/>
          </ac:picMkLst>
        </pc:picChg>
      </pc:sldChg>
      <pc:sldChg chg="addSp delSp modSp add replId modNotes">
        <pc:chgData name="Kaltrina Rexhahmetaj" userId="S::kaltrina.rexhahmetaj@bvh.org::c314e318-93e0-4c36-9995-6aa0f00e0010" providerId="AD" clId="Web-{6B1E5ED4-B0EE-9969-BA16-54CE7A1DE464}" dt="2020-03-17T20:43:50.044" v="132"/>
        <pc:sldMkLst>
          <pc:docMk/>
          <pc:sldMk cId="1647329173" sldId="900"/>
        </pc:sldMkLst>
        <pc:spChg chg="del">
          <ac:chgData name="Kaltrina Rexhahmetaj" userId="S::kaltrina.rexhahmetaj@bvh.org::c314e318-93e0-4c36-9995-6aa0f00e0010" providerId="AD" clId="Web-{6B1E5ED4-B0EE-9969-BA16-54CE7A1DE464}" dt="2020-03-17T20:41:58.028" v="95"/>
          <ac:spMkLst>
            <pc:docMk/>
            <pc:sldMk cId="1647329173" sldId="900"/>
            <ac:spMk id="4" creationId="{EA4DBBCF-C1EA-4984-A175-30920F904278}"/>
          </ac:spMkLst>
        </pc:spChg>
        <pc:spChg chg="add del mod">
          <ac:chgData name="Kaltrina Rexhahmetaj" userId="S::kaltrina.rexhahmetaj@bvh.org::c314e318-93e0-4c36-9995-6aa0f00e0010" providerId="AD" clId="Web-{6B1E5ED4-B0EE-9969-BA16-54CE7A1DE464}" dt="2020-03-17T20:42:35.575" v="106"/>
          <ac:spMkLst>
            <pc:docMk/>
            <pc:sldMk cId="1647329173" sldId="900"/>
            <ac:spMk id="5" creationId="{D673264E-61DE-44F4-AD51-C699ED651C37}"/>
          </ac:spMkLst>
        </pc:spChg>
        <pc:spChg chg="add del mod">
          <ac:chgData name="Kaltrina Rexhahmetaj" userId="S::kaltrina.rexhahmetaj@bvh.org::c314e318-93e0-4c36-9995-6aa0f00e0010" providerId="AD" clId="Web-{6B1E5ED4-B0EE-9969-BA16-54CE7A1DE464}" dt="2020-03-17T20:42:47.294" v="113"/>
          <ac:spMkLst>
            <pc:docMk/>
            <pc:sldMk cId="1647329173" sldId="900"/>
            <ac:spMk id="7" creationId="{32F87939-8E8E-4368-B748-E48D70EE1A2F}"/>
          </ac:spMkLst>
        </pc:spChg>
        <pc:spChg chg="add mod">
          <ac:chgData name="Kaltrina Rexhahmetaj" userId="S::kaltrina.rexhahmetaj@bvh.org::c314e318-93e0-4c36-9995-6aa0f00e0010" providerId="AD" clId="Web-{6B1E5ED4-B0EE-9969-BA16-54CE7A1DE464}" dt="2020-03-17T20:43:23.544" v="128" actId="20577"/>
          <ac:spMkLst>
            <pc:docMk/>
            <pc:sldMk cId="1647329173" sldId="900"/>
            <ac:spMk id="9" creationId="{16977A6C-9C92-408A-B2CC-389A348C4C3D}"/>
          </ac:spMkLst>
        </pc:spChg>
        <pc:spChg chg="add">
          <ac:chgData name="Kaltrina Rexhahmetaj" userId="S::kaltrina.rexhahmetaj@bvh.org::c314e318-93e0-4c36-9995-6aa0f00e0010" providerId="AD" clId="Web-{6B1E5ED4-B0EE-9969-BA16-54CE7A1DE464}" dt="2020-03-17T20:42:18.997" v="98"/>
          <ac:spMkLst>
            <pc:docMk/>
            <pc:sldMk cId="1647329173" sldId="900"/>
            <ac:spMk id="12" creationId="{1C4EB0BA-1C8D-43AA-9822-746FB77BB6DF}"/>
          </ac:spMkLst>
        </pc:spChg>
        <pc:spChg chg="add">
          <ac:chgData name="Kaltrina Rexhahmetaj" userId="S::kaltrina.rexhahmetaj@bvh.org::c314e318-93e0-4c36-9995-6aa0f00e0010" providerId="AD" clId="Web-{6B1E5ED4-B0EE-9969-BA16-54CE7A1DE464}" dt="2020-03-17T20:42:18.997" v="98"/>
          <ac:spMkLst>
            <pc:docMk/>
            <pc:sldMk cId="1647329173" sldId="900"/>
            <ac:spMk id="13" creationId="{BBF7A77C-EEA7-4DDB-AEE3-5336C6958B27}"/>
          </ac:spMkLst>
        </pc:spChg>
        <pc:spChg chg="add">
          <ac:chgData name="Kaltrina Rexhahmetaj" userId="S::kaltrina.rexhahmetaj@bvh.org::c314e318-93e0-4c36-9995-6aa0f00e0010" providerId="AD" clId="Web-{6B1E5ED4-B0EE-9969-BA16-54CE7A1DE464}" dt="2020-03-17T20:42:18.997" v="98"/>
          <ac:spMkLst>
            <pc:docMk/>
            <pc:sldMk cId="1647329173" sldId="900"/>
            <ac:spMk id="14" creationId="{953D7442-FA5B-4526-A19C-C30CD865AB2B}"/>
          </ac:spMkLst>
        </pc:spChg>
        <pc:spChg chg="add">
          <ac:chgData name="Kaltrina Rexhahmetaj" userId="S::kaltrina.rexhahmetaj@bvh.org::c314e318-93e0-4c36-9995-6aa0f00e0010" providerId="AD" clId="Web-{6B1E5ED4-B0EE-9969-BA16-54CE7A1DE464}" dt="2020-03-17T20:42:18.997" v="98"/>
          <ac:spMkLst>
            <pc:docMk/>
            <pc:sldMk cId="1647329173" sldId="900"/>
            <ac:spMk id="15" creationId="{FA28F6EF-C357-40B0-A8E6-FFE0E91F5BBB}"/>
          </ac:spMkLst>
        </pc:spChg>
        <pc:spChg chg="add">
          <ac:chgData name="Kaltrina Rexhahmetaj" userId="S::kaltrina.rexhahmetaj@bvh.org::c314e318-93e0-4c36-9995-6aa0f00e0010" providerId="AD" clId="Web-{6B1E5ED4-B0EE-9969-BA16-54CE7A1DE464}" dt="2020-03-17T20:42:18.997" v="98"/>
          <ac:spMkLst>
            <pc:docMk/>
            <pc:sldMk cId="1647329173" sldId="900"/>
            <ac:spMk id="16" creationId="{9EDA4DF3-803D-49A4-AD38-DCA3EDEBCD72}"/>
          </ac:spMkLst>
        </pc:spChg>
        <pc:spChg chg="add del mod">
          <ac:chgData name="Kaltrina Rexhahmetaj" userId="S::kaltrina.rexhahmetaj@bvh.org::c314e318-93e0-4c36-9995-6aa0f00e0010" providerId="AD" clId="Web-{6B1E5ED4-B0EE-9969-BA16-54CE7A1DE464}" dt="2020-03-17T20:43:28.762" v="130"/>
          <ac:spMkLst>
            <pc:docMk/>
            <pc:sldMk cId="1647329173" sldId="900"/>
            <ac:spMk id="17" creationId="{4C8D9BB5-BB3B-45A1-8B63-77ED863F0842}"/>
          </ac:spMkLst>
        </pc:spChg>
        <pc:spChg chg="add del mod">
          <ac:chgData name="Kaltrina Rexhahmetaj" userId="S::kaltrina.rexhahmetaj@bvh.org::c314e318-93e0-4c36-9995-6aa0f00e0010" providerId="AD" clId="Web-{6B1E5ED4-B0EE-9969-BA16-54CE7A1DE464}" dt="2020-03-17T20:43:02.387" v="116"/>
          <ac:spMkLst>
            <pc:docMk/>
            <pc:sldMk cId="1647329173" sldId="900"/>
            <ac:spMk id="18" creationId="{5B040979-4527-4185-B801-6C1F149EF95B}"/>
          </ac:spMkLst>
        </pc:spChg>
        <pc:spChg chg="add">
          <ac:chgData name="Kaltrina Rexhahmetaj" userId="S::kaltrina.rexhahmetaj@bvh.org::c314e318-93e0-4c36-9995-6aa0f00e0010" providerId="AD" clId="Web-{6B1E5ED4-B0EE-9969-BA16-54CE7A1DE464}" dt="2020-03-17T20:42:18.997" v="98"/>
          <ac:spMkLst>
            <pc:docMk/>
            <pc:sldMk cId="1647329173" sldId="900"/>
            <ac:spMk id="19" creationId="{93C0BAD1-6906-4E9A-9AA7-D828EA7BC9D6}"/>
          </ac:spMkLst>
        </pc:spChg>
        <pc:spChg chg="add">
          <ac:chgData name="Kaltrina Rexhahmetaj" userId="S::kaltrina.rexhahmetaj@bvh.org::c314e318-93e0-4c36-9995-6aa0f00e0010" providerId="AD" clId="Web-{6B1E5ED4-B0EE-9969-BA16-54CE7A1DE464}" dt="2020-03-17T20:42:18.997" v="98"/>
          <ac:spMkLst>
            <pc:docMk/>
            <pc:sldMk cId="1647329173" sldId="900"/>
            <ac:spMk id="20" creationId="{E4001C61-2C6E-45A5-BC5A-9CDE3957BB58}"/>
          </ac:spMkLst>
        </pc:spChg>
        <pc:spChg chg="add">
          <ac:chgData name="Kaltrina Rexhahmetaj" userId="S::kaltrina.rexhahmetaj@bvh.org::c314e318-93e0-4c36-9995-6aa0f00e0010" providerId="AD" clId="Web-{6B1E5ED4-B0EE-9969-BA16-54CE7A1DE464}" dt="2020-03-17T20:42:18.997" v="98"/>
          <ac:spMkLst>
            <pc:docMk/>
            <pc:sldMk cId="1647329173" sldId="900"/>
            <ac:spMk id="21" creationId="{A25F2A93-D657-47EF-81C1-E393AA747D5F}"/>
          </ac:spMkLst>
        </pc:spChg>
        <pc:spChg chg="del">
          <ac:chgData name="Kaltrina Rexhahmetaj" userId="S::kaltrina.rexhahmetaj@bvh.org::c314e318-93e0-4c36-9995-6aa0f00e0010" providerId="AD" clId="Web-{6B1E5ED4-B0EE-9969-BA16-54CE7A1DE464}" dt="2020-03-17T20:41:57.873" v="93"/>
          <ac:spMkLst>
            <pc:docMk/>
            <pc:sldMk cId="1647329173" sldId="900"/>
            <ac:spMk id="25" creationId="{400F877B-02CA-4557-8977-88FF66F78CC7}"/>
          </ac:spMkLst>
        </pc:spChg>
        <pc:spChg chg="del">
          <ac:chgData name="Kaltrina Rexhahmetaj" userId="S::kaltrina.rexhahmetaj@bvh.org::c314e318-93e0-4c36-9995-6aa0f00e0010" providerId="AD" clId="Web-{6B1E5ED4-B0EE-9969-BA16-54CE7A1DE464}" dt="2020-03-17T20:41:57.873" v="92"/>
          <ac:spMkLst>
            <pc:docMk/>
            <pc:sldMk cId="1647329173" sldId="900"/>
            <ac:spMk id="26" creationId="{97819645-ACE1-4F46-B1B2-688D1CB506E0}"/>
          </ac:spMkLst>
        </pc:spChg>
        <pc:spChg chg="del">
          <ac:chgData name="Kaltrina Rexhahmetaj" userId="S::kaltrina.rexhahmetaj@bvh.org::c314e318-93e0-4c36-9995-6aa0f00e0010" providerId="AD" clId="Web-{6B1E5ED4-B0EE-9969-BA16-54CE7A1DE464}" dt="2020-03-17T20:41:57.873" v="91"/>
          <ac:spMkLst>
            <pc:docMk/>
            <pc:sldMk cId="1647329173" sldId="900"/>
            <ac:spMk id="27" creationId="{E83FC726-CF73-44BD-8F58-E33ADF848251}"/>
          </ac:spMkLst>
        </pc:spChg>
        <pc:spChg chg="del">
          <ac:chgData name="Kaltrina Rexhahmetaj" userId="S::kaltrina.rexhahmetaj@bvh.org::c314e318-93e0-4c36-9995-6aa0f00e0010" providerId="AD" clId="Web-{6B1E5ED4-B0EE-9969-BA16-54CE7A1DE464}" dt="2020-03-17T20:41:57.873" v="90"/>
          <ac:spMkLst>
            <pc:docMk/>
            <pc:sldMk cId="1647329173" sldId="900"/>
            <ac:spMk id="28" creationId="{A062E083-3213-4EAB-B359-1F1752014488}"/>
          </ac:spMkLst>
        </pc:spChg>
        <pc:grpChg chg="add">
          <ac:chgData name="Kaltrina Rexhahmetaj" userId="S::kaltrina.rexhahmetaj@bvh.org::c314e318-93e0-4c36-9995-6aa0f00e0010" providerId="AD" clId="Web-{6B1E5ED4-B0EE-9969-BA16-54CE7A1DE464}" dt="2020-03-17T20:42:18.997" v="98"/>
          <ac:grpSpMkLst>
            <pc:docMk/>
            <pc:sldMk cId="1647329173" sldId="900"/>
            <ac:grpSpMk id="11" creationId="{37D36C82-D11F-4013-9739-AB911040A352}"/>
          </ac:grpSpMkLst>
        </pc:grpChg>
        <pc:picChg chg="del">
          <ac:chgData name="Kaltrina Rexhahmetaj" userId="S::kaltrina.rexhahmetaj@bvh.org::c314e318-93e0-4c36-9995-6aa0f00e0010" providerId="AD" clId="Web-{6B1E5ED4-B0EE-9969-BA16-54CE7A1DE464}" dt="2020-03-17T20:41:57.873" v="94"/>
          <ac:picMkLst>
            <pc:docMk/>
            <pc:sldMk cId="1647329173" sldId="900"/>
            <ac:picMk id="24" creationId="{2CC750DA-EAEA-40F7-858D-26E4331A0456}"/>
          </ac:picMkLst>
        </pc:picChg>
      </pc:sldChg>
      <pc:sldChg chg="addSp delSp modSp add replId modNotes">
        <pc:chgData name="Kaltrina Rexhahmetaj" userId="S::kaltrina.rexhahmetaj@bvh.org::c314e318-93e0-4c36-9995-6aa0f00e0010" providerId="AD" clId="Web-{6B1E5ED4-B0EE-9969-BA16-54CE7A1DE464}" dt="2020-03-17T20:47:51.168" v="155"/>
        <pc:sldMkLst>
          <pc:docMk/>
          <pc:sldMk cId="1653980222" sldId="901"/>
        </pc:sldMkLst>
        <pc:spChg chg="add mod">
          <ac:chgData name="Kaltrina Rexhahmetaj" userId="S::kaltrina.rexhahmetaj@bvh.org::c314e318-93e0-4c36-9995-6aa0f00e0010" providerId="AD" clId="Web-{6B1E5ED4-B0EE-9969-BA16-54CE7A1DE464}" dt="2020-03-17T20:44:46.246" v="151" actId="20577"/>
          <ac:spMkLst>
            <pc:docMk/>
            <pc:sldMk cId="1653980222" sldId="901"/>
            <ac:spMk id="4" creationId="{ABC7393D-071C-4EB6-9036-216D28DB7AA9}"/>
          </ac:spMkLst>
        </pc:spChg>
        <pc:spChg chg="del">
          <ac:chgData name="Kaltrina Rexhahmetaj" userId="S::kaltrina.rexhahmetaj@bvh.org::c314e318-93e0-4c36-9995-6aa0f00e0010" providerId="AD" clId="Web-{6B1E5ED4-B0EE-9969-BA16-54CE7A1DE464}" dt="2020-03-17T20:43:56.262" v="134"/>
          <ac:spMkLst>
            <pc:docMk/>
            <pc:sldMk cId="1653980222" sldId="901"/>
            <ac:spMk id="9" creationId="{16977A6C-9C92-408A-B2CC-389A348C4C3D}"/>
          </ac:spMkLst>
        </pc:spChg>
        <pc:spChg chg="del">
          <ac:chgData name="Kaltrina Rexhahmetaj" userId="S::kaltrina.rexhahmetaj@bvh.org::c314e318-93e0-4c36-9995-6aa0f00e0010" providerId="AD" clId="Web-{6B1E5ED4-B0EE-9969-BA16-54CE7A1DE464}" dt="2020-03-17T20:43:56.262" v="139"/>
          <ac:spMkLst>
            <pc:docMk/>
            <pc:sldMk cId="1653980222" sldId="901"/>
            <ac:spMk id="12" creationId="{1C4EB0BA-1C8D-43AA-9822-746FB77BB6DF}"/>
          </ac:spMkLst>
        </pc:spChg>
        <pc:spChg chg="del">
          <ac:chgData name="Kaltrina Rexhahmetaj" userId="S::kaltrina.rexhahmetaj@bvh.org::c314e318-93e0-4c36-9995-6aa0f00e0010" providerId="AD" clId="Web-{6B1E5ED4-B0EE-9969-BA16-54CE7A1DE464}" dt="2020-03-17T20:43:56.262" v="138"/>
          <ac:spMkLst>
            <pc:docMk/>
            <pc:sldMk cId="1653980222" sldId="901"/>
            <ac:spMk id="13" creationId="{BBF7A77C-EEA7-4DDB-AEE3-5336C6958B27}"/>
          </ac:spMkLst>
        </pc:spChg>
        <pc:spChg chg="del">
          <ac:chgData name="Kaltrina Rexhahmetaj" userId="S::kaltrina.rexhahmetaj@bvh.org::c314e318-93e0-4c36-9995-6aa0f00e0010" providerId="AD" clId="Web-{6B1E5ED4-B0EE-9969-BA16-54CE7A1DE464}" dt="2020-03-17T20:43:56.262" v="137"/>
          <ac:spMkLst>
            <pc:docMk/>
            <pc:sldMk cId="1653980222" sldId="901"/>
            <ac:spMk id="14" creationId="{953D7442-FA5B-4526-A19C-C30CD865AB2B}"/>
          </ac:spMkLst>
        </pc:spChg>
        <pc:spChg chg="del">
          <ac:chgData name="Kaltrina Rexhahmetaj" userId="S::kaltrina.rexhahmetaj@bvh.org::c314e318-93e0-4c36-9995-6aa0f00e0010" providerId="AD" clId="Web-{6B1E5ED4-B0EE-9969-BA16-54CE7A1DE464}" dt="2020-03-17T20:43:56.262" v="136"/>
          <ac:spMkLst>
            <pc:docMk/>
            <pc:sldMk cId="1653980222" sldId="901"/>
            <ac:spMk id="15" creationId="{FA28F6EF-C357-40B0-A8E6-FFE0E91F5BBB}"/>
          </ac:spMkLst>
        </pc:spChg>
        <pc:spChg chg="del">
          <ac:chgData name="Kaltrina Rexhahmetaj" userId="S::kaltrina.rexhahmetaj@bvh.org::c314e318-93e0-4c36-9995-6aa0f00e0010" providerId="AD" clId="Web-{6B1E5ED4-B0EE-9969-BA16-54CE7A1DE464}" dt="2020-03-17T20:43:56.262" v="135"/>
          <ac:spMkLst>
            <pc:docMk/>
            <pc:sldMk cId="1653980222" sldId="901"/>
            <ac:spMk id="16" creationId="{9EDA4DF3-803D-49A4-AD38-DCA3EDEBCD72}"/>
          </ac:spMkLst>
        </pc:spChg>
        <pc:spChg chg="add">
          <ac:chgData name="Kaltrina Rexhahmetaj" userId="S::kaltrina.rexhahmetaj@bvh.org::c314e318-93e0-4c36-9995-6aa0f00e0010" providerId="AD" clId="Web-{6B1E5ED4-B0EE-9969-BA16-54CE7A1DE464}" dt="2020-03-17T20:44:26.325" v="142"/>
          <ac:spMkLst>
            <pc:docMk/>
            <pc:sldMk cId="1653980222" sldId="901"/>
            <ac:spMk id="17" creationId="{BB0E420C-5B9D-4B1D-8360-9A7E11949CF3}"/>
          </ac:spMkLst>
        </pc:spChg>
        <pc:spChg chg="add">
          <ac:chgData name="Kaltrina Rexhahmetaj" userId="S::kaltrina.rexhahmetaj@bvh.org::c314e318-93e0-4c36-9995-6aa0f00e0010" providerId="AD" clId="Web-{6B1E5ED4-B0EE-9969-BA16-54CE7A1DE464}" dt="2020-03-17T20:44:26.325" v="142"/>
          <ac:spMkLst>
            <pc:docMk/>
            <pc:sldMk cId="1653980222" sldId="901"/>
            <ac:spMk id="22" creationId="{14E72B40-F8C6-4245-8E36-1C89DCE2FCA2}"/>
          </ac:spMkLst>
        </pc:spChg>
        <pc:spChg chg="add del mod">
          <ac:chgData name="Kaltrina Rexhahmetaj" userId="S::kaltrina.rexhahmetaj@bvh.org::c314e318-93e0-4c36-9995-6aa0f00e0010" providerId="AD" clId="Web-{6B1E5ED4-B0EE-9969-BA16-54CE7A1DE464}" dt="2020-03-17T20:44:52.653" v="153"/>
          <ac:spMkLst>
            <pc:docMk/>
            <pc:sldMk cId="1653980222" sldId="901"/>
            <ac:spMk id="23" creationId="{FB09D146-BEB1-496F-AD29-BBECB0DAA7FC}"/>
          </ac:spMkLst>
        </pc:spChg>
        <pc:spChg chg="add del">
          <ac:chgData name="Kaltrina Rexhahmetaj" userId="S::kaltrina.rexhahmetaj@bvh.org::c314e318-93e0-4c36-9995-6aa0f00e0010" providerId="AD" clId="Web-{6B1E5ED4-B0EE-9969-BA16-54CE7A1DE464}" dt="2020-03-17T20:44:40.403" v="150"/>
          <ac:spMkLst>
            <pc:docMk/>
            <pc:sldMk cId="1653980222" sldId="901"/>
            <ac:spMk id="24" creationId="{844887DE-3473-49F1-B1B9-C2E55D66E1D3}"/>
          </ac:spMkLst>
        </pc:spChg>
        <pc:grpChg chg="del">
          <ac:chgData name="Kaltrina Rexhahmetaj" userId="S::kaltrina.rexhahmetaj@bvh.org::c314e318-93e0-4c36-9995-6aa0f00e0010" providerId="AD" clId="Web-{6B1E5ED4-B0EE-9969-BA16-54CE7A1DE464}" dt="2020-03-17T20:43:56.262" v="140"/>
          <ac:grpSpMkLst>
            <pc:docMk/>
            <pc:sldMk cId="1653980222" sldId="901"/>
            <ac:grpSpMk id="11" creationId="{37D36C82-D11F-4013-9739-AB911040A352}"/>
          </ac:grpSpMkLst>
        </pc:grpChg>
        <pc:picChg chg="add">
          <ac:chgData name="Kaltrina Rexhahmetaj" userId="S::kaltrina.rexhahmetaj@bvh.org::c314e318-93e0-4c36-9995-6aa0f00e0010" providerId="AD" clId="Web-{6B1E5ED4-B0EE-9969-BA16-54CE7A1DE464}" dt="2020-03-17T20:44:26.325" v="142"/>
          <ac:picMkLst>
            <pc:docMk/>
            <pc:sldMk cId="1653980222" sldId="901"/>
            <ac:picMk id="18" creationId="{D78B32E3-B3FF-4EBC-826D-CEF80D8D8E0A}"/>
          </ac:picMkLst>
        </pc:picChg>
      </pc:sldChg>
      <pc:sldChg chg="addSp delSp modSp add ord replId modNotes">
        <pc:chgData name="Kaltrina Rexhahmetaj" userId="S::kaltrina.rexhahmetaj@bvh.org::c314e318-93e0-4c36-9995-6aa0f00e0010" providerId="AD" clId="Web-{6B1E5ED4-B0EE-9969-BA16-54CE7A1DE464}" dt="2020-03-17T20:55:28.323" v="209"/>
        <pc:sldMkLst>
          <pc:docMk/>
          <pc:sldMk cId="1313817088" sldId="902"/>
        </pc:sldMkLst>
        <pc:spChg chg="del">
          <ac:chgData name="Kaltrina Rexhahmetaj" userId="S::kaltrina.rexhahmetaj@bvh.org::c314e318-93e0-4c36-9995-6aa0f00e0010" providerId="AD" clId="Web-{6B1E5ED4-B0EE-9969-BA16-54CE7A1DE464}" dt="2020-03-17T20:52:12.542" v="168"/>
          <ac:spMkLst>
            <pc:docMk/>
            <pc:sldMk cId="1313817088" sldId="902"/>
            <ac:spMk id="4" creationId="{ABC7393D-071C-4EB6-9036-216D28DB7AA9}"/>
          </ac:spMkLst>
        </pc:spChg>
        <pc:spChg chg="add mod">
          <ac:chgData name="Kaltrina Rexhahmetaj" userId="S::kaltrina.rexhahmetaj@bvh.org::c314e318-93e0-4c36-9995-6aa0f00e0010" providerId="AD" clId="Web-{6B1E5ED4-B0EE-9969-BA16-54CE7A1DE464}" dt="2020-03-17T20:55:00.011" v="194" actId="20577"/>
          <ac:spMkLst>
            <pc:docMk/>
            <pc:sldMk cId="1313817088" sldId="902"/>
            <ac:spMk id="5" creationId="{8A67B725-1CB7-4E64-82D6-19F551206C31}"/>
          </ac:spMkLst>
        </pc:spChg>
        <pc:spChg chg="add">
          <ac:chgData name="Kaltrina Rexhahmetaj" userId="S::kaltrina.rexhahmetaj@bvh.org::c314e318-93e0-4c36-9995-6aa0f00e0010" providerId="AD" clId="Web-{6B1E5ED4-B0EE-9969-BA16-54CE7A1DE464}" dt="2020-03-17T20:54:20.589" v="174"/>
          <ac:spMkLst>
            <pc:docMk/>
            <pc:sldMk cId="1313817088" sldId="902"/>
            <ac:spMk id="6" creationId="{72EB7098-6A9E-4D70-A6B1-0378EDB1B5AF}"/>
          </ac:spMkLst>
        </pc:spChg>
        <pc:spChg chg="add">
          <ac:chgData name="Kaltrina Rexhahmetaj" userId="S::kaltrina.rexhahmetaj@bvh.org::c314e318-93e0-4c36-9995-6aa0f00e0010" providerId="AD" clId="Web-{6B1E5ED4-B0EE-9969-BA16-54CE7A1DE464}" dt="2020-03-17T20:54:20.589" v="175"/>
          <ac:spMkLst>
            <pc:docMk/>
            <pc:sldMk cId="1313817088" sldId="902"/>
            <ac:spMk id="7" creationId="{1EBEB8E3-3B8D-41EF-B3B4-825343B3A8A0}"/>
          </ac:spMkLst>
        </pc:spChg>
        <pc:spChg chg="add">
          <ac:chgData name="Kaltrina Rexhahmetaj" userId="S::kaltrina.rexhahmetaj@bvh.org::c314e318-93e0-4c36-9995-6aa0f00e0010" providerId="AD" clId="Web-{6B1E5ED4-B0EE-9969-BA16-54CE7A1DE464}" dt="2020-03-17T20:54:20.605" v="176"/>
          <ac:spMkLst>
            <pc:docMk/>
            <pc:sldMk cId="1313817088" sldId="902"/>
            <ac:spMk id="8" creationId="{943E356F-6BB2-43F7-881D-C62159A1D67C}"/>
          </ac:spMkLst>
        </pc:spChg>
        <pc:spChg chg="add">
          <ac:chgData name="Kaltrina Rexhahmetaj" userId="S::kaltrina.rexhahmetaj@bvh.org::c314e318-93e0-4c36-9995-6aa0f00e0010" providerId="AD" clId="Web-{6B1E5ED4-B0EE-9969-BA16-54CE7A1DE464}" dt="2020-03-17T20:54:20.605" v="177"/>
          <ac:spMkLst>
            <pc:docMk/>
            <pc:sldMk cId="1313817088" sldId="902"/>
            <ac:spMk id="10" creationId="{A4AE8E38-B149-40E0-AF8A-4B65EEB01F98}"/>
          </ac:spMkLst>
        </pc:spChg>
        <pc:spChg chg="add">
          <ac:chgData name="Kaltrina Rexhahmetaj" userId="S::kaltrina.rexhahmetaj@bvh.org::c314e318-93e0-4c36-9995-6aa0f00e0010" providerId="AD" clId="Web-{6B1E5ED4-B0EE-9969-BA16-54CE7A1DE464}" dt="2020-03-17T20:54:20.620" v="178"/>
          <ac:spMkLst>
            <pc:docMk/>
            <pc:sldMk cId="1313817088" sldId="902"/>
            <ac:spMk id="12" creationId="{37554416-AEF4-4377-B3D6-20A6E56AF3C7}"/>
          </ac:spMkLst>
        </pc:spChg>
        <pc:spChg chg="add">
          <ac:chgData name="Kaltrina Rexhahmetaj" userId="S::kaltrina.rexhahmetaj@bvh.org::c314e318-93e0-4c36-9995-6aa0f00e0010" providerId="AD" clId="Web-{6B1E5ED4-B0EE-9969-BA16-54CE7A1DE464}" dt="2020-03-17T20:54:20.620" v="179"/>
          <ac:spMkLst>
            <pc:docMk/>
            <pc:sldMk cId="1313817088" sldId="902"/>
            <ac:spMk id="14" creationId="{317F0B1B-04A7-4B73-890B-41633AE8DDF1}"/>
          </ac:spMkLst>
        </pc:spChg>
        <pc:spChg chg="add">
          <ac:chgData name="Kaltrina Rexhahmetaj" userId="S::kaltrina.rexhahmetaj@bvh.org::c314e318-93e0-4c36-9995-6aa0f00e0010" providerId="AD" clId="Web-{6B1E5ED4-B0EE-9969-BA16-54CE7A1DE464}" dt="2020-03-17T20:54:20.636" v="180"/>
          <ac:spMkLst>
            <pc:docMk/>
            <pc:sldMk cId="1313817088" sldId="902"/>
            <ac:spMk id="16" creationId="{12A269E6-F9B0-4EA0-B595-88032BE4AE0D}"/>
          </ac:spMkLst>
        </pc:spChg>
        <pc:spChg chg="del">
          <ac:chgData name="Kaltrina Rexhahmetaj" userId="S::kaltrina.rexhahmetaj@bvh.org::c314e318-93e0-4c36-9995-6aa0f00e0010" providerId="AD" clId="Web-{6B1E5ED4-B0EE-9969-BA16-54CE7A1DE464}" dt="2020-03-17T20:52:12.417" v="167"/>
          <ac:spMkLst>
            <pc:docMk/>
            <pc:sldMk cId="1313817088" sldId="902"/>
            <ac:spMk id="17" creationId="{BB0E420C-5B9D-4B1D-8360-9A7E11949CF3}"/>
          </ac:spMkLst>
        </pc:spChg>
        <pc:spChg chg="del">
          <ac:chgData name="Kaltrina Rexhahmetaj" userId="S::kaltrina.rexhahmetaj@bvh.org::c314e318-93e0-4c36-9995-6aa0f00e0010" providerId="AD" clId="Web-{6B1E5ED4-B0EE-9969-BA16-54CE7A1DE464}" dt="2020-03-17T20:52:12.417" v="165"/>
          <ac:spMkLst>
            <pc:docMk/>
            <pc:sldMk cId="1313817088" sldId="902"/>
            <ac:spMk id="22" creationId="{14E72B40-F8C6-4245-8E36-1C89DCE2FCA2}"/>
          </ac:spMkLst>
        </pc:spChg>
        <pc:spChg chg="add">
          <ac:chgData name="Kaltrina Rexhahmetaj" userId="S::kaltrina.rexhahmetaj@bvh.org::c314e318-93e0-4c36-9995-6aa0f00e0010" providerId="AD" clId="Web-{6B1E5ED4-B0EE-9969-BA16-54CE7A1DE464}" dt="2020-03-17T20:54:20.651" v="181"/>
          <ac:spMkLst>
            <pc:docMk/>
            <pc:sldMk cId="1313817088" sldId="902"/>
            <ac:spMk id="24" creationId="{F6A5D80A-1E05-4F5A-9AC2-166F19CEDA30}"/>
          </ac:spMkLst>
        </pc:spChg>
        <pc:spChg chg="add del mod">
          <ac:chgData name="Kaltrina Rexhahmetaj" userId="S::kaltrina.rexhahmetaj@bvh.org::c314e318-93e0-4c36-9995-6aa0f00e0010" providerId="AD" clId="Web-{6B1E5ED4-B0EE-9969-BA16-54CE7A1DE464}" dt="2020-03-17T20:55:28.323" v="209"/>
          <ac:spMkLst>
            <pc:docMk/>
            <pc:sldMk cId="1313817088" sldId="902"/>
            <ac:spMk id="28" creationId="{0EBD25AE-9F2B-4FA0-A832-573E3CF42775}"/>
          </ac:spMkLst>
        </pc:spChg>
        <pc:spChg chg="add del">
          <ac:chgData name="Kaltrina Rexhahmetaj" userId="S::kaltrina.rexhahmetaj@bvh.org::c314e318-93e0-4c36-9995-6aa0f00e0010" providerId="AD" clId="Web-{6B1E5ED4-B0EE-9969-BA16-54CE7A1DE464}" dt="2020-03-17T20:54:54.854" v="193"/>
          <ac:spMkLst>
            <pc:docMk/>
            <pc:sldMk cId="1313817088" sldId="902"/>
            <ac:spMk id="30" creationId="{90453BDE-E9C8-49F4-A911-45A81FAC42F9}"/>
          </ac:spMkLst>
        </pc:spChg>
        <pc:picChg chg="del">
          <ac:chgData name="Kaltrina Rexhahmetaj" userId="S::kaltrina.rexhahmetaj@bvh.org::c314e318-93e0-4c36-9995-6aa0f00e0010" providerId="AD" clId="Web-{6B1E5ED4-B0EE-9969-BA16-54CE7A1DE464}" dt="2020-03-17T20:52:12.417" v="166"/>
          <ac:picMkLst>
            <pc:docMk/>
            <pc:sldMk cId="1313817088" sldId="902"/>
            <ac:picMk id="18" creationId="{D78B32E3-B3FF-4EBC-826D-CEF80D8D8E0A}"/>
          </ac:picMkLst>
        </pc:picChg>
        <pc:picChg chg="add">
          <ac:chgData name="Kaltrina Rexhahmetaj" userId="S::kaltrina.rexhahmetaj@bvh.org::c314e318-93e0-4c36-9995-6aa0f00e0010" providerId="AD" clId="Web-{6B1E5ED4-B0EE-9969-BA16-54CE7A1DE464}" dt="2020-03-17T20:54:20.667" v="182"/>
          <ac:picMkLst>
            <pc:docMk/>
            <pc:sldMk cId="1313817088" sldId="902"/>
            <ac:picMk id="26" creationId="{46219E93-FC60-49EE-AE41-3501F5B093C5}"/>
          </ac:picMkLst>
        </pc:picChg>
      </pc:sldChg>
      <pc:sldChg chg="addSp delSp modSp add del replId modNotes">
        <pc:chgData name="Kaltrina Rexhahmetaj" userId="S::kaltrina.rexhahmetaj@bvh.org::c314e318-93e0-4c36-9995-6aa0f00e0010" providerId="AD" clId="Web-{6B1E5ED4-B0EE-9969-BA16-54CE7A1DE464}" dt="2020-03-17T20:52:01.902" v="163"/>
        <pc:sldMkLst>
          <pc:docMk/>
          <pc:sldMk cId="3754657810" sldId="902"/>
        </pc:sldMkLst>
        <pc:spChg chg="del">
          <ac:chgData name="Kaltrina Rexhahmetaj" userId="S::kaltrina.rexhahmetaj@bvh.org::c314e318-93e0-4c36-9995-6aa0f00e0010" providerId="AD" clId="Web-{6B1E5ED4-B0EE-9969-BA16-54CE7A1DE464}" dt="2020-03-17T20:47:57.402" v="160"/>
          <ac:spMkLst>
            <pc:docMk/>
            <pc:sldMk cId="3754657810" sldId="902"/>
            <ac:spMk id="4" creationId="{ABC7393D-071C-4EB6-9036-216D28DB7AA9}"/>
          </ac:spMkLst>
        </pc:spChg>
        <pc:spChg chg="add mod">
          <ac:chgData name="Kaltrina Rexhahmetaj" userId="S::kaltrina.rexhahmetaj@bvh.org::c314e318-93e0-4c36-9995-6aa0f00e0010" providerId="AD" clId="Web-{6B1E5ED4-B0EE-9969-BA16-54CE7A1DE464}" dt="2020-03-17T20:47:57.402" v="160"/>
          <ac:spMkLst>
            <pc:docMk/>
            <pc:sldMk cId="3754657810" sldId="902"/>
            <ac:spMk id="5" creationId="{599379EC-1C5F-4172-AE4D-D2136D463C14}"/>
          </ac:spMkLst>
        </pc:spChg>
        <pc:spChg chg="add">
          <ac:chgData name="Kaltrina Rexhahmetaj" userId="S::kaltrina.rexhahmetaj@bvh.org::c314e318-93e0-4c36-9995-6aa0f00e0010" providerId="AD" clId="Web-{6B1E5ED4-B0EE-9969-BA16-54CE7A1DE464}" dt="2020-03-17T20:51:53.542" v="162"/>
          <ac:spMkLst>
            <pc:docMk/>
            <pc:sldMk cId="3754657810" sldId="902"/>
            <ac:spMk id="9" creationId="{A7933D64-E806-4F8D-B586-3F99262989AD}"/>
          </ac:spMkLst>
        </pc:spChg>
        <pc:spChg chg="add">
          <ac:chgData name="Kaltrina Rexhahmetaj" userId="S::kaltrina.rexhahmetaj@bvh.org::c314e318-93e0-4c36-9995-6aa0f00e0010" providerId="AD" clId="Web-{6B1E5ED4-B0EE-9969-BA16-54CE7A1DE464}" dt="2020-03-17T20:51:53.542" v="162"/>
          <ac:spMkLst>
            <pc:docMk/>
            <pc:sldMk cId="3754657810" sldId="902"/>
            <ac:spMk id="10" creationId="{23A4F596-C563-49EB-BB95-55765C504B05}"/>
          </ac:spMkLst>
        </pc:spChg>
        <pc:spChg chg="add">
          <ac:chgData name="Kaltrina Rexhahmetaj" userId="S::kaltrina.rexhahmetaj@bvh.org::c314e318-93e0-4c36-9995-6aa0f00e0010" providerId="AD" clId="Web-{6B1E5ED4-B0EE-9969-BA16-54CE7A1DE464}" dt="2020-03-17T20:51:53.542" v="162"/>
          <ac:spMkLst>
            <pc:docMk/>
            <pc:sldMk cId="3754657810" sldId="902"/>
            <ac:spMk id="11" creationId="{FB591998-A98F-4E15-9D4A-696388F93514}"/>
          </ac:spMkLst>
        </pc:spChg>
        <pc:spChg chg="add">
          <ac:chgData name="Kaltrina Rexhahmetaj" userId="S::kaltrina.rexhahmetaj@bvh.org::c314e318-93e0-4c36-9995-6aa0f00e0010" providerId="AD" clId="Web-{6B1E5ED4-B0EE-9969-BA16-54CE7A1DE464}" dt="2020-03-17T20:51:53.542" v="162"/>
          <ac:spMkLst>
            <pc:docMk/>
            <pc:sldMk cId="3754657810" sldId="902"/>
            <ac:spMk id="12" creationId="{97DE70DC-D39F-4DF4-A59A-BCEDCE10327F}"/>
          </ac:spMkLst>
        </pc:spChg>
        <pc:spChg chg="add">
          <ac:chgData name="Kaltrina Rexhahmetaj" userId="S::kaltrina.rexhahmetaj@bvh.org::c314e318-93e0-4c36-9995-6aa0f00e0010" providerId="AD" clId="Web-{6B1E5ED4-B0EE-9969-BA16-54CE7A1DE464}" dt="2020-03-17T20:51:53.542" v="162"/>
          <ac:spMkLst>
            <pc:docMk/>
            <pc:sldMk cId="3754657810" sldId="902"/>
            <ac:spMk id="13" creationId="{2C67BFF3-6704-41EE-AA39-772B6F46BCBA}"/>
          </ac:spMkLst>
        </pc:spChg>
        <pc:spChg chg="add">
          <ac:chgData name="Kaltrina Rexhahmetaj" userId="S::kaltrina.rexhahmetaj@bvh.org::c314e318-93e0-4c36-9995-6aa0f00e0010" providerId="AD" clId="Web-{6B1E5ED4-B0EE-9969-BA16-54CE7A1DE464}" dt="2020-03-17T20:51:53.542" v="162"/>
          <ac:spMkLst>
            <pc:docMk/>
            <pc:sldMk cId="3754657810" sldId="902"/>
            <ac:spMk id="14" creationId="{159C37BB-A9B8-46A9-9BAC-7526DBCCF977}"/>
          </ac:spMkLst>
        </pc:spChg>
        <pc:spChg chg="add">
          <ac:chgData name="Kaltrina Rexhahmetaj" userId="S::kaltrina.rexhahmetaj@bvh.org::c314e318-93e0-4c36-9995-6aa0f00e0010" providerId="AD" clId="Web-{6B1E5ED4-B0EE-9969-BA16-54CE7A1DE464}" dt="2020-03-17T20:51:53.542" v="162"/>
          <ac:spMkLst>
            <pc:docMk/>
            <pc:sldMk cId="3754657810" sldId="902"/>
            <ac:spMk id="16" creationId="{065D8952-80C6-469B-B39D-CC4B5CAE5F56}"/>
          </ac:spMkLst>
        </pc:spChg>
        <pc:spChg chg="del">
          <ac:chgData name="Kaltrina Rexhahmetaj" userId="S::kaltrina.rexhahmetaj@bvh.org::c314e318-93e0-4c36-9995-6aa0f00e0010" providerId="AD" clId="Web-{6B1E5ED4-B0EE-9969-BA16-54CE7A1DE464}" dt="2020-03-17T20:47:57.246" v="159"/>
          <ac:spMkLst>
            <pc:docMk/>
            <pc:sldMk cId="3754657810" sldId="902"/>
            <ac:spMk id="17" creationId="{BB0E420C-5B9D-4B1D-8360-9A7E11949CF3}"/>
          </ac:spMkLst>
        </pc:spChg>
        <pc:spChg chg="add">
          <ac:chgData name="Kaltrina Rexhahmetaj" userId="S::kaltrina.rexhahmetaj@bvh.org::c314e318-93e0-4c36-9995-6aa0f00e0010" providerId="AD" clId="Web-{6B1E5ED4-B0EE-9969-BA16-54CE7A1DE464}" dt="2020-03-17T20:51:53.542" v="162"/>
          <ac:spMkLst>
            <pc:docMk/>
            <pc:sldMk cId="3754657810" sldId="902"/>
            <ac:spMk id="19" creationId="{A2919385-8145-4A72-93CF-1735CAB51866}"/>
          </ac:spMkLst>
        </pc:spChg>
        <pc:spChg chg="del">
          <ac:chgData name="Kaltrina Rexhahmetaj" userId="S::kaltrina.rexhahmetaj@bvh.org::c314e318-93e0-4c36-9995-6aa0f00e0010" providerId="AD" clId="Web-{6B1E5ED4-B0EE-9969-BA16-54CE7A1DE464}" dt="2020-03-17T20:47:57.246" v="157"/>
          <ac:spMkLst>
            <pc:docMk/>
            <pc:sldMk cId="3754657810" sldId="902"/>
            <ac:spMk id="22" creationId="{14E72B40-F8C6-4245-8E36-1C89DCE2FCA2}"/>
          </ac:spMkLst>
        </pc:spChg>
        <pc:picChg chg="add">
          <ac:chgData name="Kaltrina Rexhahmetaj" userId="S::kaltrina.rexhahmetaj@bvh.org::c314e318-93e0-4c36-9995-6aa0f00e0010" providerId="AD" clId="Web-{6B1E5ED4-B0EE-9969-BA16-54CE7A1DE464}" dt="2020-03-17T20:51:53.542" v="162"/>
          <ac:picMkLst>
            <pc:docMk/>
            <pc:sldMk cId="3754657810" sldId="902"/>
            <ac:picMk id="15" creationId="{9BB9EFD0-4088-44C7-AED1-E460925C8A63}"/>
          </ac:picMkLst>
        </pc:picChg>
        <pc:picChg chg="del">
          <ac:chgData name="Kaltrina Rexhahmetaj" userId="S::kaltrina.rexhahmetaj@bvh.org::c314e318-93e0-4c36-9995-6aa0f00e0010" providerId="AD" clId="Web-{6B1E5ED4-B0EE-9969-BA16-54CE7A1DE464}" dt="2020-03-17T20:47:57.246" v="158"/>
          <ac:picMkLst>
            <pc:docMk/>
            <pc:sldMk cId="3754657810" sldId="902"/>
            <ac:picMk id="18" creationId="{D78B32E3-B3FF-4EBC-826D-CEF80D8D8E0A}"/>
          </ac:picMkLst>
        </pc:picChg>
      </pc:sldChg>
      <pc:sldChg chg="add del">
        <pc:chgData name="Kaltrina Rexhahmetaj" userId="S::kaltrina.rexhahmetaj@bvh.org::c314e318-93e0-4c36-9995-6aa0f00e0010" providerId="AD" clId="Web-{6B1E5ED4-B0EE-9969-BA16-54CE7A1DE464}" dt="2020-03-17T20:55:09.089" v="195"/>
        <pc:sldMkLst>
          <pc:docMk/>
          <pc:sldMk cId="1657731832" sldId="903"/>
        </pc:sldMkLst>
      </pc:sldChg>
      <pc:sldChg chg="add del">
        <pc:chgData name="Kaltrina Rexhahmetaj" userId="S::kaltrina.rexhahmetaj@bvh.org::c314e318-93e0-4c36-9995-6aa0f00e0010" providerId="AD" clId="Web-{6B1E5ED4-B0EE-9969-BA16-54CE7A1DE464}" dt="2020-03-17T20:53:51.276" v="171"/>
        <pc:sldMkLst>
          <pc:docMk/>
          <pc:sldMk cId="3729156835" sldId="903"/>
        </pc:sldMkLst>
      </pc:sldChg>
      <pc:sldChg chg="addSp delSp modSp add replId">
        <pc:chgData name="Kaltrina Rexhahmetaj" userId="S::kaltrina.rexhahmetaj@bvh.org::c314e318-93e0-4c36-9995-6aa0f00e0010" providerId="AD" clId="Web-{6B1E5ED4-B0EE-9969-BA16-54CE7A1DE464}" dt="2020-03-17T20:59:17.432" v="241"/>
        <pc:sldMkLst>
          <pc:docMk/>
          <pc:sldMk cId="4023879026" sldId="903"/>
        </pc:sldMkLst>
        <pc:spChg chg="add mod">
          <ac:chgData name="Kaltrina Rexhahmetaj" userId="S::kaltrina.rexhahmetaj@bvh.org::c314e318-93e0-4c36-9995-6aa0f00e0010" providerId="AD" clId="Web-{6B1E5ED4-B0EE-9969-BA16-54CE7A1DE464}" dt="2020-03-17T20:57:40.620" v="231" actId="20577"/>
          <ac:spMkLst>
            <pc:docMk/>
            <pc:sldMk cId="4023879026" sldId="903"/>
            <ac:spMk id="4" creationId="{7218748C-3149-4326-A791-7F9735E30B09}"/>
          </ac:spMkLst>
        </pc:spChg>
        <pc:spChg chg="del">
          <ac:chgData name="Kaltrina Rexhahmetaj" userId="S::kaltrina.rexhahmetaj@bvh.org::c314e318-93e0-4c36-9995-6aa0f00e0010" providerId="AD" clId="Web-{6B1E5ED4-B0EE-9969-BA16-54CE7A1DE464}" dt="2020-03-17T20:55:21.745" v="207"/>
          <ac:spMkLst>
            <pc:docMk/>
            <pc:sldMk cId="4023879026" sldId="903"/>
            <ac:spMk id="5" creationId="{8A67B725-1CB7-4E64-82D6-19F551206C31}"/>
          </ac:spMkLst>
        </pc:spChg>
        <pc:spChg chg="del">
          <ac:chgData name="Kaltrina Rexhahmetaj" userId="S::kaltrina.rexhahmetaj@bvh.org::c314e318-93e0-4c36-9995-6aa0f00e0010" providerId="AD" clId="Web-{6B1E5ED4-B0EE-9969-BA16-54CE7A1DE464}" dt="2020-03-17T20:55:21.589" v="206"/>
          <ac:spMkLst>
            <pc:docMk/>
            <pc:sldMk cId="4023879026" sldId="903"/>
            <ac:spMk id="6" creationId="{72EB7098-6A9E-4D70-A6B1-0378EDB1B5AF}"/>
          </ac:spMkLst>
        </pc:spChg>
        <pc:spChg chg="del">
          <ac:chgData name="Kaltrina Rexhahmetaj" userId="S::kaltrina.rexhahmetaj@bvh.org::c314e318-93e0-4c36-9995-6aa0f00e0010" providerId="AD" clId="Web-{6B1E5ED4-B0EE-9969-BA16-54CE7A1DE464}" dt="2020-03-17T20:55:21.589" v="205"/>
          <ac:spMkLst>
            <pc:docMk/>
            <pc:sldMk cId="4023879026" sldId="903"/>
            <ac:spMk id="7" creationId="{1EBEB8E3-3B8D-41EF-B3B4-825343B3A8A0}"/>
          </ac:spMkLst>
        </pc:spChg>
        <pc:spChg chg="del">
          <ac:chgData name="Kaltrina Rexhahmetaj" userId="S::kaltrina.rexhahmetaj@bvh.org::c314e318-93e0-4c36-9995-6aa0f00e0010" providerId="AD" clId="Web-{6B1E5ED4-B0EE-9969-BA16-54CE7A1DE464}" dt="2020-03-17T20:55:21.589" v="204"/>
          <ac:spMkLst>
            <pc:docMk/>
            <pc:sldMk cId="4023879026" sldId="903"/>
            <ac:spMk id="8" creationId="{943E356F-6BB2-43F7-881D-C62159A1D67C}"/>
          </ac:spMkLst>
        </pc:spChg>
        <pc:spChg chg="del">
          <ac:chgData name="Kaltrina Rexhahmetaj" userId="S::kaltrina.rexhahmetaj@bvh.org::c314e318-93e0-4c36-9995-6aa0f00e0010" providerId="AD" clId="Web-{6B1E5ED4-B0EE-9969-BA16-54CE7A1DE464}" dt="2020-03-17T20:55:21.589" v="203"/>
          <ac:spMkLst>
            <pc:docMk/>
            <pc:sldMk cId="4023879026" sldId="903"/>
            <ac:spMk id="10" creationId="{A4AE8E38-B149-40E0-AF8A-4B65EEB01F98}"/>
          </ac:spMkLst>
        </pc:spChg>
        <pc:spChg chg="add del mod">
          <ac:chgData name="Kaltrina Rexhahmetaj" userId="S::kaltrina.rexhahmetaj@bvh.org::c314e318-93e0-4c36-9995-6aa0f00e0010" providerId="AD" clId="Web-{6B1E5ED4-B0EE-9969-BA16-54CE7A1DE464}" dt="2020-03-17T20:59:11.901" v="239"/>
          <ac:spMkLst>
            <pc:docMk/>
            <pc:sldMk cId="4023879026" sldId="903"/>
            <ac:spMk id="11" creationId="{C85EFB7A-4D4A-41BC-86A8-110CF0296867}"/>
          </ac:spMkLst>
        </pc:spChg>
        <pc:spChg chg="del">
          <ac:chgData name="Kaltrina Rexhahmetaj" userId="S::kaltrina.rexhahmetaj@bvh.org::c314e318-93e0-4c36-9995-6aa0f00e0010" providerId="AD" clId="Web-{6B1E5ED4-B0EE-9969-BA16-54CE7A1DE464}" dt="2020-03-17T20:55:21.589" v="202"/>
          <ac:spMkLst>
            <pc:docMk/>
            <pc:sldMk cId="4023879026" sldId="903"/>
            <ac:spMk id="12" creationId="{37554416-AEF4-4377-B3D6-20A6E56AF3C7}"/>
          </ac:spMkLst>
        </pc:spChg>
        <pc:spChg chg="add del">
          <ac:chgData name="Kaltrina Rexhahmetaj" userId="S::kaltrina.rexhahmetaj@bvh.org::c314e318-93e0-4c36-9995-6aa0f00e0010" providerId="AD" clId="Web-{6B1E5ED4-B0EE-9969-BA16-54CE7A1DE464}" dt="2020-03-17T20:59:04.229" v="237"/>
          <ac:spMkLst>
            <pc:docMk/>
            <pc:sldMk cId="4023879026" sldId="903"/>
            <ac:spMk id="13" creationId="{9F3D7FD0-41A6-48DA-BE52-C705EF0080BF}"/>
          </ac:spMkLst>
        </pc:spChg>
        <pc:spChg chg="del">
          <ac:chgData name="Kaltrina Rexhahmetaj" userId="S::kaltrina.rexhahmetaj@bvh.org::c314e318-93e0-4c36-9995-6aa0f00e0010" providerId="AD" clId="Web-{6B1E5ED4-B0EE-9969-BA16-54CE7A1DE464}" dt="2020-03-17T20:55:21.573" v="201"/>
          <ac:spMkLst>
            <pc:docMk/>
            <pc:sldMk cId="4023879026" sldId="903"/>
            <ac:spMk id="14" creationId="{317F0B1B-04A7-4B73-890B-41633AE8DDF1}"/>
          </ac:spMkLst>
        </pc:spChg>
        <pc:spChg chg="del">
          <ac:chgData name="Kaltrina Rexhahmetaj" userId="S::kaltrina.rexhahmetaj@bvh.org::c314e318-93e0-4c36-9995-6aa0f00e0010" providerId="AD" clId="Web-{6B1E5ED4-B0EE-9969-BA16-54CE7A1DE464}" dt="2020-03-17T20:55:21.573" v="200"/>
          <ac:spMkLst>
            <pc:docMk/>
            <pc:sldMk cId="4023879026" sldId="903"/>
            <ac:spMk id="16" creationId="{12A269E6-F9B0-4EA0-B595-88032BE4AE0D}"/>
          </ac:spMkLst>
        </pc:spChg>
        <pc:spChg chg="add del mod">
          <ac:chgData name="Kaltrina Rexhahmetaj" userId="S::kaltrina.rexhahmetaj@bvh.org::c314e318-93e0-4c36-9995-6aa0f00e0010" providerId="AD" clId="Web-{6B1E5ED4-B0EE-9969-BA16-54CE7A1DE464}" dt="2020-03-17T20:59:17.432" v="241"/>
          <ac:spMkLst>
            <pc:docMk/>
            <pc:sldMk cId="4023879026" sldId="903"/>
            <ac:spMk id="17" creationId="{5F257B9A-59D5-4F66-BBC8-A4A9FCBA68F1}"/>
          </ac:spMkLst>
        </pc:spChg>
        <pc:spChg chg="add del">
          <ac:chgData name="Kaltrina Rexhahmetaj" userId="S::kaltrina.rexhahmetaj@bvh.org::c314e318-93e0-4c36-9995-6aa0f00e0010" providerId="AD" clId="Web-{6B1E5ED4-B0EE-9969-BA16-54CE7A1DE464}" dt="2020-03-17T20:57:34.229" v="230"/>
          <ac:spMkLst>
            <pc:docMk/>
            <pc:sldMk cId="4023879026" sldId="903"/>
            <ac:spMk id="18" creationId="{4A1E2249-930E-4541-8C3E-23B0E92120BE}"/>
          </ac:spMkLst>
        </pc:spChg>
        <pc:spChg chg="del">
          <ac:chgData name="Kaltrina Rexhahmetaj" userId="S::kaltrina.rexhahmetaj@bvh.org::c314e318-93e0-4c36-9995-6aa0f00e0010" providerId="AD" clId="Web-{6B1E5ED4-B0EE-9969-BA16-54CE7A1DE464}" dt="2020-03-17T20:55:21.573" v="199"/>
          <ac:spMkLst>
            <pc:docMk/>
            <pc:sldMk cId="4023879026" sldId="903"/>
            <ac:spMk id="24" creationId="{F6A5D80A-1E05-4F5A-9AC2-166F19CEDA30}"/>
          </ac:spMkLst>
        </pc:spChg>
        <pc:spChg chg="del">
          <ac:chgData name="Kaltrina Rexhahmetaj" userId="S::kaltrina.rexhahmetaj@bvh.org::c314e318-93e0-4c36-9995-6aa0f00e0010" providerId="AD" clId="Web-{6B1E5ED4-B0EE-9969-BA16-54CE7A1DE464}" dt="2020-03-17T20:55:21.573" v="197"/>
          <ac:spMkLst>
            <pc:docMk/>
            <pc:sldMk cId="4023879026" sldId="903"/>
            <ac:spMk id="28" creationId="{0EBD25AE-9F2B-4FA0-A832-573E3CF42775}"/>
          </ac:spMkLst>
        </pc:spChg>
        <pc:graphicFrameChg chg="add">
          <ac:chgData name="Kaltrina Rexhahmetaj" userId="S::kaltrina.rexhahmetaj@bvh.org::c314e318-93e0-4c36-9995-6aa0f00e0010" providerId="AD" clId="Web-{6B1E5ED4-B0EE-9969-BA16-54CE7A1DE464}" dt="2020-03-17T20:58:57.245" v="234"/>
          <ac:graphicFrameMkLst>
            <pc:docMk/>
            <pc:sldMk cId="4023879026" sldId="903"/>
            <ac:graphicFrameMk id="9" creationId="{AD15061A-BA40-4AD2-9906-EBBA1B1B3AF1}"/>
          </ac:graphicFrameMkLst>
        </pc:graphicFrameChg>
        <pc:picChg chg="del">
          <ac:chgData name="Kaltrina Rexhahmetaj" userId="S::kaltrina.rexhahmetaj@bvh.org::c314e318-93e0-4c36-9995-6aa0f00e0010" providerId="AD" clId="Web-{6B1E5ED4-B0EE-9969-BA16-54CE7A1DE464}" dt="2020-03-17T20:55:21.573" v="198"/>
          <ac:picMkLst>
            <pc:docMk/>
            <pc:sldMk cId="4023879026" sldId="903"/>
            <ac:picMk id="26" creationId="{46219E93-FC60-49EE-AE41-3501F5B093C5}"/>
          </ac:picMkLst>
        </pc:picChg>
      </pc:sldChg>
      <pc:sldChg chg="add del">
        <pc:chgData name="Kaltrina Rexhahmetaj" userId="S::kaltrina.rexhahmetaj@bvh.org::c314e318-93e0-4c36-9995-6aa0f00e0010" providerId="AD" clId="Web-{6B1E5ED4-B0EE-9969-BA16-54CE7A1DE464}" dt="2020-03-17T20:59:23.182" v="242"/>
        <pc:sldMkLst>
          <pc:docMk/>
          <pc:sldMk cId="1034526802" sldId="904"/>
        </pc:sldMkLst>
      </pc:sldChg>
      <pc:sldChg chg="addSp delSp modSp add replId">
        <pc:chgData name="Kaltrina Rexhahmetaj" userId="S::kaltrina.rexhahmetaj@bvh.org::c314e318-93e0-4c36-9995-6aa0f00e0010" providerId="AD" clId="Web-{6B1E5ED4-B0EE-9969-BA16-54CE7A1DE464}" dt="2020-03-17T21:03:20.213" v="255"/>
        <pc:sldMkLst>
          <pc:docMk/>
          <pc:sldMk cId="2925448637" sldId="904"/>
        </pc:sldMkLst>
        <pc:spChg chg="del">
          <ac:chgData name="Kaltrina Rexhahmetaj" userId="S::kaltrina.rexhahmetaj@bvh.org::c314e318-93e0-4c36-9995-6aa0f00e0010" providerId="AD" clId="Web-{6B1E5ED4-B0EE-9969-BA16-54CE7A1DE464}" dt="2020-03-17T21:01:27.900" v="245"/>
          <ac:spMkLst>
            <pc:docMk/>
            <pc:sldMk cId="2925448637" sldId="904"/>
            <ac:spMk id="4" creationId="{7218748C-3149-4326-A791-7F9735E30B09}"/>
          </ac:spMkLst>
        </pc:spChg>
        <pc:spChg chg="add mod">
          <ac:chgData name="Kaltrina Rexhahmetaj" userId="S::kaltrina.rexhahmetaj@bvh.org::c314e318-93e0-4c36-9995-6aa0f00e0010" providerId="AD" clId="Web-{6B1E5ED4-B0EE-9969-BA16-54CE7A1DE464}" dt="2020-03-17T21:03:13.947" v="253" actId="20577"/>
          <ac:spMkLst>
            <pc:docMk/>
            <pc:sldMk cId="2925448637" sldId="904"/>
            <ac:spMk id="5" creationId="{492B5BD5-4259-49AB-A0E6-4957F4C5D53F}"/>
          </ac:spMkLst>
        </pc:spChg>
        <pc:spChg chg="add">
          <ac:chgData name="Kaltrina Rexhahmetaj" userId="S::kaltrina.rexhahmetaj@bvh.org::c314e318-93e0-4c36-9995-6aa0f00e0010" providerId="AD" clId="Web-{6B1E5ED4-B0EE-9969-BA16-54CE7A1DE464}" dt="2020-03-17T21:02:55.197" v="246"/>
          <ac:spMkLst>
            <pc:docMk/>
            <pc:sldMk cId="2925448637" sldId="904"/>
            <ac:spMk id="7" creationId="{2971AD45-1A60-4B5D-AC9A-D870CB641EA5}"/>
          </ac:spMkLst>
        </pc:spChg>
        <pc:spChg chg="add">
          <ac:chgData name="Kaltrina Rexhahmetaj" userId="S::kaltrina.rexhahmetaj@bvh.org::c314e318-93e0-4c36-9995-6aa0f00e0010" providerId="AD" clId="Web-{6B1E5ED4-B0EE-9969-BA16-54CE7A1DE464}" dt="2020-03-17T21:02:55.197" v="246"/>
          <ac:spMkLst>
            <pc:docMk/>
            <pc:sldMk cId="2925448637" sldId="904"/>
            <ac:spMk id="8" creationId="{95C88819-C6B8-4AE0-A0E8-DF491C9FAE19}"/>
          </ac:spMkLst>
        </pc:spChg>
        <pc:spChg chg="add">
          <ac:chgData name="Kaltrina Rexhahmetaj" userId="S::kaltrina.rexhahmetaj@bvh.org::c314e318-93e0-4c36-9995-6aa0f00e0010" providerId="AD" clId="Web-{6B1E5ED4-B0EE-9969-BA16-54CE7A1DE464}" dt="2020-03-17T21:02:55.197" v="246"/>
          <ac:spMkLst>
            <pc:docMk/>
            <pc:sldMk cId="2925448637" sldId="904"/>
            <ac:spMk id="10" creationId="{E9FF82AE-70C2-4419-9B00-586F8D61D405}"/>
          </ac:spMkLst>
        </pc:spChg>
        <pc:spChg chg="add">
          <ac:chgData name="Kaltrina Rexhahmetaj" userId="S::kaltrina.rexhahmetaj@bvh.org::c314e318-93e0-4c36-9995-6aa0f00e0010" providerId="AD" clId="Web-{6B1E5ED4-B0EE-9969-BA16-54CE7A1DE464}" dt="2020-03-17T21:02:55.197" v="246"/>
          <ac:spMkLst>
            <pc:docMk/>
            <pc:sldMk cId="2925448637" sldId="904"/>
            <ac:spMk id="11" creationId="{131C0868-17DF-442A-89BC-0418FE6B641F}"/>
          </ac:spMkLst>
        </pc:spChg>
        <pc:spChg chg="add">
          <ac:chgData name="Kaltrina Rexhahmetaj" userId="S::kaltrina.rexhahmetaj@bvh.org::c314e318-93e0-4c36-9995-6aa0f00e0010" providerId="AD" clId="Web-{6B1E5ED4-B0EE-9969-BA16-54CE7A1DE464}" dt="2020-03-17T21:02:55.197" v="246"/>
          <ac:spMkLst>
            <pc:docMk/>
            <pc:sldMk cId="2925448637" sldId="904"/>
            <ac:spMk id="12" creationId="{9C65C11C-9F98-42E1-B4FD-271EB6F471E3}"/>
          </ac:spMkLst>
        </pc:spChg>
        <pc:spChg chg="add">
          <ac:chgData name="Kaltrina Rexhahmetaj" userId="S::kaltrina.rexhahmetaj@bvh.org::c314e318-93e0-4c36-9995-6aa0f00e0010" providerId="AD" clId="Web-{6B1E5ED4-B0EE-9969-BA16-54CE7A1DE464}" dt="2020-03-17T21:02:55.197" v="246"/>
          <ac:spMkLst>
            <pc:docMk/>
            <pc:sldMk cId="2925448637" sldId="904"/>
            <ac:spMk id="13" creationId="{33D07A28-8408-4010-B7E7-0E8195FBB033}"/>
          </ac:spMkLst>
        </pc:spChg>
        <pc:spChg chg="add del mod">
          <ac:chgData name="Kaltrina Rexhahmetaj" userId="S::kaltrina.rexhahmetaj@bvh.org::c314e318-93e0-4c36-9995-6aa0f00e0010" providerId="AD" clId="Web-{6B1E5ED4-B0EE-9969-BA16-54CE7A1DE464}" dt="2020-03-17T21:03:20.213" v="255"/>
          <ac:spMkLst>
            <pc:docMk/>
            <pc:sldMk cId="2925448637" sldId="904"/>
            <ac:spMk id="14" creationId="{E27E8F64-1E31-4ACD-94F0-1051B2C5417A}"/>
          </ac:spMkLst>
        </pc:spChg>
        <pc:spChg chg="add del">
          <ac:chgData name="Kaltrina Rexhahmetaj" userId="S::kaltrina.rexhahmetaj@bvh.org::c314e318-93e0-4c36-9995-6aa0f00e0010" providerId="AD" clId="Web-{6B1E5ED4-B0EE-9969-BA16-54CE7A1DE464}" dt="2020-03-17T21:03:08.713" v="252"/>
          <ac:spMkLst>
            <pc:docMk/>
            <pc:sldMk cId="2925448637" sldId="904"/>
            <ac:spMk id="15" creationId="{6E5E6873-E991-4601-A4AE-978571636A1D}"/>
          </ac:spMkLst>
        </pc:spChg>
        <pc:graphicFrameChg chg="del">
          <ac:chgData name="Kaltrina Rexhahmetaj" userId="S::kaltrina.rexhahmetaj@bvh.org::c314e318-93e0-4c36-9995-6aa0f00e0010" providerId="AD" clId="Web-{6B1E5ED4-B0EE-9969-BA16-54CE7A1DE464}" dt="2020-03-17T21:01:27.760" v="244"/>
          <ac:graphicFrameMkLst>
            <pc:docMk/>
            <pc:sldMk cId="2925448637" sldId="904"/>
            <ac:graphicFrameMk id="9" creationId="{AD15061A-BA40-4AD2-9906-EBBA1B1B3AF1}"/>
          </ac:graphicFrameMkLst>
        </pc:graphicFrameChg>
      </pc:sldChg>
      <pc:sldChg chg="add del">
        <pc:chgData name="Kaltrina Rexhahmetaj" userId="S::kaltrina.rexhahmetaj@bvh.org::c314e318-93e0-4c36-9995-6aa0f00e0010" providerId="AD" clId="Web-{6B1E5ED4-B0EE-9969-BA16-54CE7A1DE464}" dt="2020-03-17T20:58:46.854" v="233"/>
        <pc:sldMkLst>
          <pc:docMk/>
          <pc:sldMk cId="1447108162" sldId="905"/>
        </pc:sldMkLst>
      </pc:sldChg>
      <pc:sldChg chg="addSp delSp modSp add replId modNotes">
        <pc:chgData name="Kaltrina Rexhahmetaj" userId="S::kaltrina.rexhahmetaj@bvh.org::c314e318-93e0-4c36-9995-6aa0f00e0010" providerId="AD" clId="Web-{6B1E5ED4-B0EE-9969-BA16-54CE7A1DE464}" dt="2020-03-17T21:08:09.056" v="294"/>
        <pc:sldMkLst>
          <pc:docMk/>
          <pc:sldMk cId="2678682897" sldId="905"/>
        </pc:sldMkLst>
        <pc:spChg chg="add mod">
          <ac:chgData name="Kaltrina Rexhahmetaj" userId="S::kaltrina.rexhahmetaj@bvh.org::c314e318-93e0-4c36-9995-6aa0f00e0010" providerId="AD" clId="Web-{6B1E5ED4-B0EE-9969-BA16-54CE7A1DE464}" dt="2020-03-17T21:04:20.931" v="280" actId="20577"/>
          <ac:spMkLst>
            <pc:docMk/>
            <pc:sldMk cId="2678682897" sldId="905"/>
            <ac:spMk id="4" creationId="{D00F63D5-21BC-4C6C-98CF-558B1EA11CF9}"/>
          </ac:spMkLst>
        </pc:spChg>
        <pc:spChg chg="del">
          <ac:chgData name="Kaltrina Rexhahmetaj" userId="S::kaltrina.rexhahmetaj@bvh.org::c314e318-93e0-4c36-9995-6aa0f00e0010" providerId="AD" clId="Web-{6B1E5ED4-B0EE-9969-BA16-54CE7A1DE464}" dt="2020-03-17T21:03:43.603" v="263"/>
          <ac:spMkLst>
            <pc:docMk/>
            <pc:sldMk cId="2678682897" sldId="905"/>
            <ac:spMk id="5" creationId="{492B5BD5-4259-49AB-A0E6-4957F4C5D53F}"/>
          </ac:spMkLst>
        </pc:spChg>
        <pc:spChg chg="del">
          <ac:chgData name="Kaltrina Rexhahmetaj" userId="S::kaltrina.rexhahmetaj@bvh.org::c314e318-93e0-4c36-9995-6aa0f00e0010" providerId="AD" clId="Web-{6B1E5ED4-B0EE-9969-BA16-54CE7A1DE464}" dt="2020-03-17T21:03:43.478" v="262"/>
          <ac:spMkLst>
            <pc:docMk/>
            <pc:sldMk cId="2678682897" sldId="905"/>
            <ac:spMk id="7" creationId="{2971AD45-1A60-4B5D-AC9A-D870CB641EA5}"/>
          </ac:spMkLst>
        </pc:spChg>
        <pc:spChg chg="del">
          <ac:chgData name="Kaltrina Rexhahmetaj" userId="S::kaltrina.rexhahmetaj@bvh.org::c314e318-93e0-4c36-9995-6aa0f00e0010" providerId="AD" clId="Web-{6B1E5ED4-B0EE-9969-BA16-54CE7A1DE464}" dt="2020-03-17T21:03:43.478" v="261"/>
          <ac:spMkLst>
            <pc:docMk/>
            <pc:sldMk cId="2678682897" sldId="905"/>
            <ac:spMk id="8" creationId="{95C88819-C6B8-4AE0-A0E8-DF491C9FAE19}"/>
          </ac:spMkLst>
        </pc:spChg>
        <pc:spChg chg="del">
          <ac:chgData name="Kaltrina Rexhahmetaj" userId="S::kaltrina.rexhahmetaj@bvh.org::c314e318-93e0-4c36-9995-6aa0f00e0010" providerId="AD" clId="Web-{6B1E5ED4-B0EE-9969-BA16-54CE7A1DE464}" dt="2020-03-17T21:03:43.478" v="260"/>
          <ac:spMkLst>
            <pc:docMk/>
            <pc:sldMk cId="2678682897" sldId="905"/>
            <ac:spMk id="10" creationId="{E9FF82AE-70C2-4419-9B00-586F8D61D405}"/>
          </ac:spMkLst>
        </pc:spChg>
        <pc:spChg chg="del">
          <ac:chgData name="Kaltrina Rexhahmetaj" userId="S::kaltrina.rexhahmetaj@bvh.org::c314e318-93e0-4c36-9995-6aa0f00e0010" providerId="AD" clId="Web-{6B1E5ED4-B0EE-9969-BA16-54CE7A1DE464}" dt="2020-03-17T21:03:43.478" v="259"/>
          <ac:spMkLst>
            <pc:docMk/>
            <pc:sldMk cId="2678682897" sldId="905"/>
            <ac:spMk id="11" creationId="{131C0868-17DF-442A-89BC-0418FE6B641F}"/>
          </ac:spMkLst>
        </pc:spChg>
        <pc:spChg chg="del">
          <ac:chgData name="Kaltrina Rexhahmetaj" userId="S::kaltrina.rexhahmetaj@bvh.org::c314e318-93e0-4c36-9995-6aa0f00e0010" providerId="AD" clId="Web-{6B1E5ED4-B0EE-9969-BA16-54CE7A1DE464}" dt="2020-03-17T21:03:43.478" v="258"/>
          <ac:spMkLst>
            <pc:docMk/>
            <pc:sldMk cId="2678682897" sldId="905"/>
            <ac:spMk id="12" creationId="{9C65C11C-9F98-42E1-B4FD-271EB6F471E3}"/>
          </ac:spMkLst>
        </pc:spChg>
        <pc:spChg chg="del">
          <ac:chgData name="Kaltrina Rexhahmetaj" userId="S::kaltrina.rexhahmetaj@bvh.org::c314e318-93e0-4c36-9995-6aa0f00e0010" providerId="AD" clId="Web-{6B1E5ED4-B0EE-9969-BA16-54CE7A1DE464}" dt="2020-03-17T21:03:43.478" v="257"/>
          <ac:spMkLst>
            <pc:docMk/>
            <pc:sldMk cId="2678682897" sldId="905"/>
            <ac:spMk id="13" creationId="{33D07A28-8408-4010-B7E7-0E8195FBB033}"/>
          </ac:spMkLst>
        </pc:spChg>
        <pc:spChg chg="add mod">
          <ac:chgData name="Kaltrina Rexhahmetaj" userId="S::kaltrina.rexhahmetaj@bvh.org::c314e318-93e0-4c36-9995-6aa0f00e0010" providerId="AD" clId="Web-{6B1E5ED4-B0EE-9969-BA16-54CE7A1DE464}" dt="2020-03-17T21:04:41.353" v="285" actId="20577"/>
          <ac:spMkLst>
            <pc:docMk/>
            <pc:sldMk cId="2678682897" sldId="905"/>
            <ac:spMk id="14" creationId="{2B94BE4D-BC21-4E7B-9893-57BF8CA2B148}"/>
          </ac:spMkLst>
        </pc:spChg>
        <pc:spChg chg="add del mod">
          <ac:chgData name="Kaltrina Rexhahmetaj" userId="S::kaltrina.rexhahmetaj@bvh.org::c314e318-93e0-4c36-9995-6aa0f00e0010" providerId="AD" clId="Web-{6B1E5ED4-B0EE-9969-BA16-54CE7A1DE464}" dt="2020-03-17T21:06:35.572" v="289"/>
          <ac:spMkLst>
            <pc:docMk/>
            <pc:sldMk cId="2678682897" sldId="905"/>
            <ac:spMk id="15" creationId="{818FBCA5-E627-469D-95C4-BB8B43EACFCB}"/>
          </ac:spMkLst>
        </pc:spChg>
        <pc:spChg chg="add del">
          <ac:chgData name="Kaltrina Rexhahmetaj" userId="S::kaltrina.rexhahmetaj@bvh.org::c314e318-93e0-4c36-9995-6aa0f00e0010" providerId="AD" clId="Web-{6B1E5ED4-B0EE-9969-BA16-54CE7A1DE464}" dt="2020-03-17T21:04:14.650" v="279"/>
          <ac:spMkLst>
            <pc:docMk/>
            <pc:sldMk cId="2678682897" sldId="905"/>
            <ac:spMk id="16" creationId="{F2B09760-6E4E-4B60-AF54-0A736D78895A}"/>
          </ac:spMkLst>
        </pc:spChg>
      </pc:sldChg>
      <pc:sldChg chg="addSp delSp modSp add del replId">
        <pc:chgData name="Kaltrina Rexhahmetaj" userId="S::kaltrina.rexhahmetaj@bvh.org::c314e318-93e0-4c36-9995-6aa0f00e0010" providerId="AD" clId="Web-{6B1E5ED4-B0EE-9969-BA16-54CE7A1DE464}" dt="2020-03-17T21:08:43.259" v="299"/>
        <pc:sldMkLst>
          <pc:docMk/>
          <pc:sldMk cId="3157406377" sldId="906"/>
        </pc:sldMkLst>
        <pc:spChg chg="del">
          <ac:chgData name="Kaltrina Rexhahmetaj" userId="S::kaltrina.rexhahmetaj@bvh.org::c314e318-93e0-4c36-9995-6aa0f00e0010" providerId="AD" clId="Web-{6B1E5ED4-B0EE-9969-BA16-54CE7A1DE464}" dt="2020-03-17T21:07:09.447" v="292"/>
          <ac:spMkLst>
            <pc:docMk/>
            <pc:sldMk cId="3157406377" sldId="906"/>
            <ac:spMk id="4" creationId="{D00F63D5-21BC-4C6C-98CF-558B1EA11CF9}"/>
          </ac:spMkLst>
        </pc:spChg>
        <pc:spChg chg="add mod">
          <ac:chgData name="Kaltrina Rexhahmetaj" userId="S::kaltrina.rexhahmetaj@bvh.org::c314e318-93e0-4c36-9995-6aa0f00e0010" providerId="AD" clId="Web-{6B1E5ED4-B0EE-9969-BA16-54CE7A1DE464}" dt="2020-03-17T21:07:09.447" v="292"/>
          <ac:spMkLst>
            <pc:docMk/>
            <pc:sldMk cId="3157406377" sldId="906"/>
            <ac:spMk id="5" creationId="{008C4137-018B-4443-A851-A67414804B11}"/>
          </ac:spMkLst>
        </pc:spChg>
        <pc:spChg chg="del">
          <ac:chgData name="Kaltrina Rexhahmetaj" userId="S::kaltrina.rexhahmetaj@bvh.org::c314e318-93e0-4c36-9995-6aa0f00e0010" providerId="AD" clId="Web-{6B1E5ED4-B0EE-9969-BA16-54CE7A1DE464}" dt="2020-03-17T21:07:09.306" v="291"/>
          <ac:spMkLst>
            <pc:docMk/>
            <pc:sldMk cId="3157406377" sldId="906"/>
            <ac:spMk id="14" creationId="{2B94BE4D-BC21-4E7B-9893-57BF8CA2B148}"/>
          </ac:spMkLst>
        </pc:spChg>
      </pc:sldChg>
      <pc:sldChg chg="add del">
        <pc:chgData name="Kaltrina Rexhahmetaj" userId="S::kaltrina.rexhahmetaj@bvh.org::c314e318-93e0-4c36-9995-6aa0f00e0010" providerId="AD" clId="Web-{6B1E5ED4-B0EE-9969-BA16-54CE7A1DE464}" dt="2020-03-17T21:08:21.822" v="296"/>
        <pc:sldMkLst>
          <pc:docMk/>
          <pc:sldMk cId="1686936237" sldId="907"/>
        </pc:sldMkLst>
      </pc:sldChg>
      <pc:sldChg chg="add">
        <pc:chgData name="Kaltrina Rexhahmetaj" userId="S::kaltrina.rexhahmetaj@bvh.org::c314e318-93e0-4c36-9995-6aa0f00e0010" providerId="AD" clId="Web-{6B1E5ED4-B0EE-9969-BA16-54CE7A1DE464}" dt="2020-03-17T21:08:21.978" v="297"/>
        <pc:sldMkLst>
          <pc:docMk/>
          <pc:sldMk cId="3076847326" sldId="907"/>
        </pc:sldMkLst>
      </pc:sldChg>
      <pc:sldChg chg="addSp delSp modSp add replId modNotes">
        <pc:chgData name="Kaltrina Rexhahmetaj" userId="S::kaltrina.rexhahmetaj@bvh.org::c314e318-93e0-4c36-9995-6aa0f00e0010" providerId="AD" clId="Web-{6B1E5ED4-B0EE-9969-BA16-54CE7A1DE464}" dt="2020-03-17T21:09:26.024" v="306"/>
        <pc:sldMkLst>
          <pc:docMk/>
          <pc:sldMk cId="944422674" sldId="908"/>
        </pc:sldMkLst>
        <pc:spChg chg="del">
          <ac:chgData name="Kaltrina Rexhahmetaj" userId="S::kaltrina.rexhahmetaj@bvh.org::c314e318-93e0-4c36-9995-6aa0f00e0010" providerId="AD" clId="Web-{6B1E5ED4-B0EE-9969-BA16-54CE7A1DE464}" dt="2020-03-17T21:08:50.228" v="301"/>
          <ac:spMkLst>
            <pc:docMk/>
            <pc:sldMk cId="944422674" sldId="908"/>
            <ac:spMk id="4" creationId="{D00F63D5-21BC-4C6C-98CF-558B1EA11CF9}"/>
          </ac:spMkLst>
        </pc:spChg>
        <pc:spChg chg="add del mod">
          <ac:chgData name="Kaltrina Rexhahmetaj" userId="S::kaltrina.rexhahmetaj@bvh.org::c314e318-93e0-4c36-9995-6aa0f00e0010" providerId="AD" clId="Web-{6B1E5ED4-B0EE-9969-BA16-54CE7A1DE464}" dt="2020-03-17T21:09:26.024" v="306"/>
          <ac:spMkLst>
            <pc:docMk/>
            <pc:sldMk cId="944422674" sldId="908"/>
            <ac:spMk id="5" creationId="{80FF04C5-F8CB-46CA-9EBF-C43594EF3F13}"/>
          </ac:spMkLst>
        </pc:spChg>
        <pc:spChg chg="add">
          <ac:chgData name="Kaltrina Rexhahmetaj" userId="S::kaltrina.rexhahmetaj@bvh.org::c314e318-93e0-4c36-9995-6aa0f00e0010" providerId="AD" clId="Web-{6B1E5ED4-B0EE-9969-BA16-54CE7A1DE464}" dt="2020-03-17T21:09:11.743" v="303"/>
          <ac:spMkLst>
            <pc:docMk/>
            <pc:sldMk cId="944422674" sldId="908"/>
            <ac:spMk id="7" creationId="{5ED82669-B29C-4A8D-B51C-EA23FE2DE80B}"/>
          </ac:spMkLst>
        </pc:spChg>
        <pc:spChg chg="add del">
          <ac:chgData name="Kaltrina Rexhahmetaj" userId="S::kaltrina.rexhahmetaj@bvh.org::c314e318-93e0-4c36-9995-6aa0f00e0010" providerId="AD" clId="Web-{6B1E5ED4-B0EE-9969-BA16-54CE7A1DE464}" dt="2020-03-17T21:09:23.634" v="305"/>
          <ac:spMkLst>
            <pc:docMk/>
            <pc:sldMk cId="944422674" sldId="908"/>
            <ac:spMk id="8" creationId="{48BB49F6-1B09-47F1-AB31-E9F7027BC144}"/>
          </ac:spMkLst>
        </pc:spChg>
        <pc:spChg chg="del">
          <ac:chgData name="Kaltrina Rexhahmetaj" userId="S::kaltrina.rexhahmetaj@bvh.org::c314e318-93e0-4c36-9995-6aa0f00e0010" providerId="AD" clId="Web-{6B1E5ED4-B0EE-9969-BA16-54CE7A1DE464}" dt="2020-03-17T21:08:50.087" v="300"/>
          <ac:spMkLst>
            <pc:docMk/>
            <pc:sldMk cId="944422674" sldId="908"/>
            <ac:spMk id="14" creationId="{2B94BE4D-BC21-4E7B-9893-57BF8CA2B148}"/>
          </ac:spMkLst>
        </pc:spChg>
      </pc:sldChg>
      <pc:sldChg chg="addSp delSp add replId">
        <pc:chgData name="Kaltrina Rexhahmetaj" userId="S::kaltrina.rexhahmetaj@bvh.org::c314e318-93e0-4c36-9995-6aa0f00e0010" providerId="AD" clId="Web-{6B1E5ED4-B0EE-9969-BA16-54CE7A1DE464}" dt="2020-03-17T21:09:51.321" v="310"/>
        <pc:sldMkLst>
          <pc:docMk/>
          <pc:sldMk cId="1882086814" sldId="909"/>
        </pc:sldMkLst>
        <pc:spChg chg="del">
          <ac:chgData name="Kaltrina Rexhahmetaj" userId="S::kaltrina.rexhahmetaj@bvh.org::c314e318-93e0-4c36-9995-6aa0f00e0010" providerId="AD" clId="Web-{6B1E5ED4-B0EE-9969-BA16-54CE7A1DE464}" dt="2020-03-17T21:09:30.587" v="309"/>
          <ac:spMkLst>
            <pc:docMk/>
            <pc:sldMk cId="1882086814" sldId="909"/>
            <ac:spMk id="5" creationId="{80FF04C5-F8CB-46CA-9EBF-C43594EF3F13}"/>
          </ac:spMkLst>
        </pc:spChg>
        <pc:spChg chg="del">
          <ac:chgData name="Kaltrina Rexhahmetaj" userId="S::kaltrina.rexhahmetaj@bvh.org::c314e318-93e0-4c36-9995-6aa0f00e0010" providerId="AD" clId="Web-{6B1E5ED4-B0EE-9969-BA16-54CE7A1DE464}" dt="2020-03-17T21:09:30.587" v="308"/>
          <ac:spMkLst>
            <pc:docMk/>
            <pc:sldMk cId="1882086814" sldId="909"/>
            <ac:spMk id="7" creationId="{5ED82669-B29C-4A8D-B51C-EA23FE2DE80B}"/>
          </ac:spMkLst>
        </pc:spChg>
        <pc:spChg chg="del">
          <ac:chgData name="Kaltrina Rexhahmetaj" userId="S::kaltrina.rexhahmetaj@bvh.org::c314e318-93e0-4c36-9995-6aa0f00e0010" providerId="AD" clId="Web-{6B1E5ED4-B0EE-9969-BA16-54CE7A1DE464}" dt="2020-03-17T21:09:30.587" v="307"/>
          <ac:spMkLst>
            <pc:docMk/>
            <pc:sldMk cId="1882086814" sldId="909"/>
            <ac:spMk id="8" creationId="{48BB49F6-1B09-47F1-AB31-E9F7027BC144}"/>
          </ac:spMkLst>
        </pc:spChg>
        <pc:spChg chg="add">
          <ac:chgData name="Kaltrina Rexhahmetaj" userId="S::kaltrina.rexhahmetaj@bvh.org::c314e318-93e0-4c36-9995-6aa0f00e0010" providerId="AD" clId="Web-{6B1E5ED4-B0EE-9969-BA16-54CE7A1DE464}" dt="2020-03-17T21:09:51.321" v="310"/>
          <ac:spMkLst>
            <pc:docMk/>
            <pc:sldMk cId="1882086814" sldId="909"/>
            <ac:spMk id="10" creationId="{259F2ABF-38B9-42E8-B300-400892B6FF47}"/>
          </ac:spMkLst>
        </pc:spChg>
        <pc:spChg chg="add">
          <ac:chgData name="Kaltrina Rexhahmetaj" userId="S::kaltrina.rexhahmetaj@bvh.org::c314e318-93e0-4c36-9995-6aa0f00e0010" providerId="AD" clId="Web-{6B1E5ED4-B0EE-9969-BA16-54CE7A1DE464}" dt="2020-03-17T21:09:51.321" v="310"/>
          <ac:spMkLst>
            <pc:docMk/>
            <pc:sldMk cId="1882086814" sldId="909"/>
            <ac:spMk id="11" creationId="{6638FA4B-28E7-462E-904B-241B1B932AAC}"/>
          </ac:spMkLst>
        </pc:spChg>
        <pc:spChg chg="add">
          <ac:chgData name="Kaltrina Rexhahmetaj" userId="S::kaltrina.rexhahmetaj@bvh.org::c314e318-93e0-4c36-9995-6aa0f00e0010" providerId="AD" clId="Web-{6B1E5ED4-B0EE-9969-BA16-54CE7A1DE464}" dt="2020-03-17T21:09:51.321" v="310"/>
          <ac:spMkLst>
            <pc:docMk/>
            <pc:sldMk cId="1882086814" sldId="909"/>
            <ac:spMk id="13" creationId="{49471C94-C3D2-434C-AB54-4E4ECF2F581E}"/>
          </ac:spMkLst>
        </pc:spChg>
        <pc:spChg chg="add">
          <ac:chgData name="Kaltrina Rexhahmetaj" userId="S::kaltrina.rexhahmetaj@bvh.org::c314e318-93e0-4c36-9995-6aa0f00e0010" providerId="AD" clId="Web-{6B1E5ED4-B0EE-9969-BA16-54CE7A1DE464}" dt="2020-03-17T21:09:51.321" v="310"/>
          <ac:spMkLst>
            <pc:docMk/>
            <pc:sldMk cId="1882086814" sldId="909"/>
            <ac:spMk id="14" creationId="{DDE883CA-81D6-45EC-A745-EDC695779B18}"/>
          </ac:spMkLst>
        </pc:spChg>
        <pc:picChg chg="add">
          <ac:chgData name="Kaltrina Rexhahmetaj" userId="S::kaltrina.rexhahmetaj@bvh.org::c314e318-93e0-4c36-9995-6aa0f00e0010" providerId="AD" clId="Web-{6B1E5ED4-B0EE-9969-BA16-54CE7A1DE464}" dt="2020-03-17T21:09:51.321" v="310"/>
          <ac:picMkLst>
            <pc:docMk/>
            <pc:sldMk cId="1882086814" sldId="909"/>
            <ac:picMk id="6" creationId="{91A18C71-F5F5-46EE-BC5A-116E7D34A7B4}"/>
          </ac:picMkLst>
        </pc:picChg>
        <pc:picChg chg="add">
          <ac:chgData name="Kaltrina Rexhahmetaj" userId="S::kaltrina.rexhahmetaj@bvh.org::c314e318-93e0-4c36-9995-6aa0f00e0010" providerId="AD" clId="Web-{6B1E5ED4-B0EE-9969-BA16-54CE7A1DE464}" dt="2020-03-17T21:09:51.321" v="310"/>
          <ac:picMkLst>
            <pc:docMk/>
            <pc:sldMk cId="1882086814" sldId="909"/>
            <ac:picMk id="9" creationId="{40A7EE9F-DA1B-46D4-A420-FF781C60733F}"/>
          </ac:picMkLst>
        </pc:picChg>
        <pc:picChg chg="add">
          <ac:chgData name="Kaltrina Rexhahmetaj" userId="S::kaltrina.rexhahmetaj@bvh.org::c314e318-93e0-4c36-9995-6aa0f00e0010" providerId="AD" clId="Web-{6B1E5ED4-B0EE-9969-BA16-54CE7A1DE464}" dt="2020-03-17T21:09:51.321" v="310"/>
          <ac:picMkLst>
            <pc:docMk/>
            <pc:sldMk cId="1882086814" sldId="909"/>
            <ac:picMk id="12" creationId="{F66F70B6-F82F-4F91-82C8-8D0029EB3AA4}"/>
          </ac:picMkLst>
        </pc:picChg>
      </pc:sldChg>
      <pc:sldMasterChg chg="add del addSldLayout delSldLayout">
        <pc:chgData name="Kaltrina Rexhahmetaj" userId="S::kaltrina.rexhahmetaj@bvh.org::c314e318-93e0-4c36-9995-6aa0f00e0010" providerId="AD" clId="Web-{6B1E5ED4-B0EE-9969-BA16-54CE7A1DE464}" dt="2020-03-17T20:57:16.620" v="211"/>
        <pc:sldMasterMkLst>
          <pc:docMk/>
          <pc:sldMasterMk cId="2624283772" sldId="2147483652"/>
        </pc:sldMasterMkLst>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632844399" sldId="2147483653"/>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392832859" sldId="2147483697"/>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089845575" sldId="2147483714"/>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736696790" sldId="2147483715"/>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028773520" sldId="2147483718"/>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496215669" sldId="2147483719"/>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377488926" sldId="2147483720"/>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986889164" sldId="2147483721"/>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693076196" sldId="2147483735"/>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734401830" sldId="2147483739"/>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43359454" sldId="2147483740"/>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006440406" sldId="2147483741"/>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198967133" sldId="2147483742"/>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4096975452" sldId="2147483743"/>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755947224" sldId="2147483744"/>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853111927" sldId="2147483745"/>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064741794" sldId="2147483746"/>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904353857" sldId="2147483747"/>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4167418699" sldId="2147483749"/>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666988546" sldId="2147483752"/>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544170886" sldId="2147483753"/>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667278915" sldId="2147483754"/>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443722769" sldId="2147483755"/>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4223349131" sldId="2147483756"/>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853212250" sldId="2147483757"/>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002167144" sldId="2147483758"/>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3513188" sldId="2147483759"/>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437904958" sldId="2147483760"/>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304304167" sldId="2147483761"/>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706402758" sldId="2147483762"/>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042979973" sldId="2147483763"/>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592458003" sldId="2147483764"/>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4134798410" sldId="2147483765"/>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882976681" sldId="2147483766"/>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393673675" sldId="2147483767"/>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049776144" sldId="2147483768"/>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563038338" sldId="2147483769"/>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002621720" sldId="2147483770"/>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3638636310" sldId="2147483771"/>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2225659805" sldId="2147483772"/>
          </pc:sldLayoutMkLst>
        </pc:sldLayoutChg>
        <pc:sldLayoutChg chg="add del">
          <pc:chgData name="Kaltrina Rexhahmetaj" userId="S::kaltrina.rexhahmetaj@bvh.org::c314e318-93e0-4c36-9995-6aa0f00e0010" providerId="AD" clId="Web-{6B1E5ED4-B0EE-9969-BA16-54CE7A1DE464}" dt="2020-03-17T20:57:16.620" v="211"/>
          <pc:sldLayoutMkLst>
            <pc:docMk/>
            <pc:sldMasterMk cId="2624283772" sldId="2147483652"/>
            <pc:sldLayoutMk cId="1152885893" sldId="2147483773"/>
          </pc:sldLayoutMkLst>
        </pc:sldLayoutChg>
      </pc:sldMasterChg>
      <pc:sldMasterChg chg="replId modSldLayout">
        <pc:chgData name="Kaltrina Rexhahmetaj" userId="S::kaltrina.rexhahmetaj@bvh.org::c314e318-93e0-4c36-9995-6aa0f00e0010" providerId="AD" clId="Web-{6B1E5ED4-B0EE-9969-BA16-54CE7A1DE464}" dt="2020-03-17T20:57:16.620" v="211"/>
        <pc:sldMasterMkLst>
          <pc:docMk/>
          <pc:sldMasterMk cId="2085862480" sldId="2147483809"/>
        </pc:sldMasterMkLst>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1504272442" sldId="2147483810"/>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1621625450" sldId="2147483811"/>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1086464709" sldId="2147483812"/>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926947552" sldId="2147483813"/>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931621169" sldId="2147483814"/>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2039008401" sldId="2147483815"/>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1054216399" sldId="2147483816"/>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2143048293" sldId="2147483817"/>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1678087716" sldId="2147483818"/>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3307653724" sldId="2147483819"/>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817633971" sldId="2147483820"/>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886124316" sldId="2147483821"/>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4058410390" sldId="2147483822"/>
          </pc:sldLayoutMkLst>
        </pc:sldLayoutChg>
        <pc:sldLayoutChg chg="replId">
          <pc:chgData name="Kaltrina Rexhahmetaj" userId="S::kaltrina.rexhahmetaj@bvh.org::c314e318-93e0-4c36-9995-6aa0f00e0010" providerId="AD" clId="Web-{6B1E5ED4-B0EE-9969-BA16-54CE7A1DE464}" dt="2020-03-17T20:57:16.620" v="211"/>
          <pc:sldLayoutMkLst>
            <pc:docMk/>
            <pc:sldMasterMk cId="2085862480" sldId="2147483809"/>
            <pc:sldLayoutMk cId="497790077" sldId="2147483823"/>
          </pc:sldLayoutMkLst>
        </pc:sldLayoutChg>
      </pc:sldMasterChg>
      <pc:sldMasterChg chg="replId">
        <pc:chgData name="Kaltrina Rexhahmetaj" userId="S::kaltrina.rexhahmetaj@bvh.org::c314e318-93e0-4c36-9995-6aa0f00e0010" providerId="AD" clId="Web-{6B1E5ED4-B0EE-9969-BA16-54CE7A1DE464}" dt="2020-03-17T20:57:16.620" v="211"/>
        <pc:sldMasterMkLst>
          <pc:docMk/>
          <pc:sldMasterMk cId="3859193514" sldId="2147483824"/>
        </pc:sldMasterMkLst>
      </pc:sldMasterChg>
    </pc:docChg>
  </pc:docChgLst>
  <pc:docChgLst>
    <pc:chgData name="Kaltrina Rexhahmetaj" userId="S::kaltrina.rexhahmetaj@bvh.org::c314e318-93e0-4c36-9995-6aa0f00e0010" providerId="AD" clId="Web-{321291FF-3ED2-D1AB-6EC7-3F82956190C7}"/>
    <pc:docChg chg="addSld delSld modSld">
      <pc:chgData name="Kaltrina Rexhahmetaj" userId="S::kaltrina.rexhahmetaj@bvh.org::c314e318-93e0-4c36-9995-6aa0f00e0010" providerId="AD" clId="Web-{321291FF-3ED2-D1AB-6EC7-3F82956190C7}" dt="2020-03-17T21:48:50.776" v="616" actId="1076"/>
      <pc:docMkLst>
        <pc:docMk/>
      </pc:docMkLst>
      <pc:sldChg chg="del">
        <pc:chgData name="Kaltrina Rexhahmetaj" userId="S::kaltrina.rexhahmetaj@bvh.org::c314e318-93e0-4c36-9995-6aa0f00e0010" providerId="AD" clId="Web-{321291FF-3ED2-D1AB-6EC7-3F82956190C7}" dt="2020-03-17T21:12:40.411" v="20"/>
        <pc:sldMkLst>
          <pc:docMk/>
          <pc:sldMk cId="1882086814" sldId="909"/>
        </pc:sldMkLst>
      </pc:sldChg>
      <pc:sldChg chg="addSp delSp modSp add del replId">
        <pc:chgData name="Kaltrina Rexhahmetaj" userId="S::kaltrina.rexhahmetaj@bvh.org::c314e318-93e0-4c36-9995-6aa0f00e0010" providerId="AD" clId="Web-{321291FF-3ED2-D1AB-6EC7-3F82956190C7}" dt="2020-03-17T21:12:35.005" v="19"/>
        <pc:sldMkLst>
          <pc:docMk/>
          <pc:sldMk cId="2626329682" sldId="910"/>
        </pc:sldMkLst>
        <pc:spChg chg="del">
          <ac:chgData name="Kaltrina Rexhahmetaj" userId="S::kaltrina.rexhahmetaj@bvh.org::c314e318-93e0-4c36-9995-6aa0f00e0010" providerId="AD" clId="Web-{321291FF-3ED2-D1AB-6EC7-3F82956190C7}" dt="2020-03-17T21:11:33.474" v="1"/>
          <ac:spMkLst>
            <pc:docMk/>
            <pc:sldMk cId="2626329682" sldId="910"/>
            <ac:spMk id="7" creationId="{5ED82669-B29C-4A8D-B51C-EA23FE2DE80B}"/>
          </ac:spMkLst>
        </pc:spChg>
        <pc:spChg chg="add mod">
          <ac:chgData name="Kaltrina Rexhahmetaj" userId="S::kaltrina.rexhahmetaj@bvh.org::c314e318-93e0-4c36-9995-6aa0f00e0010" providerId="AD" clId="Web-{321291FF-3ED2-D1AB-6EC7-3F82956190C7}" dt="2020-03-17T21:11:45.146" v="10" actId="1076"/>
          <ac:spMkLst>
            <pc:docMk/>
            <pc:sldMk cId="2626329682" sldId="910"/>
            <ac:spMk id="9" creationId="{358BE1B2-0C29-425F-84CB-BB8D0034C6DA}"/>
          </ac:spMkLst>
        </pc:spChg>
        <pc:spChg chg="add mod">
          <ac:chgData name="Kaltrina Rexhahmetaj" userId="S::kaltrina.rexhahmetaj@bvh.org::c314e318-93e0-4c36-9995-6aa0f00e0010" providerId="AD" clId="Web-{321291FF-3ED2-D1AB-6EC7-3F82956190C7}" dt="2020-03-17T21:11:45.162" v="11" actId="1076"/>
          <ac:spMkLst>
            <pc:docMk/>
            <pc:sldMk cId="2626329682" sldId="910"/>
            <ac:spMk id="11" creationId="{0F4E5128-1070-4E75-8985-ACA4268F7AB5}"/>
          </ac:spMkLst>
        </pc:spChg>
        <pc:spChg chg="add del mod">
          <ac:chgData name="Kaltrina Rexhahmetaj" userId="S::kaltrina.rexhahmetaj@bvh.org::c314e318-93e0-4c36-9995-6aa0f00e0010" providerId="AD" clId="Web-{321291FF-3ED2-D1AB-6EC7-3F82956190C7}" dt="2020-03-17T21:11:50.193" v="17"/>
          <ac:spMkLst>
            <pc:docMk/>
            <pc:sldMk cId="2626329682" sldId="910"/>
            <ac:spMk id="15" creationId="{5E118FCC-FA72-48B7-83CD-9AD11559D43C}"/>
          </ac:spMkLst>
        </pc:spChg>
        <pc:spChg chg="add mod">
          <ac:chgData name="Kaltrina Rexhahmetaj" userId="S::kaltrina.rexhahmetaj@bvh.org::c314e318-93e0-4c36-9995-6aa0f00e0010" providerId="AD" clId="Web-{321291FF-3ED2-D1AB-6EC7-3F82956190C7}" dt="2020-03-17T21:11:45.177" v="13" actId="1076"/>
          <ac:spMkLst>
            <pc:docMk/>
            <pc:sldMk cId="2626329682" sldId="910"/>
            <ac:spMk id="17" creationId="{A2193953-CC82-48D5-BDD3-4656FE632EB3}"/>
          </ac:spMkLst>
        </pc:spChg>
        <pc:picChg chg="add mod">
          <ac:chgData name="Kaltrina Rexhahmetaj" userId="S::kaltrina.rexhahmetaj@bvh.org::c314e318-93e0-4c36-9995-6aa0f00e0010" providerId="AD" clId="Web-{321291FF-3ED2-D1AB-6EC7-3F82956190C7}" dt="2020-03-17T21:11:45.193" v="14" actId="1076"/>
          <ac:picMkLst>
            <pc:docMk/>
            <pc:sldMk cId="2626329682" sldId="910"/>
            <ac:picMk id="3" creationId="{B87E4C5E-9E7E-4385-AEAF-A810603E807F}"/>
          </ac:picMkLst>
        </pc:picChg>
        <pc:picChg chg="add mod">
          <ac:chgData name="Kaltrina Rexhahmetaj" userId="S::kaltrina.rexhahmetaj@bvh.org::c314e318-93e0-4c36-9995-6aa0f00e0010" providerId="AD" clId="Web-{321291FF-3ED2-D1AB-6EC7-3F82956190C7}" dt="2020-03-17T21:11:45.130" v="9" actId="1076"/>
          <ac:picMkLst>
            <pc:docMk/>
            <pc:sldMk cId="2626329682" sldId="910"/>
            <ac:picMk id="5" creationId="{DDCAC3C6-498B-42E2-B426-164D96C36621}"/>
          </ac:picMkLst>
        </pc:picChg>
        <pc:picChg chg="add mod">
          <ac:chgData name="Kaltrina Rexhahmetaj" userId="S::kaltrina.rexhahmetaj@bvh.org::c314e318-93e0-4c36-9995-6aa0f00e0010" providerId="AD" clId="Web-{321291FF-3ED2-D1AB-6EC7-3F82956190C7}" dt="2020-03-17T21:11:45.224" v="15" actId="1076"/>
          <ac:picMkLst>
            <pc:docMk/>
            <pc:sldMk cId="2626329682" sldId="910"/>
            <ac:picMk id="13" creationId="{A9E17E4E-7348-4352-B556-E64324394FBA}"/>
          </ac:picMkLst>
        </pc:picChg>
      </pc:sldChg>
      <pc:sldChg chg="add del">
        <pc:chgData name="Kaltrina Rexhahmetaj" userId="S::kaltrina.rexhahmetaj@bvh.org::c314e318-93e0-4c36-9995-6aa0f00e0010" providerId="AD" clId="Web-{321291FF-3ED2-D1AB-6EC7-3F82956190C7}" dt="2020-03-17T21:14:56.973" v="85"/>
        <pc:sldMkLst>
          <pc:docMk/>
          <pc:sldMk cId="1360837166" sldId="911"/>
        </pc:sldMkLst>
      </pc:sldChg>
      <pc:sldChg chg="addSp delSp modSp add replId modNotes">
        <pc:chgData name="Kaltrina Rexhahmetaj" userId="S::kaltrina.rexhahmetaj@bvh.org::c314e318-93e0-4c36-9995-6aa0f00e0010" providerId="AD" clId="Web-{321291FF-3ED2-D1AB-6EC7-3F82956190C7}" dt="2020-03-17T21:16:36.270" v="114" actId="20577"/>
        <pc:sldMkLst>
          <pc:docMk/>
          <pc:sldMk cId="1032095997" sldId="912"/>
        </pc:sldMkLst>
        <pc:spChg chg="del">
          <ac:chgData name="Kaltrina Rexhahmetaj" userId="S::kaltrina.rexhahmetaj@bvh.org::c314e318-93e0-4c36-9995-6aa0f00e0010" providerId="AD" clId="Web-{321291FF-3ED2-D1AB-6EC7-3F82956190C7}" dt="2020-03-17T21:13:05.099" v="25"/>
          <ac:spMkLst>
            <pc:docMk/>
            <pc:sldMk cId="1032095997" sldId="912"/>
            <ac:spMk id="4" creationId="{D00F63D5-21BC-4C6C-98CF-558B1EA11CF9}"/>
          </ac:spMkLst>
        </pc:spChg>
        <pc:spChg chg="add mod">
          <ac:chgData name="Kaltrina Rexhahmetaj" userId="S::kaltrina.rexhahmetaj@bvh.org::c314e318-93e0-4c36-9995-6aa0f00e0010" providerId="AD" clId="Web-{321291FF-3ED2-D1AB-6EC7-3F82956190C7}" dt="2020-03-17T21:16:36.270" v="114" actId="20577"/>
          <ac:spMkLst>
            <pc:docMk/>
            <pc:sldMk cId="1032095997" sldId="912"/>
            <ac:spMk id="5" creationId="{4435FF94-30D8-419E-BDAF-E47BEE49E709}"/>
          </ac:spMkLst>
        </pc:spChg>
        <pc:spChg chg="add mod">
          <ac:chgData name="Kaltrina Rexhahmetaj" userId="S::kaltrina.rexhahmetaj@bvh.org::c314e318-93e0-4c36-9995-6aa0f00e0010" providerId="AD" clId="Web-{321291FF-3ED2-D1AB-6EC7-3F82956190C7}" dt="2020-03-17T21:14:36.130" v="77" actId="1076"/>
          <ac:spMkLst>
            <pc:docMk/>
            <pc:sldMk cId="1032095997" sldId="912"/>
            <ac:spMk id="6" creationId="{387C695B-C042-48CD-BF20-C99FE76F62D0}"/>
          </ac:spMkLst>
        </pc:spChg>
        <pc:spChg chg="add mod">
          <ac:chgData name="Kaltrina Rexhahmetaj" userId="S::kaltrina.rexhahmetaj@bvh.org::c314e318-93e0-4c36-9995-6aa0f00e0010" providerId="AD" clId="Web-{321291FF-3ED2-D1AB-6EC7-3F82956190C7}" dt="2020-03-17T21:14:36.192" v="80" actId="1076"/>
          <ac:spMkLst>
            <pc:docMk/>
            <pc:sldMk cId="1032095997" sldId="912"/>
            <ac:spMk id="12" creationId="{45CECB38-F975-41FE-9616-040D4C583B3B}"/>
          </ac:spMkLst>
        </pc:spChg>
        <pc:spChg chg="del">
          <ac:chgData name="Kaltrina Rexhahmetaj" userId="S::kaltrina.rexhahmetaj@bvh.org::c314e318-93e0-4c36-9995-6aa0f00e0010" providerId="AD" clId="Web-{321291FF-3ED2-D1AB-6EC7-3F82956190C7}" dt="2020-03-17T21:13:04.911" v="24"/>
          <ac:spMkLst>
            <pc:docMk/>
            <pc:sldMk cId="1032095997" sldId="912"/>
            <ac:spMk id="14" creationId="{2B94BE4D-BC21-4E7B-9893-57BF8CA2B148}"/>
          </ac:spMkLst>
        </pc:spChg>
        <pc:spChg chg="add mod">
          <ac:chgData name="Kaltrina Rexhahmetaj" userId="S::kaltrina.rexhahmetaj@bvh.org::c314e318-93e0-4c36-9995-6aa0f00e0010" providerId="AD" clId="Web-{321291FF-3ED2-D1AB-6EC7-3F82956190C7}" dt="2020-03-17T21:14:36.208" v="81" actId="1076"/>
          <ac:spMkLst>
            <pc:docMk/>
            <pc:sldMk cId="1032095997" sldId="912"/>
            <ac:spMk id="16" creationId="{14C6D314-6DB7-44C8-85F7-0430BDFED7B6}"/>
          </ac:spMkLst>
        </pc:spChg>
        <pc:spChg chg="add mod">
          <ac:chgData name="Kaltrina Rexhahmetaj" userId="S::kaltrina.rexhahmetaj@bvh.org::c314e318-93e0-4c36-9995-6aa0f00e0010" providerId="AD" clId="Web-{321291FF-3ED2-D1AB-6EC7-3F82956190C7}" dt="2020-03-17T21:14:36.223" v="82" actId="1076"/>
          <ac:spMkLst>
            <pc:docMk/>
            <pc:sldMk cId="1032095997" sldId="912"/>
            <ac:spMk id="18" creationId="{938D4237-8BEB-4765-B5E3-A506A0F96937}"/>
          </ac:spMkLst>
        </pc:spChg>
        <pc:spChg chg="add del mod">
          <ac:chgData name="Kaltrina Rexhahmetaj" userId="S::kaltrina.rexhahmetaj@bvh.org::c314e318-93e0-4c36-9995-6aa0f00e0010" providerId="AD" clId="Web-{321291FF-3ED2-D1AB-6EC7-3F82956190C7}" dt="2020-03-17T21:13:47.348" v="43"/>
          <ac:spMkLst>
            <pc:docMk/>
            <pc:sldMk cId="1032095997" sldId="912"/>
            <ac:spMk id="22" creationId="{1503E147-4369-4AA7-A10B-14870B6B99FE}"/>
          </ac:spMkLst>
        </pc:spChg>
        <pc:spChg chg="add del">
          <ac:chgData name="Kaltrina Rexhahmetaj" userId="S::kaltrina.rexhahmetaj@bvh.org::c314e318-93e0-4c36-9995-6aa0f00e0010" providerId="AD" clId="Web-{321291FF-3ED2-D1AB-6EC7-3F82956190C7}" dt="2020-03-17T21:13:40.224" v="41"/>
          <ac:spMkLst>
            <pc:docMk/>
            <pc:sldMk cId="1032095997" sldId="912"/>
            <ac:spMk id="24" creationId="{B27209B6-6CE1-462A-86FE-8D2BE7834DE9}"/>
          </ac:spMkLst>
        </pc:spChg>
        <pc:picChg chg="add mod">
          <ac:chgData name="Kaltrina Rexhahmetaj" userId="S::kaltrina.rexhahmetaj@bvh.org::c314e318-93e0-4c36-9995-6aa0f00e0010" providerId="AD" clId="Web-{321291FF-3ED2-D1AB-6EC7-3F82956190C7}" dt="2020-03-17T21:14:36.145" v="78" actId="1076"/>
          <ac:picMkLst>
            <pc:docMk/>
            <pc:sldMk cId="1032095997" sldId="912"/>
            <ac:picMk id="8" creationId="{9DE672E6-1E17-4737-86BC-31C46385C150}"/>
          </ac:picMkLst>
        </pc:picChg>
        <pc:picChg chg="add mod">
          <ac:chgData name="Kaltrina Rexhahmetaj" userId="S::kaltrina.rexhahmetaj@bvh.org::c314e318-93e0-4c36-9995-6aa0f00e0010" providerId="AD" clId="Web-{321291FF-3ED2-D1AB-6EC7-3F82956190C7}" dt="2020-03-17T21:14:36.192" v="79" actId="1076"/>
          <ac:picMkLst>
            <pc:docMk/>
            <pc:sldMk cId="1032095997" sldId="912"/>
            <ac:picMk id="10" creationId="{27D1D112-1762-4E09-8969-965668692560}"/>
          </ac:picMkLst>
        </pc:picChg>
        <pc:picChg chg="add mod">
          <ac:chgData name="Kaltrina Rexhahmetaj" userId="S::kaltrina.rexhahmetaj@bvh.org::c314e318-93e0-4c36-9995-6aa0f00e0010" providerId="AD" clId="Web-{321291FF-3ED2-D1AB-6EC7-3F82956190C7}" dt="2020-03-17T21:14:36.255" v="83" actId="1076"/>
          <ac:picMkLst>
            <pc:docMk/>
            <pc:sldMk cId="1032095997" sldId="912"/>
            <ac:picMk id="20" creationId="{7E212295-87EB-4D9D-808F-98D962C16A29}"/>
          </ac:picMkLst>
        </pc:picChg>
      </pc:sldChg>
      <pc:sldChg chg="add del replId">
        <pc:chgData name="Kaltrina Rexhahmetaj" userId="S::kaltrina.rexhahmetaj@bvh.org::c314e318-93e0-4c36-9995-6aa0f00e0010" providerId="AD" clId="Web-{321291FF-3ED2-D1AB-6EC7-3F82956190C7}" dt="2020-03-17T21:12:53.880" v="22"/>
        <pc:sldMkLst>
          <pc:docMk/>
          <pc:sldMk cId="2848230692" sldId="912"/>
        </pc:sldMkLst>
      </pc:sldChg>
      <pc:sldChg chg="addSp delSp modSp add replId modNotes">
        <pc:chgData name="Kaltrina Rexhahmetaj" userId="S::kaltrina.rexhahmetaj@bvh.org::c314e318-93e0-4c36-9995-6aa0f00e0010" providerId="AD" clId="Web-{321291FF-3ED2-D1AB-6EC7-3F82956190C7}" dt="2020-03-17T21:18:46.956" v="117"/>
        <pc:sldMkLst>
          <pc:docMk/>
          <pc:sldMk cId="1416042266" sldId="913"/>
        </pc:sldMkLst>
        <pc:spChg chg="del">
          <ac:chgData name="Kaltrina Rexhahmetaj" userId="S::kaltrina.rexhahmetaj@bvh.org::c314e318-93e0-4c36-9995-6aa0f00e0010" providerId="AD" clId="Web-{321291FF-3ED2-D1AB-6EC7-3F82956190C7}" dt="2020-03-17T21:15:13.004" v="88"/>
          <ac:spMkLst>
            <pc:docMk/>
            <pc:sldMk cId="1416042266" sldId="913"/>
            <ac:spMk id="4" creationId="{D00F63D5-21BC-4C6C-98CF-558B1EA11CF9}"/>
          </ac:spMkLst>
        </pc:spChg>
        <pc:spChg chg="add del mod">
          <ac:chgData name="Kaltrina Rexhahmetaj" userId="S::kaltrina.rexhahmetaj@bvh.org::c314e318-93e0-4c36-9995-6aa0f00e0010" providerId="AD" clId="Web-{321291FF-3ED2-D1AB-6EC7-3F82956190C7}" dt="2020-03-17T21:16:07.973" v="103"/>
          <ac:spMkLst>
            <pc:docMk/>
            <pc:sldMk cId="1416042266" sldId="913"/>
            <ac:spMk id="5" creationId="{709BBCA5-DC23-41F1-B5B4-747000B8311A}"/>
          </ac:spMkLst>
        </pc:spChg>
        <pc:spChg chg="add">
          <ac:chgData name="Kaltrina Rexhahmetaj" userId="S::kaltrina.rexhahmetaj@bvh.org::c314e318-93e0-4c36-9995-6aa0f00e0010" providerId="AD" clId="Web-{321291FF-3ED2-D1AB-6EC7-3F82956190C7}" dt="2020-03-17T21:15:57.254" v="92"/>
          <ac:spMkLst>
            <pc:docMk/>
            <pc:sldMk cId="1416042266" sldId="913"/>
            <ac:spMk id="8" creationId="{E19F1747-6EE2-478C-B811-15615C126396}"/>
          </ac:spMkLst>
        </pc:spChg>
        <pc:spChg chg="add">
          <ac:chgData name="Kaltrina Rexhahmetaj" userId="S::kaltrina.rexhahmetaj@bvh.org::c314e318-93e0-4c36-9995-6aa0f00e0010" providerId="AD" clId="Web-{321291FF-3ED2-D1AB-6EC7-3F82956190C7}" dt="2020-03-17T21:15:57.254" v="92"/>
          <ac:spMkLst>
            <pc:docMk/>
            <pc:sldMk cId="1416042266" sldId="913"/>
            <ac:spMk id="9" creationId="{8DA4F337-0BCB-4E84-8C69-92FD63F9B462}"/>
          </ac:spMkLst>
        </pc:spChg>
        <pc:spChg chg="add">
          <ac:chgData name="Kaltrina Rexhahmetaj" userId="S::kaltrina.rexhahmetaj@bvh.org::c314e318-93e0-4c36-9995-6aa0f00e0010" providerId="AD" clId="Web-{321291FF-3ED2-D1AB-6EC7-3F82956190C7}" dt="2020-03-17T21:15:57.254" v="92"/>
          <ac:spMkLst>
            <pc:docMk/>
            <pc:sldMk cId="1416042266" sldId="913"/>
            <ac:spMk id="10" creationId="{723C164A-D435-444B-BAC1-DD3B9AD7E7DE}"/>
          </ac:spMkLst>
        </pc:spChg>
        <pc:spChg chg="add del mod">
          <ac:chgData name="Kaltrina Rexhahmetaj" userId="S::kaltrina.rexhahmetaj@bvh.org::c314e318-93e0-4c36-9995-6aa0f00e0010" providerId="AD" clId="Web-{321291FF-3ED2-D1AB-6EC7-3F82956190C7}" dt="2020-03-17T21:18:46.956" v="117"/>
          <ac:spMkLst>
            <pc:docMk/>
            <pc:sldMk cId="1416042266" sldId="913"/>
            <ac:spMk id="11" creationId="{7854A46B-6639-4BFE-BE9A-31227270ECAF}"/>
          </ac:spMkLst>
        </pc:spChg>
        <pc:spChg chg="add del mod">
          <ac:chgData name="Kaltrina Rexhahmetaj" userId="S::kaltrina.rexhahmetaj@bvh.org::c314e318-93e0-4c36-9995-6aa0f00e0010" providerId="AD" clId="Web-{321291FF-3ED2-D1AB-6EC7-3F82956190C7}" dt="2020-03-17T21:16:22.754" v="112"/>
          <ac:spMkLst>
            <pc:docMk/>
            <pc:sldMk cId="1416042266" sldId="913"/>
            <ac:spMk id="12" creationId="{0DE41412-D5C7-4B30-BBE7-2C33D76C290D}"/>
          </ac:spMkLst>
        </pc:spChg>
        <pc:spChg chg="add mod">
          <ac:chgData name="Kaltrina Rexhahmetaj" userId="S::kaltrina.rexhahmetaj@bvh.org::c314e318-93e0-4c36-9995-6aa0f00e0010" providerId="AD" clId="Web-{321291FF-3ED2-D1AB-6EC7-3F82956190C7}" dt="2020-03-17T21:16:28.520" v="113" actId="20577"/>
          <ac:spMkLst>
            <pc:docMk/>
            <pc:sldMk cId="1416042266" sldId="913"/>
            <ac:spMk id="13" creationId="{9008BD3B-9C61-4ABD-90F8-EC13EAA1C6DE}"/>
          </ac:spMkLst>
        </pc:spChg>
        <pc:spChg chg="del">
          <ac:chgData name="Kaltrina Rexhahmetaj" userId="S::kaltrina.rexhahmetaj@bvh.org::c314e318-93e0-4c36-9995-6aa0f00e0010" providerId="AD" clId="Web-{321291FF-3ED2-D1AB-6EC7-3F82956190C7}" dt="2020-03-17T21:15:12.832" v="87"/>
          <ac:spMkLst>
            <pc:docMk/>
            <pc:sldMk cId="1416042266" sldId="913"/>
            <ac:spMk id="14" creationId="{2B94BE4D-BC21-4E7B-9893-57BF8CA2B148}"/>
          </ac:spMkLst>
        </pc:spChg>
        <pc:picChg chg="add">
          <ac:chgData name="Kaltrina Rexhahmetaj" userId="S::kaltrina.rexhahmetaj@bvh.org::c314e318-93e0-4c36-9995-6aa0f00e0010" providerId="AD" clId="Web-{321291FF-3ED2-D1AB-6EC7-3F82956190C7}" dt="2020-03-17T21:15:57.254" v="92"/>
          <ac:picMkLst>
            <pc:docMk/>
            <pc:sldMk cId="1416042266" sldId="913"/>
            <ac:picMk id="7" creationId="{1C4C95D8-72E3-48AE-8852-BEB5A0AC5EAB}"/>
          </ac:picMkLst>
        </pc:picChg>
      </pc:sldChg>
      <pc:sldChg chg="addSp delSp modSp add replId">
        <pc:chgData name="Kaltrina Rexhahmetaj" userId="S::kaltrina.rexhahmetaj@bvh.org::c314e318-93e0-4c36-9995-6aa0f00e0010" providerId="AD" clId="Web-{321291FF-3ED2-D1AB-6EC7-3F82956190C7}" dt="2020-03-17T21:20:03.847" v="149"/>
        <pc:sldMkLst>
          <pc:docMk/>
          <pc:sldMk cId="960763035" sldId="914"/>
        </pc:sldMkLst>
        <pc:spChg chg="add mod">
          <ac:chgData name="Kaltrina Rexhahmetaj" userId="S::kaltrina.rexhahmetaj@bvh.org::c314e318-93e0-4c36-9995-6aa0f00e0010" providerId="AD" clId="Web-{321291FF-3ED2-D1AB-6EC7-3F82956190C7}" dt="2020-03-17T21:19:48.347" v="145" actId="20577"/>
          <ac:spMkLst>
            <pc:docMk/>
            <pc:sldMk cId="960763035" sldId="914"/>
            <ac:spMk id="4" creationId="{E09F6DA5-D352-4F42-B8D1-07CF4894029F}"/>
          </ac:spMkLst>
        </pc:spChg>
        <pc:spChg chg="del">
          <ac:chgData name="Kaltrina Rexhahmetaj" userId="S::kaltrina.rexhahmetaj@bvh.org::c314e318-93e0-4c36-9995-6aa0f00e0010" providerId="AD" clId="Web-{321291FF-3ED2-D1AB-6EC7-3F82956190C7}" dt="2020-03-17T21:19:01.519" v="122"/>
          <ac:spMkLst>
            <pc:docMk/>
            <pc:sldMk cId="960763035" sldId="914"/>
            <ac:spMk id="8" creationId="{E19F1747-6EE2-478C-B811-15615C126396}"/>
          </ac:spMkLst>
        </pc:spChg>
        <pc:spChg chg="del">
          <ac:chgData name="Kaltrina Rexhahmetaj" userId="S::kaltrina.rexhahmetaj@bvh.org::c314e318-93e0-4c36-9995-6aa0f00e0010" providerId="AD" clId="Web-{321291FF-3ED2-D1AB-6EC7-3F82956190C7}" dt="2020-03-17T21:19:01.519" v="121"/>
          <ac:spMkLst>
            <pc:docMk/>
            <pc:sldMk cId="960763035" sldId="914"/>
            <ac:spMk id="9" creationId="{8DA4F337-0BCB-4E84-8C69-92FD63F9B462}"/>
          </ac:spMkLst>
        </pc:spChg>
        <pc:spChg chg="del">
          <ac:chgData name="Kaltrina Rexhahmetaj" userId="S::kaltrina.rexhahmetaj@bvh.org::c314e318-93e0-4c36-9995-6aa0f00e0010" providerId="AD" clId="Web-{321291FF-3ED2-D1AB-6EC7-3F82956190C7}" dt="2020-03-17T21:19:01.519" v="120"/>
          <ac:spMkLst>
            <pc:docMk/>
            <pc:sldMk cId="960763035" sldId="914"/>
            <ac:spMk id="10" creationId="{723C164A-D435-444B-BAC1-DD3B9AD7E7DE}"/>
          </ac:spMkLst>
        </pc:spChg>
        <pc:spChg chg="add mod">
          <ac:chgData name="Kaltrina Rexhahmetaj" userId="S::kaltrina.rexhahmetaj@bvh.org::c314e318-93e0-4c36-9995-6aa0f00e0010" providerId="AD" clId="Web-{321291FF-3ED2-D1AB-6EC7-3F82956190C7}" dt="2020-03-17T21:19:55.894" v="147" actId="14100"/>
          <ac:spMkLst>
            <pc:docMk/>
            <pc:sldMk cId="960763035" sldId="914"/>
            <ac:spMk id="12" creationId="{0BA94BD5-22CA-48E3-AEE5-18EEC9CA930B}"/>
          </ac:spMkLst>
        </pc:spChg>
        <pc:spChg chg="del">
          <ac:chgData name="Kaltrina Rexhahmetaj" userId="S::kaltrina.rexhahmetaj@bvh.org::c314e318-93e0-4c36-9995-6aa0f00e0010" providerId="AD" clId="Web-{321291FF-3ED2-D1AB-6EC7-3F82956190C7}" dt="2020-03-17T21:19:01.519" v="119"/>
          <ac:spMkLst>
            <pc:docMk/>
            <pc:sldMk cId="960763035" sldId="914"/>
            <ac:spMk id="13" creationId="{9008BD3B-9C61-4ABD-90F8-EC13EAA1C6DE}"/>
          </ac:spMkLst>
        </pc:spChg>
        <pc:spChg chg="add del mod">
          <ac:chgData name="Kaltrina Rexhahmetaj" userId="S::kaltrina.rexhahmetaj@bvh.org::c314e318-93e0-4c36-9995-6aa0f00e0010" providerId="AD" clId="Web-{321291FF-3ED2-D1AB-6EC7-3F82956190C7}" dt="2020-03-17T21:20:03.847" v="149"/>
          <ac:spMkLst>
            <pc:docMk/>
            <pc:sldMk cId="960763035" sldId="914"/>
            <ac:spMk id="14" creationId="{122D9CC2-BF11-49F6-B0A8-6062A96DF1A8}"/>
          </ac:spMkLst>
        </pc:spChg>
        <pc:spChg chg="add del">
          <ac:chgData name="Kaltrina Rexhahmetaj" userId="S::kaltrina.rexhahmetaj@bvh.org::c314e318-93e0-4c36-9995-6aa0f00e0010" providerId="AD" clId="Web-{321291FF-3ED2-D1AB-6EC7-3F82956190C7}" dt="2020-03-17T21:19:42.972" v="144"/>
          <ac:spMkLst>
            <pc:docMk/>
            <pc:sldMk cId="960763035" sldId="914"/>
            <ac:spMk id="15" creationId="{F444EC79-442E-47C1-B55C-44B3B93045C1}"/>
          </ac:spMkLst>
        </pc:spChg>
        <pc:picChg chg="del">
          <ac:chgData name="Kaltrina Rexhahmetaj" userId="S::kaltrina.rexhahmetaj@bvh.org::c314e318-93e0-4c36-9995-6aa0f00e0010" providerId="AD" clId="Web-{321291FF-3ED2-D1AB-6EC7-3F82956190C7}" dt="2020-03-17T21:19:01.519" v="123"/>
          <ac:picMkLst>
            <pc:docMk/>
            <pc:sldMk cId="960763035" sldId="914"/>
            <ac:picMk id="7" creationId="{1C4C95D8-72E3-48AE-8852-BEB5A0AC5EAB}"/>
          </ac:picMkLst>
        </pc:picChg>
        <pc:picChg chg="add">
          <ac:chgData name="Kaltrina Rexhahmetaj" userId="S::kaltrina.rexhahmetaj@bvh.org::c314e318-93e0-4c36-9995-6aa0f00e0010" providerId="AD" clId="Web-{321291FF-3ED2-D1AB-6EC7-3F82956190C7}" dt="2020-03-17T21:19:11.253" v="124"/>
          <ac:picMkLst>
            <pc:docMk/>
            <pc:sldMk cId="960763035" sldId="914"/>
            <ac:picMk id="11" creationId="{FDB97410-AB91-4832-A36A-DE67880C2C84}"/>
          </ac:picMkLst>
        </pc:picChg>
      </pc:sldChg>
      <pc:sldChg chg="addSp delSp modSp add replId modNotes">
        <pc:chgData name="Kaltrina Rexhahmetaj" userId="S::kaltrina.rexhahmetaj@bvh.org::c314e318-93e0-4c36-9995-6aa0f00e0010" providerId="AD" clId="Web-{321291FF-3ED2-D1AB-6EC7-3F82956190C7}" dt="2020-03-17T21:24:49.392" v="202"/>
        <pc:sldMkLst>
          <pc:docMk/>
          <pc:sldMk cId="475954212" sldId="915"/>
        </pc:sldMkLst>
        <pc:spChg chg="del">
          <ac:chgData name="Kaltrina Rexhahmetaj" userId="S::kaltrina.rexhahmetaj@bvh.org::c314e318-93e0-4c36-9995-6aa0f00e0010" providerId="AD" clId="Web-{321291FF-3ED2-D1AB-6EC7-3F82956190C7}" dt="2020-03-17T21:20:17.940" v="153"/>
          <ac:spMkLst>
            <pc:docMk/>
            <pc:sldMk cId="475954212" sldId="915"/>
            <ac:spMk id="4" creationId="{E09F6DA5-D352-4F42-B8D1-07CF4894029F}"/>
          </ac:spMkLst>
        </pc:spChg>
        <pc:spChg chg="add mod">
          <ac:chgData name="Kaltrina Rexhahmetaj" userId="S::kaltrina.rexhahmetaj@bvh.org::c314e318-93e0-4c36-9995-6aa0f00e0010" providerId="AD" clId="Web-{321291FF-3ED2-D1AB-6EC7-3F82956190C7}" dt="2020-03-17T21:21:05.143" v="177" actId="20577"/>
          <ac:spMkLst>
            <pc:docMk/>
            <pc:sldMk cId="475954212" sldId="915"/>
            <ac:spMk id="5" creationId="{FB56DCE3-BE96-4199-B654-C998CBE7D28A}"/>
          </ac:spMkLst>
        </pc:spChg>
        <pc:spChg chg="add del mod">
          <ac:chgData name="Kaltrina Rexhahmetaj" userId="S::kaltrina.rexhahmetaj@bvh.org::c314e318-93e0-4c36-9995-6aa0f00e0010" providerId="AD" clId="Web-{321291FF-3ED2-D1AB-6EC7-3F82956190C7}" dt="2020-03-17T21:21:13.268" v="179"/>
          <ac:spMkLst>
            <pc:docMk/>
            <pc:sldMk cId="475954212" sldId="915"/>
            <ac:spMk id="9" creationId="{47C19C8F-E042-4C58-A1CA-774F187A86FA}"/>
          </ac:spMkLst>
        </pc:spChg>
        <pc:spChg chg="add del">
          <ac:chgData name="Kaltrina Rexhahmetaj" userId="S::kaltrina.rexhahmetaj@bvh.org::c314e318-93e0-4c36-9995-6aa0f00e0010" providerId="AD" clId="Web-{321291FF-3ED2-D1AB-6EC7-3F82956190C7}" dt="2020-03-17T21:21:00.300" v="176"/>
          <ac:spMkLst>
            <pc:docMk/>
            <pc:sldMk cId="475954212" sldId="915"/>
            <ac:spMk id="10" creationId="{EFC52799-2963-4031-AC79-0BB746C0F2BA}"/>
          </ac:spMkLst>
        </pc:spChg>
        <pc:spChg chg="del">
          <ac:chgData name="Kaltrina Rexhahmetaj" userId="S::kaltrina.rexhahmetaj@bvh.org::c314e318-93e0-4c36-9995-6aa0f00e0010" providerId="AD" clId="Web-{321291FF-3ED2-D1AB-6EC7-3F82956190C7}" dt="2020-03-17T21:20:17.800" v="151"/>
          <ac:spMkLst>
            <pc:docMk/>
            <pc:sldMk cId="475954212" sldId="915"/>
            <ac:spMk id="12" creationId="{0BA94BD5-22CA-48E3-AEE5-18EEC9CA930B}"/>
          </ac:spMkLst>
        </pc:spChg>
        <pc:graphicFrameChg chg="add">
          <ac:chgData name="Kaltrina Rexhahmetaj" userId="S::kaltrina.rexhahmetaj@bvh.org::c314e318-93e0-4c36-9995-6aa0f00e0010" providerId="AD" clId="Web-{321291FF-3ED2-D1AB-6EC7-3F82956190C7}" dt="2020-03-17T21:20:30.487" v="154"/>
          <ac:graphicFrameMkLst>
            <pc:docMk/>
            <pc:sldMk cId="475954212" sldId="915"/>
            <ac:graphicFrameMk id="8" creationId="{AFA53C58-B91B-4627-8AC6-8BEAA37EE1A5}"/>
          </ac:graphicFrameMkLst>
        </pc:graphicFrameChg>
        <pc:picChg chg="del">
          <ac:chgData name="Kaltrina Rexhahmetaj" userId="S::kaltrina.rexhahmetaj@bvh.org::c314e318-93e0-4c36-9995-6aa0f00e0010" providerId="AD" clId="Web-{321291FF-3ED2-D1AB-6EC7-3F82956190C7}" dt="2020-03-17T21:20:17.800" v="152"/>
          <ac:picMkLst>
            <pc:docMk/>
            <pc:sldMk cId="475954212" sldId="915"/>
            <ac:picMk id="11" creationId="{FDB97410-AB91-4832-A36A-DE67880C2C84}"/>
          </ac:picMkLst>
        </pc:picChg>
      </pc:sldChg>
      <pc:sldChg chg="addSp delSp modSp add replId modNotes">
        <pc:chgData name="Kaltrina Rexhahmetaj" userId="S::kaltrina.rexhahmetaj@bvh.org::c314e318-93e0-4c36-9995-6aa0f00e0010" providerId="AD" clId="Web-{321291FF-3ED2-D1AB-6EC7-3F82956190C7}" dt="2020-03-17T21:28:49.266" v="233"/>
        <pc:sldMkLst>
          <pc:docMk/>
          <pc:sldMk cId="3548357243" sldId="916"/>
        </pc:sldMkLst>
        <pc:spChg chg="add mod">
          <ac:chgData name="Kaltrina Rexhahmetaj" userId="S::kaltrina.rexhahmetaj@bvh.org::c314e318-93e0-4c36-9995-6aa0f00e0010" providerId="AD" clId="Web-{321291FF-3ED2-D1AB-6EC7-3F82956190C7}" dt="2020-03-17T21:25:51.330" v="220" actId="20577"/>
          <ac:spMkLst>
            <pc:docMk/>
            <pc:sldMk cId="3548357243" sldId="916"/>
            <ac:spMk id="4" creationId="{4586F433-3DB8-4BF7-A122-8348BB3A02BF}"/>
          </ac:spMkLst>
        </pc:spChg>
        <pc:spChg chg="del">
          <ac:chgData name="Kaltrina Rexhahmetaj" userId="S::kaltrina.rexhahmetaj@bvh.org::c314e318-93e0-4c36-9995-6aa0f00e0010" providerId="AD" clId="Web-{321291FF-3ED2-D1AB-6EC7-3F82956190C7}" dt="2020-03-17T21:24:58.142" v="205"/>
          <ac:spMkLst>
            <pc:docMk/>
            <pc:sldMk cId="3548357243" sldId="916"/>
            <ac:spMk id="5" creationId="{FB56DCE3-BE96-4199-B654-C998CBE7D28A}"/>
          </ac:spMkLst>
        </pc:spChg>
        <pc:spChg chg="add mod">
          <ac:chgData name="Kaltrina Rexhahmetaj" userId="S::kaltrina.rexhahmetaj@bvh.org::c314e318-93e0-4c36-9995-6aa0f00e0010" providerId="AD" clId="Web-{321291FF-3ED2-D1AB-6EC7-3F82956190C7}" dt="2020-03-17T21:25:57.439" v="221" actId="1076"/>
          <ac:spMkLst>
            <pc:docMk/>
            <pc:sldMk cId="3548357243" sldId="916"/>
            <ac:spMk id="7" creationId="{57347AB0-E641-422E-BABD-9B818C8CA90B}"/>
          </ac:spMkLst>
        </pc:spChg>
        <pc:spChg chg="add">
          <ac:chgData name="Kaltrina Rexhahmetaj" userId="S::kaltrina.rexhahmetaj@bvh.org::c314e318-93e0-4c36-9995-6aa0f00e0010" providerId="AD" clId="Web-{321291FF-3ED2-D1AB-6EC7-3F82956190C7}" dt="2020-03-17T21:25:28.377" v="208"/>
          <ac:spMkLst>
            <pc:docMk/>
            <pc:sldMk cId="3548357243" sldId="916"/>
            <ac:spMk id="9" creationId="{28527E24-8D67-4EFE-BAA3-72B1B5EA1AC0}"/>
          </ac:spMkLst>
        </pc:spChg>
        <pc:spChg chg="add mod">
          <ac:chgData name="Kaltrina Rexhahmetaj" userId="S::kaltrina.rexhahmetaj@bvh.org::c314e318-93e0-4c36-9995-6aa0f00e0010" providerId="AD" clId="Web-{321291FF-3ED2-D1AB-6EC7-3F82956190C7}" dt="2020-03-17T21:26:48.626" v="228" actId="1076"/>
          <ac:spMkLst>
            <pc:docMk/>
            <pc:sldMk cId="3548357243" sldId="916"/>
            <ac:spMk id="10" creationId="{E05F86E7-EA9F-417F-A4A8-47D94B08B80B}"/>
          </ac:spMkLst>
        </pc:spChg>
        <pc:spChg chg="add mod">
          <ac:chgData name="Kaltrina Rexhahmetaj" userId="S::kaltrina.rexhahmetaj@bvh.org::c314e318-93e0-4c36-9995-6aa0f00e0010" providerId="AD" clId="Web-{321291FF-3ED2-D1AB-6EC7-3F82956190C7}" dt="2020-03-17T21:27:02.814" v="229" actId="1076"/>
          <ac:spMkLst>
            <pc:docMk/>
            <pc:sldMk cId="3548357243" sldId="916"/>
            <ac:spMk id="11" creationId="{0510AEFB-225A-44FA-9FC3-3B7473FF1D54}"/>
          </ac:spMkLst>
        </pc:spChg>
        <pc:spChg chg="add del mod">
          <ac:chgData name="Kaltrina Rexhahmetaj" userId="S::kaltrina.rexhahmetaj@bvh.org::c314e318-93e0-4c36-9995-6aa0f00e0010" providerId="AD" clId="Web-{321291FF-3ED2-D1AB-6EC7-3F82956190C7}" dt="2020-03-17T21:27:11.470" v="231"/>
          <ac:spMkLst>
            <pc:docMk/>
            <pc:sldMk cId="3548357243" sldId="916"/>
            <ac:spMk id="14" creationId="{4D01699F-5AF2-491E-8655-19C134F25A94}"/>
          </ac:spMkLst>
        </pc:spChg>
        <pc:spChg chg="add del">
          <ac:chgData name="Kaltrina Rexhahmetaj" userId="S::kaltrina.rexhahmetaj@bvh.org::c314e318-93e0-4c36-9995-6aa0f00e0010" providerId="AD" clId="Web-{321291FF-3ED2-D1AB-6EC7-3F82956190C7}" dt="2020-03-17T21:25:45.158" v="219"/>
          <ac:spMkLst>
            <pc:docMk/>
            <pc:sldMk cId="3548357243" sldId="916"/>
            <ac:spMk id="15" creationId="{FF11C061-C6E1-4620-AB1B-A832124DA09C}"/>
          </ac:spMkLst>
        </pc:spChg>
        <pc:graphicFrameChg chg="del">
          <ac:chgData name="Kaltrina Rexhahmetaj" userId="S::kaltrina.rexhahmetaj@bvh.org::c314e318-93e0-4c36-9995-6aa0f00e0010" providerId="AD" clId="Web-{321291FF-3ED2-D1AB-6EC7-3F82956190C7}" dt="2020-03-17T21:24:57.970" v="204"/>
          <ac:graphicFrameMkLst>
            <pc:docMk/>
            <pc:sldMk cId="3548357243" sldId="916"/>
            <ac:graphicFrameMk id="8" creationId="{AFA53C58-B91B-4627-8AC6-8BEAA37EE1A5}"/>
          </ac:graphicFrameMkLst>
        </pc:graphicFrameChg>
        <pc:picChg chg="add">
          <ac:chgData name="Kaltrina Rexhahmetaj" userId="S::kaltrina.rexhahmetaj@bvh.org::c314e318-93e0-4c36-9995-6aa0f00e0010" providerId="AD" clId="Web-{321291FF-3ED2-D1AB-6EC7-3F82956190C7}" dt="2020-03-17T21:25:28.377" v="208"/>
          <ac:picMkLst>
            <pc:docMk/>
            <pc:sldMk cId="3548357243" sldId="916"/>
            <ac:picMk id="12" creationId="{05DB8F44-FDC3-4032-8416-58DE0C784B35}"/>
          </ac:picMkLst>
        </pc:picChg>
        <pc:picChg chg="add">
          <ac:chgData name="Kaltrina Rexhahmetaj" userId="S::kaltrina.rexhahmetaj@bvh.org::c314e318-93e0-4c36-9995-6aa0f00e0010" providerId="AD" clId="Web-{321291FF-3ED2-D1AB-6EC7-3F82956190C7}" dt="2020-03-17T21:25:28.377" v="208"/>
          <ac:picMkLst>
            <pc:docMk/>
            <pc:sldMk cId="3548357243" sldId="916"/>
            <ac:picMk id="13" creationId="{0C461D43-F5AC-475B-923A-C4F88512EE8A}"/>
          </ac:picMkLst>
        </pc:picChg>
      </pc:sldChg>
      <pc:sldChg chg="addSp delSp modSp add replId modNotes">
        <pc:chgData name="Kaltrina Rexhahmetaj" userId="S::kaltrina.rexhahmetaj@bvh.org::c314e318-93e0-4c36-9995-6aa0f00e0010" providerId="AD" clId="Web-{321291FF-3ED2-D1AB-6EC7-3F82956190C7}" dt="2020-03-17T21:30:10.578" v="256"/>
        <pc:sldMkLst>
          <pc:docMk/>
          <pc:sldMk cId="4165753246" sldId="917"/>
        </pc:sldMkLst>
        <pc:spChg chg="del">
          <ac:chgData name="Kaltrina Rexhahmetaj" userId="S::kaltrina.rexhahmetaj@bvh.org::c314e318-93e0-4c36-9995-6aa0f00e0010" providerId="AD" clId="Web-{321291FF-3ED2-D1AB-6EC7-3F82956190C7}" dt="2020-03-17T21:28:57.360" v="241"/>
          <ac:spMkLst>
            <pc:docMk/>
            <pc:sldMk cId="4165753246" sldId="917"/>
            <ac:spMk id="4" creationId="{4586F433-3DB8-4BF7-A122-8348BB3A02BF}"/>
          </ac:spMkLst>
        </pc:spChg>
        <pc:spChg chg="add mod">
          <ac:chgData name="Kaltrina Rexhahmetaj" userId="S::kaltrina.rexhahmetaj@bvh.org::c314e318-93e0-4c36-9995-6aa0f00e0010" providerId="AD" clId="Web-{321291FF-3ED2-D1AB-6EC7-3F82956190C7}" dt="2020-03-17T21:29:48.157" v="252" actId="20577"/>
          <ac:spMkLst>
            <pc:docMk/>
            <pc:sldMk cId="4165753246" sldId="917"/>
            <ac:spMk id="5" creationId="{F282CB87-4233-44C0-A64E-88998AE7FF31}"/>
          </ac:spMkLst>
        </pc:spChg>
        <pc:spChg chg="del">
          <ac:chgData name="Kaltrina Rexhahmetaj" userId="S::kaltrina.rexhahmetaj@bvh.org::c314e318-93e0-4c36-9995-6aa0f00e0010" providerId="AD" clId="Web-{321291FF-3ED2-D1AB-6EC7-3F82956190C7}" dt="2020-03-17T21:28:57.204" v="240"/>
          <ac:spMkLst>
            <pc:docMk/>
            <pc:sldMk cId="4165753246" sldId="917"/>
            <ac:spMk id="7" creationId="{57347AB0-E641-422E-BABD-9B818C8CA90B}"/>
          </ac:spMkLst>
        </pc:spChg>
        <pc:spChg chg="del">
          <ac:chgData name="Kaltrina Rexhahmetaj" userId="S::kaltrina.rexhahmetaj@bvh.org::c314e318-93e0-4c36-9995-6aa0f00e0010" providerId="AD" clId="Web-{321291FF-3ED2-D1AB-6EC7-3F82956190C7}" dt="2020-03-17T21:28:57.204" v="239"/>
          <ac:spMkLst>
            <pc:docMk/>
            <pc:sldMk cId="4165753246" sldId="917"/>
            <ac:spMk id="9" creationId="{28527E24-8D67-4EFE-BAA3-72B1B5EA1AC0}"/>
          </ac:spMkLst>
        </pc:spChg>
        <pc:spChg chg="del">
          <ac:chgData name="Kaltrina Rexhahmetaj" userId="S::kaltrina.rexhahmetaj@bvh.org::c314e318-93e0-4c36-9995-6aa0f00e0010" providerId="AD" clId="Web-{321291FF-3ED2-D1AB-6EC7-3F82956190C7}" dt="2020-03-17T21:28:57.204" v="238"/>
          <ac:spMkLst>
            <pc:docMk/>
            <pc:sldMk cId="4165753246" sldId="917"/>
            <ac:spMk id="10" creationId="{E05F86E7-EA9F-417F-A4A8-47D94B08B80B}"/>
          </ac:spMkLst>
        </pc:spChg>
        <pc:spChg chg="del">
          <ac:chgData name="Kaltrina Rexhahmetaj" userId="S::kaltrina.rexhahmetaj@bvh.org::c314e318-93e0-4c36-9995-6aa0f00e0010" providerId="AD" clId="Web-{321291FF-3ED2-D1AB-6EC7-3F82956190C7}" dt="2020-03-17T21:28:57.204" v="237"/>
          <ac:spMkLst>
            <pc:docMk/>
            <pc:sldMk cId="4165753246" sldId="917"/>
            <ac:spMk id="11" creationId="{0510AEFB-225A-44FA-9FC3-3B7473FF1D54}"/>
          </ac:spMkLst>
        </pc:spChg>
        <pc:spChg chg="add">
          <ac:chgData name="Kaltrina Rexhahmetaj" userId="S::kaltrina.rexhahmetaj@bvh.org::c314e318-93e0-4c36-9995-6aa0f00e0010" providerId="AD" clId="Web-{321291FF-3ED2-D1AB-6EC7-3F82956190C7}" dt="2020-03-17T21:29:22.297" v="245"/>
          <ac:spMkLst>
            <pc:docMk/>
            <pc:sldMk cId="4165753246" sldId="917"/>
            <ac:spMk id="15" creationId="{DE014720-F050-4773-8FD3-CE8326F0B131}"/>
          </ac:spMkLst>
        </pc:spChg>
        <pc:spChg chg="add">
          <ac:chgData name="Kaltrina Rexhahmetaj" userId="S::kaltrina.rexhahmetaj@bvh.org::c314e318-93e0-4c36-9995-6aa0f00e0010" providerId="AD" clId="Web-{321291FF-3ED2-D1AB-6EC7-3F82956190C7}" dt="2020-03-17T21:29:22.297" v="245"/>
          <ac:spMkLst>
            <pc:docMk/>
            <pc:sldMk cId="4165753246" sldId="917"/>
            <ac:spMk id="16" creationId="{BB69E773-14C6-4BF5-84F7-7AB74F2B6870}"/>
          </ac:spMkLst>
        </pc:spChg>
        <pc:spChg chg="add">
          <ac:chgData name="Kaltrina Rexhahmetaj" userId="S::kaltrina.rexhahmetaj@bvh.org::c314e318-93e0-4c36-9995-6aa0f00e0010" providerId="AD" clId="Web-{321291FF-3ED2-D1AB-6EC7-3F82956190C7}" dt="2020-03-17T21:29:22.297" v="245"/>
          <ac:spMkLst>
            <pc:docMk/>
            <pc:sldMk cId="4165753246" sldId="917"/>
            <ac:spMk id="17" creationId="{85883150-3506-46C3-A614-EDFBE79AE760}"/>
          </ac:spMkLst>
        </pc:spChg>
        <pc:spChg chg="add">
          <ac:chgData name="Kaltrina Rexhahmetaj" userId="S::kaltrina.rexhahmetaj@bvh.org::c314e318-93e0-4c36-9995-6aa0f00e0010" providerId="AD" clId="Web-{321291FF-3ED2-D1AB-6EC7-3F82956190C7}" dt="2020-03-17T21:29:22.297" v="245"/>
          <ac:spMkLst>
            <pc:docMk/>
            <pc:sldMk cId="4165753246" sldId="917"/>
            <ac:spMk id="18" creationId="{753A767D-5EE9-4020-9B05-40E94E849352}"/>
          </ac:spMkLst>
        </pc:spChg>
        <pc:spChg chg="add del mod">
          <ac:chgData name="Kaltrina Rexhahmetaj" userId="S::kaltrina.rexhahmetaj@bvh.org::c314e318-93e0-4c36-9995-6aa0f00e0010" providerId="AD" clId="Web-{321291FF-3ED2-D1AB-6EC7-3F82956190C7}" dt="2020-03-17T21:29:55.328" v="254"/>
          <ac:spMkLst>
            <pc:docMk/>
            <pc:sldMk cId="4165753246" sldId="917"/>
            <ac:spMk id="20" creationId="{063524D0-D465-487C-93B6-C82667D28AF0}"/>
          </ac:spMkLst>
        </pc:spChg>
        <pc:spChg chg="add del mod">
          <ac:chgData name="Kaltrina Rexhahmetaj" userId="S::kaltrina.rexhahmetaj@bvh.org::c314e318-93e0-4c36-9995-6aa0f00e0010" providerId="AD" clId="Web-{321291FF-3ED2-D1AB-6EC7-3F82956190C7}" dt="2020-03-17T21:29:42.172" v="251"/>
          <ac:spMkLst>
            <pc:docMk/>
            <pc:sldMk cId="4165753246" sldId="917"/>
            <ac:spMk id="21" creationId="{6FBD7B90-166F-411A-8FAC-1D5F3DFDEC95}"/>
          </ac:spMkLst>
        </pc:spChg>
        <pc:picChg chg="del">
          <ac:chgData name="Kaltrina Rexhahmetaj" userId="S::kaltrina.rexhahmetaj@bvh.org::c314e318-93e0-4c36-9995-6aa0f00e0010" providerId="AD" clId="Web-{321291FF-3ED2-D1AB-6EC7-3F82956190C7}" dt="2020-03-17T21:28:57.204" v="236"/>
          <ac:picMkLst>
            <pc:docMk/>
            <pc:sldMk cId="4165753246" sldId="917"/>
            <ac:picMk id="12" creationId="{05DB8F44-FDC3-4032-8416-58DE0C784B35}"/>
          </ac:picMkLst>
        </pc:picChg>
        <pc:picChg chg="del">
          <ac:chgData name="Kaltrina Rexhahmetaj" userId="S::kaltrina.rexhahmetaj@bvh.org::c314e318-93e0-4c36-9995-6aa0f00e0010" providerId="AD" clId="Web-{321291FF-3ED2-D1AB-6EC7-3F82956190C7}" dt="2020-03-17T21:28:57.204" v="235"/>
          <ac:picMkLst>
            <pc:docMk/>
            <pc:sldMk cId="4165753246" sldId="917"/>
            <ac:picMk id="13" creationId="{0C461D43-F5AC-475B-923A-C4F88512EE8A}"/>
          </ac:picMkLst>
        </pc:picChg>
        <pc:picChg chg="add">
          <ac:chgData name="Kaltrina Rexhahmetaj" userId="S::kaltrina.rexhahmetaj@bvh.org::c314e318-93e0-4c36-9995-6aa0f00e0010" providerId="AD" clId="Web-{321291FF-3ED2-D1AB-6EC7-3F82956190C7}" dt="2020-03-17T21:29:22.297" v="245"/>
          <ac:picMkLst>
            <pc:docMk/>
            <pc:sldMk cId="4165753246" sldId="917"/>
            <ac:picMk id="14" creationId="{CECC27A5-1D37-4D35-8395-31CB78507A4C}"/>
          </ac:picMkLst>
        </pc:picChg>
        <pc:picChg chg="add">
          <ac:chgData name="Kaltrina Rexhahmetaj" userId="S::kaltrina.rexhahmetaj@bvh.org::c314e318-93e0-4c36-9995-6aa0f00e0010" providerId="AD" clId="Web-{321291FF-3ED2-D1AB-6EC7-3F82956190C7}" dt="2020-03-17T21:29:22.297" v="245"/>
          <ac:picMkLst>
            <pc:docMk/>
            <pc:sldMk cId="4165753246" sldId="917"/>
            <ac:picMk id="19" creationId="{66204DB7-786E-45D3-9C44-42A804AB7BE7}"/>
          </ac:picMkLst>
        </pc:picChg>
      </pc:sldChg>
      <pc:sldChg chg="addSp delSp modSp add replId modNotes">
        <pc:chgData name="Kaltrina Rexhahmetaj" userId="S::kaltrina.rexhahmetaj@bvh.org::c314e318-93e0-4c36-9995-6aa0f00e0010" providerId="AD" clId="Web-{321291FF-3ED2-D1AB-6EC7-3F82956190C7}" dt="2020-03-17T21:31:57.312" v="280"/>
        <pc:sldMkLst>
          <pc:docMk/>
          <pc:sldMk cId="1183293559" sldId="918"/>
        </pc:sldMkLst>
        <pc:spChg chg="add mod">
          <ac:chgData name="Kaltrina Rexhahmetaj" userId="S::kaltrina.rexhahmetaj@bvh.org::c314e318-93e0-4c36-9995-6aa0f00e0010" providerId="AD" clId="Web-{321291FF-3ED2-D1AB-6EC7-3F82956190C7}" dt="2020-03-17T21:31:17.437" v="278" actId="20577"/>
          <ac:spMkLst>
            <pc:docMk/>
            <pc:sldMk cId="1183293559" sldId="918"/>
            <ac:spMk id="4" creationId="{F99A737B-291A-49A6-97F3-BE5065DFB61A}"/>
          </ac:spMkLst>
        </pc:spChg>
        <pc:spChg chg="del">
          <ac:chgData name="Kaltrina Rexhahmetaj" userId="S::kaltrina.rexhahmetaj@bvh.org::c314e318-93e0-4c36-9995-6aa0f00e0010" providerId="AD" clId="Web-{321291FF-3ED2-D1AB-6EC7-3F82956190C7}" dt="2020-03-17T21:30:15.500" v="264"/>
          <ac:spMkLst>
            <pc:docMk/>
            <pc:sldMk cId="1183293559" sldId="918"/>
            <ac:spMk id="5" creationId="{F282CB87-4233-44C0-A64E-88998AE7FF31}"/>
          </ac:spMkLst>
        </pc:spChg>
        <pc:spChg chg="add">
          <ac:chgData name="Kaltrina Rexhahmetaj" userId="S::kaltrina.rexhahmetaj@bvh.org::c314e318-93e0-4c36-9995-6aa0f00e0010" providerId="AD" clId="Web-{321291FF-3ED2-D1AB-6EC7-3F82956190C7}" dt="2020-03-17T21:30:54.703" v="267"/>
          <ac:spMkLst>
            <pc:docMk/>
            <pc:sldMk cId="1183293559" sldId="918"/>
            <ac:spMk id="12" creationId="{A9E52F89-BFAE-4F2B-8FF9-2225BD410412}"/>
          </ac:spMkLst>
        </pc:spChg>
        <pc:spChg chg="add">
          <ac:chgData name="Kaltrina Rexhahmetaj" userId="S::kaltrina.rexhahmetaj@bvh.org::c314e318-93e0-4c36-9995-6aa0f00e0010" providerId="AD" clId="Web-{321291FF-3ED2-D1AB-6EC7-3F82956190C7}" dt="2020-03-17T21:30:54.703" v="267"/>
          <ac:spMkLst>
            <pc:docMk/>
            <pc:sldMk cId="1183293559" sldId="918"/>
            <ac:spMk id="13" creationId="{C692A83E-9320-4054-92B6-083B68F5CB06}"/>
          </ac:spMkLst>
        </pc:spChg>
        <pc:spChg chg="del">
          <ac:chgData name="Kaltrina Rexhahmetaj" userId="S::kaltrina.rexhahmetaj@bvh.org::c314e318-93e0-4c36-9995-6aa0f00e0010" providerId="AD" clId="Web-{321291FF-3ED2-D1AB-6EC7-3F82956190C7}" dt="2020-03-17T21:30:15.328" v="262"/>
          <ac:spMkLst>
            <pc:docMk/>
            <pc:sldMk cId="1183293559" sldId="918"/>
            <ac:spMk id="15" creationId="{DE014720-F050-4773-8FD3-CE8326F0B131}"/>
          </ac:spMkLst>
        </pc:spChg>
        <pc:spChg chg="del">
          <ac:chgData name="Kaltrina Rexhahmetaj" userId="S::kaltrina.rexhahmetaj@bvh.org::c314e318-93e0-4c36-9995-6aa0f00e0010" providerId="AD" clId="Web-{321291FF-3ED2-D1AB-6EC7-3F82956190C7}" dt="2020-03-17T21:30:15.313" v="261"/>
          <ac:spMkLst>
            <pc:docMk/>
            <pc:sldMk cId="1183293559" sldId="918"/>
            <ac:spMk id="16" creationId="{BB69E773-14C6-4BF5-84F7-7AB74F2B6870}"/>
          </ac:spMkLst>
        </pc:spChg>
        <pc:spChg chg="del">
          <ac:chgData name="Kaltrina Rexhahmetaj" userId="S::kaltrina.rexhahmetaj@bvh.org::c314e318-93e0-4c36-9995-6aa0f00e0010" providerId="AD" clId="Web-{321291FF-3ED2-D1AB-6EC7-3F82956190C7}" dt="2020-03-17T21:30:15.313" v="260"/>
          <ac:spMkLst>
            <pc:docMk/>
            <pc:sldMk cId="1183293559" sldId="918"/>
            <ac:spMk id="17" creationId="{85883150-3506-46C3-A614-EDFBE79AE760}"/>
          </ac:spMkLst>
        </pc:spChg>
        <pc:spChg chg="del">
          <ac:chgData name="Kaltrina Rexhahmetaj" userId="S::kaltrina.rexhahmetaj@bvh.org::c314e318-93e0-4c36-9995-6aa0f00e0010" providerId="AD" clId="Web-{321291FF-3ED2-D1AB-6EC7-3F82956190C7}" dt="2020-03-17T21:30:15.313" v="259"/>
          <ac:spMkLst>
            <pc:docMk/>
            <pc:sldMk cId="1183293559" sldId="918"/>
            <ac:spMk id="18" creationId="{753A767D-5EE9-4020-9B05-40E94E849352}"/>
          </ac:spMkLst>
        </pc:spChg>
        <pc:spChg chg="add">
          <ac:chgData name="Kaltrina Rexhahmetaj" userId="S::kaltrina.rexhahmetaj@bvh.org::c314e318-93e0-4c36-9995-6aa0f00e0010" providerId="AD" clId="Web-{321291FF-3ED2-D1AB-6EC7-3F82956190C7}" dt="2020-03-17T21:30:54.703" v="267"/>
          <ac:spMkLst>
            <pc:docMk/>
            <pc:sldMk cId="1183293559" sldId="918"/>
            <ac:spMk id="20" creationId="{3F079191-3C6A-4962-A5CD-2EA2866B9060}"/>
          </ac:spMkLst>
        </pc:spChg>
        <pc:spChg chg="add">
          <ac:chgData name="Kaltrina Rexhahmetaj" userId="S::kaltrina.rexhahmetaj@bvh.org::c314e318-93e0-4c36-9995-6aa0f00e0010" providerId="AD" clId="Web-{321291FF-3ED2-D1AB-6EC7-3F82956190C7}" dt="2020-03-17T21:30:54.703" v="267"/>
          <ac:spMkLst>
            <pc:docMk/>
            <pc:sldMk cId="1183293559" sldId="918"/>
            <ac:spMk id="21" creationId="{7BC5EC19-6166-4420-A5C7-63C8CE97D7E6}"/>
          </ac:spMkLst>
        </pc:spChg>
        <pc:spChg chg="add">
          <ac:chgData name="Kaltrina Rexhahmetaj" userId="S::kaltrina.rexhahmetaj@bvh.org::c314e318-93e0-4c36-9995-6aa0f00e0010" providerId="AD" clId="Web-{321291FF-3ED2-D1AB-6EC7-3F82956190C7}" dt="2020-03-17T21:30:54.703" v="267"/>
          <ac:spMkLst>
            <pc:docMk/>
            <pc:sldMk cId="1183293559" sldId="918"/>
            <ac:spMk id="22" creationId="{99DEC0D6-0A89-4821-A547-BBD6684F2D06}"/>
          </ac:spMkLst>
        </pc:spChg>
        <pc:spChg chg="add">
          <ac:chgData name="Kaltrina Rexhahmetaj" userId="S::kaltrina.rexhahmetaj@bvh.org::c314e318-93e0-4c36-9995-6aa0f00e0010" providerId="AD" clId="Web-{321291FF-3ED2-D1AB-6EC7-3F82956190C7}" dt="2020-03-17T21:30:54.703" v="267"/>
          <ac:spMkLst>
            <pc:docMk/>
            <pc:sldMk cId="1183293559" sldId="918"/>
            <ac:spMk id="23" creationId="{53FD27FB-956F-4C52-9CB3-9C7F65479D5A}"/>
          </ac:spMkLst>
        </pc:spChg>
        <pc:spChg chg="add">
          <ac:chgData name="Kaltrina Rexhahmetaj" userId="S::kaltrina.rexhahmetaj@bvh.org::c314e318-93e0-4c36-9995-6aa0f00e0010" providerId="AD" clId="Web-{321291FF-3ED2-D1AB-6EC7-3F82956190C7}" dt="2020-03-17T21:30:54.703" v="267"/>
          <ac:spMkLst>
            <pc:docMk/>
            <pc:sldMk cId="1183293559" sldId="918"/>
            <ac:spMk id="24" creationId="{D8D89A8C-5E17-4EC7-80CA-6A40889EC073}"/>
          </ac:spMkLst>
        </pc:spChg>
        <pc:spChg chg="add">
          <ac:chgData name="Kaltrina Rexhahmetaj" userId="S::kaltrina.rexhahmetaj@bvh.org::c314e318-93e0-4c36-9995-6aa0f00e0010" providerId="AD" clId="Web-{321291FF-3ED2-D1AB-6EC7-3F82956190C7}" dt="2020-03-17T21:30:54.703" v="267"/>
          <ac:spMkLst>
            <pc:docMk/>
            <pc:sldMk cId="1183293559" sldId="918"/>
            <ac:spMk id="25" creationId="{77F84A2A-ED8E-4681-96CC-6FCFD6B9C4EE}"/>
          </ac:spMkLst>
        </pc:spChg>
        <pc:spChg chg="add">
          <ac:chgData name="Kaltrina Rexhahmetaj" userId="S::kaltrina.rexhahmetaj@bvh.org::c314e318-93e0-4c36-9995-6aa0f00e0010" providerId="AD" clId="Web-{321291FF-3ED2-D1AB-6EC7-3F82956190C7}" dt="2020-03-17T21:30:54.703" v="267"/>
          <ac:spMkLst>
            <pc:docMk/>
            <pc:sldMk cId="1183293559" sldId="918"/>
            <ac:spMk id="26" creationId="{6C03418E-62EB-486D-802E-6EF737C6B522}"/>
          </ac:spMkLst>
        </pc:spChg>
        <pc:spChg chg="add">
          <ac:chgData name="Kaltrina Rexhahmetaj" userId="S::kaltrina.rexhahmetaj@bvh.org::c314e318-93e0-4c36-9995-6aa0f00e0010" providerId="AD" clId="Web-{321291FF-3ED2-D1AB-6EC7-3F82956190C7}" dt="2020-03-17T21:30:54.703" v="267"/>
          <ac:spMkLst>
            <pc:docMk/>
            <pc:sldMk cId="1183293559" sldId="918"/>
            <ac:spMk id="27" creationId="{A3F05AB3-45B5-4D35-AE8E-314148B93B6F}"/>
          </ac:spMkLst>
        </pc:spChg>
        <pc:spChg chg="add">
          <ac:chgData name="Kaltrina Rexhahmetaj" userId="S::kaltrina.rexhahmetaj@bvh.org::c314e318-93e0-4c36-9995-6aa0f00e0010" providerId="AD" clId="Web-{321291FF-3ED2-D1AB-6EC7-3F82956190C7}" dt="2020-03-17T21:30:54.703" v="267"/>
          <ac:spMkLst>
            <pc:docMk/>
            <pc:sldMk cId="1183293559" sldId="918"/>
            <ac:spMk id="28" creationId="{9B7CB8ED-FC64-4A8B-B9D1-A0BA015E7981}"/>
          </ac:spMkLst>
        </pc:spChg>
        <pc:spChg chg="add">
          <ac:chgData name="Kaltrina Rexhahmetaj" userId="S::kaltrina.rexhahmetaj@bvh.org::c314e318-93e0-4c36-9995-6aa0f00e0010" providerId="AD" clId="Web-{321291FF-3ED2-D1AB-6EC7-3F82956190C7}" dt="2020-03-17T21:30:54.703" v="267"/>
          <ac:spMkLst>
            <pc:docMk/>
            <pc:sldMk cId="1183293559" sldId="918"/>
            <ac:spMk id="29" creationId="{7A23F124-110E-4191-8FEE-696345C31812}"/>
          </ac:spMkLst>
        </pc:spChg>
        <pc:spChg chg="add">
          <ac:chgData name="Kaltrina Rexhahmetaj" userId="S::kaltrina.rexhahmetaj@bvh.org::c314e318-93e0-4c36-9995-6aa0f00e0010" providerId="AD" clId="Web-{321291FF-3ED2-D1AB-6EC7-3F82956190C7}" dt="2020-03-17T21:30:54.703" v="267"/>
          <ac:spMkLst>
            <pc:docMk/>
            <pc:sldMk cId="1183293559" sldId="918"/>
            <ac:spMk id="30" creationId="{FD8EFEC2-CFC6-4A32-B7F4-C3731874E946}"/>
          </ac:spMkLst>
        </pc:spChg>
        <pc:spChg chg="add">
          <ac:chgData name="Kaltrina Rexhahmetaj" userId="S::kaltrina.rexhahmetaj@bvh.org::c314e318-93e0-4c36-9995-6aa0f00e0010" providerId="AD" clId="Web-{321291FF-3ED2-D1AB-6EC7-3F82956190C7}" dt="2020-03-17T21:30:54.703" v="267"/>
          <ac:spMkLst>
            <pc:docMk/>
            <pc:sldMk cId="1183293559" sldId="918"/>
            <ac:spMk id="31" creationId="{8F2C8C78-3686-41F4-AB2D-9555EAE6B766}"/>
          </ac:spMkLst>
        </pc:spChg>
        <pc:spChg chg="add">
          <ac:chgData name="Kaltrina Rexhahmetaj" userId="S::kaltrina.rexhahmetaj@bvh.org::c314e318-93e0-4c36-9995-6aa0f00e0010" providerId="AD" clId="Web-{321291FF-3ED2-D1AB-6EC7-3F82956190C7}" dt="2020-03-17T21:30:54.703" v="267"/>
          <ac:spMkLst>
            <pc:docMk/>
            <pc:sldMk cId="1183293559" sldId="918"/>
            <ac:spMk id="32" creationId="{5AA1A0E0-275F-43FB-9DBB-D1D2BAD46E34}"/>
          </ac:spMkLst>
        </pc:spChg>
        <pc:spChg chg="add">
          <ac:chgData name="Kaltrina Rexhahmetaj" userId="S::kaltrina.rexhahmetaj@bvh.org::c314e318-93e0-4c36-9995-6aa0f00e0010" providerId="AD" clId="Web-{321291FF-3ED2-D1AB-6EC7-3F82956190C7}" dt="2020-03-17T21:30:54.703" v="267"/>
          <ac:spMkLst>
            <pc:docMk/>
            <pc:sldMk cId="1183293559" sldId="918"/>
            <ac:spMk id="33" creationId="{3731B9D3-A08E-418B-80F9-F824C78858E6}"/>
          </ac:spMkLst>
        </pc:spChg>
        <pc:spChg chg="add">
          <ac:chgData name="Kaltrina Rexhahmetaj" userId="S::kaltrina.rexhahmetaj@bvh.org::c314e318-93e0-4c36-9995-6aa0f00e0010" providerId="AD" clId="Web-{321291FF-3ED2-D1AB-6EC7-3F82956190C7}" dt="2020-03-17T21:30:54.703" v="267"/>
          <ac:spMkLst>
            <pc:docMk/>
            <pc:sldMk cId="1183293559" sldId="918"/>
            <ac:spMk id="34" creationId="{212C8AA4-E7C2-4272-A91A-72D85F89F67B}"/>
          </ac:spMkLst>
        </pc:spChg>
        <pc:spChg chg="add">
          <ac:chgData name="Kaltrina Rexhahmetaj" userId="S::kaltrina.rexhahmetaj@bvh.org::c314e318-93e0-4c36-9995-6aa0f00e0010" providerId="AD" clId="Web-{321291FF-3ED2-D1AB-6EC7-3F82956190C7}" dt="2020-03-17T21:30:54.703" v="267"/>
          <ac:spMkLst>
            <pc:docMk/>
            <pc:sldMk cId="1183293559" sldId="918"/>
            <ac:spMk id="35" creationId="{179A01DA-B331-4236-A0D2-AC29F38409DE}"/>
          </ac:spMkLst>
        </pc:spChg>
        <pc:spChg chg="add">
          <ac:chgData name="Kaltrina Rexhahmetaj" userId="S::kaltrina.rexhahmetaj@bvh.org::c314e318-93e0-4c36-9995-6aa0f00e0010" providerId="AD" clId="Web-{321291FF-3ED2-D1AB-6EC7-3F82956190C7}" dt="2020-03-17T21:30:54.703" v="267"/>
          <ac:spMkLst>
            <pc:docMk/>
            <pc:sldMk cId="1183293559" sldId="918"/>
            <ac:spMk id="36" creationId="{4E814137-AE44-4E0E-98A6-F5758D384718}"/>
          </ac:spMkLst>
        </pc:spChg>
        <pc:spChg chg="add">
          <ac:chgData name="Kaltrina Rexhahmetaj" userId="S::kaltrina.rexhahmetaj@bvh.org::c314e318-93e0-4c36-9995-6aa0f00e0010" providerId="AD" clId="Web-{321291FF-3ED2-D1AB-6EC7-3F82956190C7}" dt="2020-03-17T21:30:54.703" v="267"/>
          <ac:spMkLst>
            <pc:docMk/>
            <pc:sldMk cId="1183293559" sldId="918"/>
            <ac:spMk id="37" creationId="{10536B23-C90D-47E4-A8FC-2E9AD72194CF}"/>
          </ac:spMkLst>
        </pc:spChg>
        <pc:spChg chg="add">
          <ac:chgData name="Kaltrina Rexhahmetaj" userId="S::kaltrina.rexhahmetaj@bvh.org::c314e318-93e0-4c36-9995-6aa0f00e0010" providerId="AD" clId="Web-{321291FF-3ED2-D1AB-6EC7-3F82956190C7}" dt="2020-03-17T21:30:54.703" v="267"/>
          <ac:spMkLst>
            <pc:docMk/>
            <pc:sldMk cId="1183293559" sldId="918"/>
            <ac:spMk id="38" creationId="{ACF69677-3241-4B9B-8256-173B3786F648}"/>
          </ac:spMkLst>
        </pc:spChg>
        <pc:spChg chg="add">
          <ac:chgData name="Kaltrina Rexhahmetaj" userId="S::kaltrina.rexhahmetaj@bvh.org::c314e318-93e0-4c36-9995-6aa0f00e0010" providerId="AD" clId="Web-{321291FF-3ED2-D1AB-6EC7-3F82956190C7}" dt="2020-03-17T21:30:54.703" v="267"/>
          <ac:spMkLst>
            <pc:docMk/>
            <pc:sldMk cId="1183293559" sldId="918"/>
            <ac:spMk id="39" creationId="{0890987B-FE2D-41F9-970C-F34334A1C7E3}"/>
          </ac:spMkLst>
        </pc:spChg>
        <pc:spChg chg="add">
          <ac:chgData name="Kaltrina Rexhahmetaj" userId="S::kaltrina.rexhahmetaj@bvh.org::c314e318-93e0-4c36-9995-6aa0f00e0010" providerId="AD" clId="Web-{321291FF-3ED2-D1AB-6EC7-3F82956190C7}" dt="2020-03-17T21:30:54.703" v="267"/>
          <ac:spMkLst>
            <pc:docMk/>
            <pc:sldMk cId="1183293559" sldId="918"/>
            <ac:spMk id="40" creationId="{59C44A90-8874-4357-AC17-9535B4AC36DD}"/>
          </ac:spMkLst>
        </pc:spChg>
        <pc:spChg chg="add">
          <ac:chgData name="Kaltrina Rexhahmetaj" userId="S::kaltrina.rexhahmetaj@bvh.org::c314e318-93e0-4c36-9995-6aa0f00e0010" providerId="AD" clId="Web-{321291FF-3ED2-D1AB-6EC7-3F82956190C7}" dt="2020-03-17T21:30:54.703" v="267"/>
          <ac:spMkLst>
            <pc:docMk/>
            <pc:sldMk cId="1183293559" sldId="918"/>
            <ac:spMk id="41" creationId="{38704F4C-BDE7-45AD-B11C-A4C1DFE0E1FC}"/>
          </ac:spMkLst>
        </pc:spChg>
        <pc:spChg chg="add del">
          <ac:chgData name="Kaltrina Rexhahmetaj" userId="S::kaltrina.rexhahmetaj@bvh.org::c314e318-93e0-4c36-9995-6aa0f00e0010" providerId="AD" clId="Web-{321291FF-3ED2-D1AB-6EC7-3F82956190C7}" dt="2020-03-17T21:31:09.984" v="277"/>
          <ac:spMkLst>
            <pc:docMk/>
            <pc:sldMk cId="1183293559" sldId="918"/>
            <ac:spMk id="42" creationId="{A5BA5214-1645-41F3-A22D-2BB3F3E3F28E}"/>
          </ac:spMkLst>
        </pc:spChg>
        <pc:picChg chg="del">
          <ac:chgData name="Kaltrina Rexhahmetaj" userId="S::kaltrina.rexhahmetaj@bvh.org::c314e318-93e0-4c36-9995-6aa0f00e0010" providerId="AD" clId="Web-{321291FF-3ED2-D1AB-6EC7-3F82956190C7}" dt="2020-03-17T21:30:15.328" v="263"/>
          <ac:picMkLst>
            <pc:docMk/>
            <pc:sldMk cId="1183293559" sldId="918"/>
            <ac:picMk id="14" creationId="{CECC27A5-1D37-4D35-8395-31CB78507A4C}"/>
          </ac:picMkLst>
        </pc:picChg>
        <pc:picChg chg="del">
          <ac:chgData name="Kaltrina Rexhahmetaj" userId="S::kaltrina.rexhahmetaj@bvh.org::c314e318-93e0-4c36-9995-6aa0f00e0010" providerId="AD" clId="Web-{321291FF-3ED2-D1AB-6EC7-3F82956190C7}" dt="2020-03-17T21:30:15.313" v="258"/>
          <ac:picMkLst>
            <pc:docMk/>
            <pc:sldMk cId="1183293559" sldId="918"/>
            <ac:picMk id="19" creationId="{66204DB7-786E-45D3-9C44-42A804AB7BE7}"/>
          </ac:picMkLst>
        </pc:picChg>
      </pc:sldChg>
      <pc:sldChg chg="addSp delSp modSp add replId">
        <pc:chgData name="Kaltrina Rexhahmetaj" userId="S::kaltrina.rexhahmetaj@bvh.org::c314e318-93e0-4c36-9995-6aa0f00e0010" providerId="AD" clId="Web-{321291FF-3ED2-D1AB-6EC7-3F82956190C7}" dt="2020-03-17T21:33:52.109" v="317" actId="20577"/>
        <pc:sldMkLst>
          <pc:docMk/>
          <pc:sldMk cId="1877371856" sldId="919"/>
        </pc:sldMkLst>
        <pc:spChg chg="del">
          <ac:chgData name="Kaltrina Rexhahmetaj" userId="S::kaltrina.rexhahmetaj@bvh.org::c314e318-93e0-4c36-9995-6aa0f00e0010" providerId="AD" clId="Web-{321291FF-3ED2-D1AB-6EC7-3F82956190C7}" dt="2020-03-17T21:33:04.640" v="306"/>
          <ac:spMkLst>
            <pc:docMk/>
            <pc:sldMk cId="1877371856" sldId="919"/>
            <ac:spMk id="4" creationId="{F99A737B-291A-49A6-97F3-BE5065DFB61A}"/>
          </ac:spMkLst>
        </pc:spChg>
        <pc:spChg chg="add mod">
          <ac:chgData name="Kaltrina Rexhahmetaj" userId="S::kaltrina.rexhahmetaj@bvh.org::c314e318-93e0-4c36-9995-6aa0f00e0010" providerId="AD" clId="Web-{321291FF-3ED2-D1AB-6EC7-3F82956190C7}" dt="2020-03-17T21:33:52.109" v="317" actId="20577"/>
          <ac:spMkLst>
            <pc:docMk/>
            <pc:sldMk cId="1877371856" sldId="919"/>
            <ac:spMk id="5" creationId="{38F8B377-B907-447C-A881-602B73458736}"/>
          </ac:spMkLst>
        </pc:spChg>
        <pc:spChg chg="del">
          <ac:chgData name="Kaltrina Rexhahmetaj" userId="S::kaltrina.rexhahmetaj@bvh.org::c314e318-93e0-4c36-9995-6aa0f00e0010" providerId="AD" clId="Web-{321291FF-3ED2-D1AB-6EC7-3F82956190C7}" dt="2020-03-17T21:33:04.484" v="305"/>
          <ac:spMkLst>
            <pc:docMk/>
            <pc:sldMk cId="1877371856" sldId="919"/>
            <ac:spMk id="12" creationId="{A9E52F89-BFAE-4F2B-8FF9-2225BD410412}"/>
          </ac:spMkLst>
        </pc:spChg>
        <pc:spChg chg="del">
          <ac:chgData name="Kaltrina Rexhahmetaj" userId="S::kaltrina.rexhahmetaj@bvh.org::c314e318-93e0-4c36-9995-6aa0f00e0010" providerId="AD" clId="Web-{321291FF-3ED2-D1AB-6EC7-3F82956190C7}" dt="2020-03-17T21:33:04.484" v="304"/>
          <ac:spMkLst>
            <pc:docMk/>
            <pc:sldMk cId="1877371856" sldId="919"/>
            <ac:spMk id="13" creationId="{C692A83E-9320-4054-92B6-083B68F5CB06}"/>
          </ac:spMkLst>
        </pc:spChg>
        <pc:spChg chg="del">
          <ac:chgData name="Kaltrina Rexhahmetaj" userId="S::kaltrina.rexhahmetaj@bvh.org::c314e318-93e0-4c36-9995-6aa0f00e0010" providerId="AD" clId="Web-{321291FF-3ED2-D1AB-6EC7-3F82956190C7}" dt="2020-03-17T21:33:04.484" v="303"/>
          <ac:spMkLst>
            <pc:docMk/>
            <pc:sldMk cId="1877371856" sldId="919"/>
            <ac:spMk id="20" creationId="{3F079191-3C6A-4962-A5CD-2EA2866B9060}"/>
          </ac:spMkLst>
        </pc:spChg>
        <pc:spChg chg="del">
          <ac:chgData name="Kaltrina Rexhahmetaj" userId="S::kaltrina.rexhahmetaj@bvh.org::c314e318-93e0-4c36-9995-6aa0f00e0010" providerId="AD" clId="Web-{321291FF-3ED2-D1AB-6EC7-3F82956190C7}" dt="2020-03-17T21:33:04.484" v="302"/>
          <ac:spMkLst>
            <pc:docMk/>
            <pc:sldMk cId="1877371856" sldId="919"/>
            <ac:spMk id="21" creationId="{7BC5EC19-6166-4420-A5C7-63C8CE97D7E6}"/>
          </ac:spMkLst>
        </pc:spChg>
        <pc:spChg chg="del">
          <ac:chgData name="Kaltrina Rexhahmetaj" userId="S::kaltrina.rexhahmetaj@bvh.org::c314e318-93e0-4c36-9995-6aa0f00e0010" providerId="AD" clId="Web-{321291FF-3ED2-D1AB-6EC7-3F82956190C7}" dt="2020-03-17T21:33:04.484" v="301"/>
          <ac:spMkLst>
            <pc:docMk/>
            <pc:sldMk cId="1877371856" sldId="919"/>
            <ac:spMk id="22" creationId="{99DEC0D6-0A89-4821-A547-BBD6684F2D06}"/>
          </ac:spMkLst>
        </pc:spChg>
        <pc:spChg chg="del">
          <ac:chgData name="Kaltrina Rexhahmetaj" userId="S::kaltrina.rexhahmetaj@bvh.org::c314e318-93e0-4c36-9995-6aa0f00e0010" providerId="AD" clId="Web-{321291FF-3ED2-D1AB-6EC7-3F82956190C7}" dt="2020-03-17T21:33:04.468" v="300"/>
          <ac:spMkLst>
            <pc:docMk/>
            <pc:sldMk cId="1877371856" sldId="919"/>
            <ac:spMk id="23" creationId="{53FD27FB-956F-4C52-9CB3-9C7F65479D5A}"/>
          </ac:spMkLst>
        </pc:spChg>
        <pc:spChg chg="del">
          <ac:chgData name="Kaltrina Rexhahmetaj" userId="S::kaltrina.rexhahmetaj@bvh.org::c314e318-93e0-4c36-9995-6aa0f00e0010" providerId="AD" clId="Web-{321291FF-3ED2-D1AB-6EC7-3F82956190C7}" dt="2020-03-17T21:33:04.468" v="299"/>
          <ac:spMkLst>
            <pc:docMk/>
            <pc:sldMk cId="1877371856" sldId="919"/>
            <ac:spMk id="24" creationId="{D8D89A8C-5E17-4EC7-80CA-6A40889EC073}"/>
          </ac:spMkLst>
        </pc:spChg>
        <pc:spChg chg="del">
          <ac:chgData name="Kaltrina Rexhahmetaj" userId="S::kaltrina.rexhahmetaj@bvh.org::c314e318-93e0-4c36-9995-6aa0f00e0010" providerId="AD" clId="Web-{321291FF-3ED2-D1AB-6EC7-3F82956190C7}" dt="2020-03-17T21:33:04.468" v="298"/>
          <ac:spMkLst>
            <pc:docMk/>
            <pc:sldMk cId="1877371856" sldId="919"/>
            <ac:spMk id="25" creationId="{77F84A2A-ED8E-4681-96CC-6FCFD6B9C4EE}"/>
          </ac:spMkLst>
        </pc:spChg>
        <pc:spChg chg="del">
          <ac:chgData name="Kaltrina Rexhahmetaj" userId="S::kaltrina.rexhahmetaj@bvh.org::c314e318-93e0-4c36-9995-6aa0f00e0010" providerId="AD" clId="Web-{321291FF-3ED2-D1AB-6EC7-3F82956190C7}" dt="2020-03-17T21:33:04.468" v="297"/>
          <ac:spMkLst>
            <pc:docMk/>
            <pc:sldMk cId="1877371856" sldId="919"/>
            <ac:spMk id="26" creationId="{6C03418E-62EB-486D-802E-6EF737C6B522}"/>
          </ac:spMkLst>
        </pc:spChg>
        <pc:spChg chg="del">
          <ac:chgData name="Kaltrina Rexhahmetaj" userId="S::kaltrina.rexhahmetaj@bvh.org::c314e318-93e0-4c36-9995-6aa0f00e0010" providerId="AD" clId="Web-{321291FF-3ED2-D1AB-6EC7-3F82956190C7}" dt="2020-03-17T21:33:04.468" v="296"/>
          <ac:spMkLst>
            <pc:docMk/>
            <pc:sldMk cId="1877371856" sldId="919"/>
            <ac:spMk id="27" creationId="{A3F05AB3-45B5-4D35-AE8E-314148B93B6F}"/>
          </ac:spMkLst>
        </pc:spChg>
        <pc:spChg chg="del">
          <ac:chgData name="Kaltrina Rexhahmetaj" userId="S::kaltrina.rexhahmetaj@bvh.org::c314e318-93e0-4c36-9995-6aa0f00e0010" providerId="AD" clId="Web-{321291FF-3ED2-D1AB-6EC7-3F82956190C7}" dt="2020-03-17T21:33:04.468" v="295"/>
          <ac:spMkLst>
            <pc:docMk/>
            <pc:sldMk cId="1877371856" sldId="919"/>
            <ac:spMk id="28" creationId="{9B7CB8ED-FC64-4A8B-B9D1-A0BA015E7981}"/>
          </ac:spMkLst>
        </pc:spChg>
        <pc:spChg chg="del">
          <ac:chgData name="Kaltrina Rexhahmetaj" userId="S::kaltrina.rexhahmetaj@bvh.org::c314e318-93e0-4c36-9995-6aa0f00e0010" providerId="AD" clId="Web-{321291FF-3ED2-D1AB-6EC7-3F82956190C7}" dt="2020-03-17T21:33:04.468" v="294"/>
          <ac:spMkLst>
            <pc:docMk/>
            <pc:sldMk cId="1877371856" sldId="919"/>
            <ac:spMk id="29" creationId="{7A23F124-110E-4191-8FEE-696345C31812}"/>
          </ac:spMkLst>
        </pc:spChg>
        <pc:spChg chg="del">
          <ac:chgData name="Kaltrina Rexhahmetaj" userId="S::kaltrina.rexhahmetaj@bvh.org::c314e318-93e0-4c36-9995-6aa0f00e0010" providerId="AD" clId="Web-{321291FF-3ED2-D1AB-6EC7-3F82956190C7}" dt="2020-03-17T21:33:04.468" v="293"/>
          <ac:spMkLst>
            <pc:docMk/>
            <pc:sldMk cId="1877371856" sldId="919"/>
            <ac:spMk id="30" creationId="{FD8EFEC2-CFC6-4A32-B7F4-C3731874E946}"/>
          </ac:spMkLst>
        </pc:spChg>
        <pc:spChg chg="del">
          <ac:chgData name="Kaltrina Rexhahmetaj" userId="S::kaltrina.rexhahmetaj@bvh.org::c314e318-93e0-4c36-9995-6aa0f00e0010" providerId="AD" clId="Web-{321291FF-3ED2-D1AB-6EC7-3F82956190C7}" dt="2020-03-17T21:33:04.468" v="292"/>
          <ac:spMkLst>
            <pc:docMk/>
            <pc:sldMk cId="1877371856" sldId="919"/>
            <ac:spMk id="31" creationId="{8F2C8C78-3686-41F4-AB2D-9555EAE6B766}"/>
          </ac:spMkLst>
        </pc:spChg>
        <pc:spChg chg="del">
          <ac:chgData name="Kaltrina Rexhahmetaj" userId="S::kaltrina.rexhahmetaj@bvh.org::c314e318-93e0-4c36-9995-6aa0f00e0010" providerId="AD" clId="Web-{321291FF-3ED2-D1AB-6EC7-3F82956190C7}" dt="2020-03-17T21:33:04.453" v="291"/>
          <ac:spMkLst>
            <pc:docMk/>
            <pc:sldMk cId="1877371856" sldId="919"/>
            <ac:spMk id="32" creationId="{5AA1A0E0-275F-43FB-9DBB-D1D2BAD46E34}"/>
          </ac:spMkLst>
        </pc:spChg>
        <pc:spChg chg="del">
          <ac:chgData name="Kaltrina Rexhahmetaj" userId="S::kaltrina.rexhahmetaj@bvh.org::c314e318-93e0-4c36-9995-6aa0f00e0010" providerId="AD" clId="Web-{321291FF-3ED2-D1AB-6EC7-3F82956190C7}" dt="2020-03-17T21:33:04.453" v="290"/>
          <ac:spMkLst>
            <pc:docMk/>
            <pc:sldMk cId="1877371856" sldId="919"/>
            <ac:spMk id="33" creationId="{3731B9D3-A08E-418B-80F9-F824C78858E6}"/>
          </ac:spMkLst>
        </pc:spChg>
        <pc:spChg chg="del">
          <ac:chgData name="Kaltrina Rexhahmetaj" userId="S::kaltrina.rexhahmetaj@bvh.org::c314e318-93e0-4c36-9995-6aa0f00e0010" providerId="AD" clId="Web-{321291FF-3ED2-D1AB-6EC7-3F82956190C7}" dt="2020-03-17T21:33:04.453" v="289"/>
          <ac:spMkLst>
            <pc:docMk/>
            <pc:sldMk cId="1877371856" sldId="919"/>
            <ac:spMk id="34" creationId="{212C8AA4-E7C2-4272-A91A-72D85F89F67B}"/>
          </ac:spMkLst>
        </pc:spChg>
        <pc:spChg chg="del">
          <ac:chgData name="Kaltrina Rexhahmetaj" userId="S::kaltrina.rexhahmetaj@bvh.org::c314e318-93e0-4c36-9995-6aa0f00e0010" providerId="AD" clId="Web-{321291FF-3ED2-D1AB-6EC7-3F82956190C7}" dt="2020-03-17T21:33:04.453" v="288"/>
          <ac:spMkLst>
            <pc:docMk/>
            <pc:sldMk cId="1877371856" sldId="919"/>
            <ac:spMk id="35" creationId="{179A01DA-B331-4236-A0D2-AC29F38409DE}"/>
          </ac:spMkLst>
        </pc:spChg>
        <pc:spChg chg="del">
          <ac:chgData name="Kaltrina Rexhahmetaj" userId="S::kaltrina.rexhahmetaj@bvh.org::c314e318-93e0-4c36-9995-6aa0f00e0010" providerId="AD" clId="Web-{321291FF-3ED2-D1AB-6EC7-3F82956190C7}" dt="2020-03-17T21:33:04.453" v="287"/>
          <ac:spMkLst>
            <pc:docMk/>
            <pc:sldMk cId="1877371856" sldId="919"/>
            <ac:spMk id="36" creationId="{4E814137-AE44-4E0E-98A6-F5758D384718}"/>
          </ac:spMkLst>
        </pc:spChg>
        <pc:spChg chg="del">
          <ac:chgData name="Kaltrina Rexhahmetaj" userId="S::kaltrina.rexhahmetaj@bvh.org::c314e318-93e0-4c36-9995-6aa0f00e0010" providerId="AD" clId="Web-{321291FF-3ED2-D1AB-6EC7-3F82956190C7}" dt="2020-03-17T21:33:04.453" v="286"/>
          <ac:spMkLst>
            <pc:docMk/>
            <pc:sldMk cId="1877371856" sldId="919"/>
            <ac:spMk id="37" creationId="{10536B23-C90D-47E4-A8FC-2E9AD72194CF}"/>
          </ac:spMkLst>
        </pc:spChg>
        <pc:spChg chg="del">
          <ac:chgData name="Kaltrina Rexhahmetaj" userId="S::kaltrina.rexhahmetaj@bvh.org::c314e318-93e0-4c36-9995-6aa0f00e0010" providerId="AD" clId="Web-{321291FF-3ED2-D1AB-6EC7-3F82956190C7}" dt="2020-03-17T21:33:04.453" v="285"/>
          <ac:spMkLst>
            <pc:docMk/>
            <pc:sldMk cId="1877371856" sldId="919"/>
            <ac:spMk id="38" creationId="{ACF69677-3241-4B9B-8256-173B3786F648}"/>
          </ac:spMkLst>
        </pc:spChg>
        <pc:spChg chg="del">
          <ac:chgData name="Kaltrina Rexhahmetaj" userId="S::kaltrina.rexhahmetaj@bvh.org::c314e318-93e0-4c36-9995-6aa0f00e0010" providerId="AD" clId="Web-{321291FF-3ED2-D1AB-6EC7-3F82956190C7}" dt="2020-03-17T21:33:04.453" v="284"/>
          <ac:spMkLst>
            <pc:docMk/>
            <pc:sldMk cId="1877371856" sldId="919"/>
            <ac:spMk id="39" creationId="{0890987B-FE2D-41F9-970C-F34334A1C7E3}"/>
          </ac:spMkLst>
        </pc:spChg>
        <pc:spChg chg="del">
          <ac:chgData name="Kaltrina Rexhahmetaj" userId="S::kaltrina.rexhahmetaj@bvh.org::c314e318-93e0-4c36-9995-6aa0f00e0010" providerId="AD" clId="Web-{321291FF-3ED2-D1AB-6EC7-3F82956190C7}" dt="2020-03-17T21:33:04.453" v="283"/>
          <ac:spMkLst>
            <pc:docMk/>
            <pc:sldMk cId="1877371856" sldId="919"/>
            <ac:spMk id="40" creationId="{59C44A90-8874-4357-AC17-9535B4AC36DD}"/>
          </ac:spMkLst>
        </pc:spChg>
        <pc:spChg chg="del">
          <ac:chgData name="Kaltrina Rexhahmetaj" userId="S::kaltrina.rexhahmetaj@bvh.org::c314e318-93e0-4c36-9995-6aa0f00e0010" providerId="AD" clId="Web-{321291FF-3ED2-D1AB-6EC7-3F82956190C7}" dt="2020-03-17T21:33:04.453" v="282"/>
          <ac:spMkLst>
            <pc:docMk/>
            <pc:sldMk cId="1877371856" sldId="919"/>
            <ac:spMk id="41" creationId="{38704F4C-BDE7-45AD-B11C-A4C1DFE0E1FC}"/>
          </ac:spMkLst>
        </pc:spChg>
        <pc:spChg chg="add">
          <ac:chgData name="Kaltrina Rexhahmetaj" userId="S::kaltrina.rexhahmetaj@bvh.org::c314e318-93e0-4c36-9995-6aa0f00e0010" providerId="AD" clId="Web-{321291FF-3ED2-D1AB-6EC7-3F82956190C7}" dt="2020-03-17T21:33:07.062" v="307"/>
          <ac:spMkLst>
            <pc:docMk/>
            <pc:sldMk cId="1877371856" sldId="919"/>
            <ac:spMk id="42" creationId="{A54212F9-4782-40DA-8A9D-C7CA8355D4E2}"/>
          </ac:spMkLst>
        </pc:spChg>
        <pc:spChg chg="add">
          <ac:chgData name="Kaltrina Rexhahmetaj" userId="S::kaltrina.rexhahmetaj@bvh.org::c314e318-93e0-4c36-9995-6aa0f00e0010" providerId="AD" clId="Web-{321291FF-3ED2-D1AB-6EC7-3F82956190C7}" dt="2020-03-17T21:33:07.062" v="307"/>
          <ac:spMkLst>
            <pc:docMk/>
            <pc:sldMk cId="1877371856" sldId="919"/>
            <ac:spMk id="43" creationId="{66A60D29-55C2-4337-BF8B-931B0FE3872A}"/>
          </ac:spMkLst>
        </pc:spChg>
        <pc:spChg chg="add">
          <ac:chgData name="Kaltrina Rexhahmetaj" userId="S::kaltrina.rexhahmetaj@bvh.org::c314e318-93e0-4c36-9995-6aa0f00e0010" providerId="AD" clId="Web-{321291FF-3ED2-D1AB-6EC7-3F82956190C7}" dt="2020-03-17T21:33:07.062" v="307"/>
          <ac:spMkLst>
            <pc:docMk/>
            <pc:sldMk cId="1877371856" sldId="919"/>
            <ac:spMk id="44" creationId="{AA5BCA7F-46AC-4B57-B435-DE78FE20DDD3}"/>
          </ac:spMkLst>
        </pc:spChg>
        <pc:spChg chg="add">
          <ac:chgData name="Kaltrina Rexhahmetaj" userId="S::kaltrina.rexhahmetaj@bvh.org::c314e318-93e0-4c36-9995-6aa0f00e0010" providerId="AD" clId="Web-{321291FF-3ED2-D1AB-6EC7-3F82956190C7}" dt="2020-03-17T21:33:07.062" v="307"/>
          <ac:spMkLst>
            <pc:docMk/>
            <pc:sldMk cId="1877371856" sldId="919"/>
            <ac:spMk id="45" creationId="{1D568582-4C16-45D9-AC4E-81286001F86D}"/>
          </ac:spMkLst>
        </pc:spChg>
        <pc:spChg chg="add">
          <ac:chgData name="Kaltrina Rexhahmetaj" userId="S::kaltrina.rexhahmetaj@bvh.org::c314e318-93e0-4c36-9995-6aa0f00e0010" providerId="AD" clId="Web-{321291FF-3ED2-D1AB-6EC7-3F82956190C7}" dt="2020-03-17T21:33:07.062" v="307"/>
          <ac:spMkLst>
            <pc:docMk/>
            <pc:sldMk cId="1877371856" sldId="919"/>
            <ac:spMk id="46" creationId="{340A8F00-8464-4C32-B02A-84A1F2F2AF4E}"/>
          </ac:spMkLst>
        </pc:spChg>
        <pc:spChg chg="add">
          <ac:chgData name="Kaltrina Rexhahmetaj" userId="S::kaltrina.rexhahmetaj@bvh.org::c314e318-93e0-4c36-9995-6aa0f00e0010" providerId="AD" clId="Web-{321291FF-3ED2-D1AB-6EC7-3F82956190C7}" dt="2020-03-17T21:33:07.062" v="307"/>
          <ac:spMkLst>
            <pc:docMk/>
            <pc:sldMk cId="1877371856" sldId="919"/>
            <ac:spMk id="47" creationId="{83BBFBCA-5A12-4347-91D6-4DBC08D37997}"/>
          </ac:spMkLst>
        </pc:spChg>
        <pc:spChg chg="add">
          <ac:chgData name="Kaltrina Rexhahmetaj" userId="S::kaltrina.rexhahmetaj@bvh.org::c314e318-93e0-4c36-9995-6aa0f00e0010" providerId="AD" clId="Web-{321291FF-3ED2-D1AB-6EC7-3F82956190C7}" dt="2020-03-17T21:33:07.062" v="307"/>
          <ac:spMkLst>
            <pc:docMk/>
            <pc:sldMk cId="1877371856" sldId="919"/>
            <ac:spMk id="48" creationId="{EA1CB754-EF43-426F-B83C-78B14AE327C9}"/>
          </ac:spMkLst>
        </pc:spChg>
        <pc:spChg chg="add">
          <ac:chgData name="Kaltrina Rexhahmetaj" userId="S::kaltrina.rexhahmetaj@bvh.org::c314e318-93e0-4c36-9995-6aa0f00e0010" providerId="AD" clId="Web-{321291FF-3ED2-D1AB-6EC7-3F82956190C7}" dt="2020-03-17T21:33:07.062" v="307"/>
          <ac:spMkLst>
            <pc:docMk/>
            <pc:sldMk cId="1877371856" sldId="919"/>
            <ac:spMk id="49" creationId="{A7BF0D37-6479-4C5A-9DA4-6DCE0B7EAF53}"/>
          </ac:spMkLst>
        </pc:spChg>
        <pc:spChg chg="add">
          <ac:chgData name="Kaltrina Rexhahmetaj" userId="S::kaltrina.rexhahmetaj@bvh.org::c314e318-93e0-4c36-9995-6aa0f00e0010" providerId="AD" clId="Web-{321291FF-3ED2-D1AB-6EC7-3F82956190C7}" dt="2020-03-17T21:33:07.062" v="307"/>
          <ac:spMkLst>
            <pc:docMk/>
            <pc:sldMk cId="1877371856" sldId="919"/>
            <ac:spMk id="50" creationId="{5E07DA36-2F95-4EF5-8FC2-4A8D5EF51C76}"/>
          </ac:spMkLst>
        </pc:spChg>
        <pc:spChg chg="add">
          <ac:chgData name="Kaltrina Rexhahmetaj" userId="S::kaltrina.rexhahmetaj@bvh.org::c314e318-93e0-4c36-9995-6aa0f00e0010" providerId="AD" clId="Web-{321291FF-3ED2-D1AB-6EC7-3F82956190C7}" dt="2020-03-17T21:33:07.062" v="307"/>
          <ac:spMkLst>
            <pc:docMk/>
            <pc:sldMk cId="1877371856" sldId="919"/>
            <ac:spMk id="51" creationId="{413E1B17-B5B1-4A48-BEAD-A6E943925CD4}"/>
          </ac:spMkLst>
        </pc:spChg>
        <pc:spChg chg="add">
          <ac:chgData name="Kaltrina Rexhahmetaj" userId="S::kaltrina.rexhahmetaj@bvh.org::c314e318-93e0-4c36-9995-6aa0f00e0010" providerId="AD" clId="Web-{321291FF-3ED2-D1AB-6EC7-3F82956190C7}" dt="2020-03-17T21:33:07.062" v="307"/>
          <ac:spMkLst>
            <pc:docMk/>
            <pc:sldMk cId="1877371856" sldId="919"/>
            <ac:spMk id="52" creationId="{D19869FA-7C96-45A6-AB78-F16AC4FFA74D}"/>
          </ac:spMkLst>
        </pc:spChg>
        <pc:spChg chg="add">
          <ac:chgData name="Kaltrina Rexhahmetaj" userId="S::kaltrina.rexhahmetaj@bvh.org::c314e318-93e0-4c36-9995-6aa0f00e0010" providerId="AD" clId="Web-{321291FF-3ED2-D1AB-6EC7-3F82956190C7}" dt="2020-03-17T21:33:07.062" v="307"/>
          <ac:spMkLst>
            <pc:docMk/>
            <pc:sldMk cId="1877371856" sldId="919"/>
            <ac:spMk id="53" creationId="{5ECE73DB-3F4A-4D98-82E4-1E17F09C74D3}"/>
          </ac:spMkLst>
        </pc:spChg>
        <pc:spChg chg="add">
          <ac:chgData name="Kaltrina Rexhahmetaj" userId="S::kaltrina.rexhahmetaj@bvh.org::c314e318-93e0-4c36-9995-6aa0f00e0010" providerId="AD" clId="Web-{321291FF-3ED2-D1AB-6EC7-3F82956190C7}" dt="2020-03-17T21:33:07.062" v="307"/>
          <ac:spMkLst>
            <pc:docMk/>
            <pc:sldMk cId="1877371856" sldId="919"/>
            <ac:spMk id="54" creationId="{78FD2CB3-DCD1-4DF1-A4D0-F425B0293C21}"/>
          </ac:spMkLst>
        </pc:spChg>
        <pc:spChg chg="add">
          <ac:chgData name="Kaltrina Rexhahmetaj" userId="S::kaltrina.rexhahmetaj@bvh.org::c314e318-93e0-4c36-9995-6aa0f00e0010" providerId="AD" clId="Web-{321291FF-3ED2-D1AB-6EC7-3F82956190C7}" dt="2020-03-17T21:33:07.062" v="307"/>
          <ac:spMkLst>
            <pc:docMk/>
            <pc:sldMk cId="1877371856" sldId="919"/>
            <ac:spMk id="55" creationId="{BA7AD728-4BFB-4F40-AFB0-0E9E7BCDA76E}"/>
          </ac:spMkLst>
        </pc:spChg>
        <pc:spChg chg="add">
          <ac:chgData name="Kaltrina Rexhahmetaj" userId="S::kaltrina.rexhahmetaj@bvh.org::c314e318-93e0-4c36-9995-6aa0f00e0010" providerId="AD" clId="Web-{321291FF-3ED2-D1AB-6EC7-3F82956190C7}" dt="2020-03-17T21:33:07.062" v="307"/>
          <ac:spMkLst>
            <pc:docMk/>
            <pc:sldMk cId="1877371856" sldId="919"/>
            <ac:spMk id="56" creationId="{0E7EA88F-517B-4DE5-AE9A-7A9EB53207BB}"/>
          </ac:spMkLst>
        </pc:spChg>
        <pc:spChg chg="add">
          <ac:chgData name="Kaltrina Rexhahmetaj" userId="S::kaltrina.rexhahmetaj@bvh.org::c314e318-93e0-4c36-9995-6aa0f00e0010" providerId="AD" clId="Web-{321291FF-3ED2-D1AB-6EC7-3F82956190C7}" dt="2020-03-17T21:33:07.062" v="307"/>
          <ac:spMkLst>
            <pc:docMk/>
            <pc:sldMk cId="1877371856" sldId="919"/>
            <ac:spMk id="57" creationId="{61998EAF-7412-4D9C-950D-C76A56F043E3}"/>
          </ac:spMkLst>
        </pc:spChg>
        <pc:spChg chg="add">
          <ac:chgData name="Kaltrina Rexhahmetaj" userId="S::kaltrina.rexhahmetaj@bvh.org::c314e318-93e0-4c36-9995-6aa0f00e0010" providerId="AD" clId="Web-{321291FF-3ED2-D1AB-6EC7-3F82956190C7}" dt="2020-03-17T21:33:07.062" v="307"/>
          <ac:spMkLst>
            <pc:docMk/>
            <pc:sldMk cId="1877371856" sldId="919"/>
            <ac:spMk id="58" creationId="{99982B81-D166-40DC-858D-EC951BF75FB1}"/>
          </ac:spMkLst>
        </pc:spChg>
        <pc:spChg chg="add">
          <ac:chgData name="Kaltrina Rexhahmetaj" userId="S::kaltrina.rexhahmetaj@bvh.org::c314e318-93e0-4c36-9995-6aa0f00e0010" providerId="AD" clId="Web-{321291FF-3ED2-D1AB-6EC7-3F82956190C7}" dt="2020-03-17T21:33:07.062" v="307"/>
          <ac:spMkLst>
            <pc:docMk/>
            <pc:sldMk cId="1877371856" sldId="919"/>
            <ac:spMk id="59" creationId="{F86789D6-0AF9-4D42-A90E-1DCC9D54351B}"/>
          </ac:spMkLst>
        </pc:spChg>
        <pc:spChg chg="add">
          <ac:chgData name="Kaltrina Rexhahmetaj" userId="S::kaltrina.rexhahmetaj@bvh.org::c314e318-93e0-4c36-9995-6aa0f00e0010" providerId="AD" clId="Web-{321291FF-3ED2-D1AB-6EC7-3F82956190C7}" dt="2020-03-17T21:33:07.062" v="307"/>
          <ac:spMkLst>
            <pc:docMk/>
            <pc:sldMk cId="1877371856" sldId="919"/>
            <ac:spMk id="60" creationId="{7063DDC0-37B6-436A-BEA7-D5CF608B693A}"/>
          </ac:spMkLst>
        </pc:spChg>
        <pc:spChg chg="add">
          <ac:chgData name="Kaltrina Rexhahmetaj" userId="S::kaltrina.rexhahmetaj@bvh.org::c314e318-93e0-4c36-9995-6aa0f00e0010" providerId="AD" clId="Web-{321291FF-3ED2-D1AB-6EC7-3F82956190C7}" dt="2020-03-17T21:33:07.062" v="307"/>
          <ac:spMkLst>
            <pc:docMk/>
            <pc:sldMk cId="1877371856" sldId="919"/>
            <ac:spMk id="61" creationId="{B262ED5E-5CD5-4A2D-867E-B5376CC2DE94}"/>
          </ac:spMkLst>
        </pc:spChg>
        <pc:spChg chg="add">
          <ac:chgData name="Kaltrina Rexhahmetaj" userId="S::kaltrina.rexhahmetaj@bvh.org::c314e318-93e0-4c36-9995-6aa0f00e0010" providerId="AD" clId="Web-{321291FF-3ED2-D1AB-6EC7-3F82956190C7}" dt="2020-03-17T21:33:07.062" v="307"/>
          <ac:spMkLst>
            <pc:docMk/>
            <pc:sldMk cId="1877371856" sldId="919"/>
            <ac:spMk id="62" creationId="{23AC92B6-6181-4D76-AFFC-81A63EEC6486}"/>
          </ac:spMkLst>
        </pc:spChg>
        <pc:spChg chg="add">
          <ac:chgData name="Kaltrina Rexhahmetaj" userId="S::kaltrina.rexhahmetaj@bvh.org::c314e318-93e0-4c36-9995-6aa0f00e0010" providerId="AD" clId="Web-{321291FF-3ED2-D1AB-6EC7-3F82956190C7}" dt="2020-03-17T21:33:07.062" v="307"/>
          <ac:spMkLst>
            <pc:docMk/>
            <pc:sldMk cId="1877371856" sldId="919"/>
            <ac:spMk id="63" creationId="{FA1BB5BE-000B-4A56-99B6-8642ABFF82E8}"/>
          </ac:spMkLst>
        </pc:spChg>
        <pc:spChg chg="add">
          <ac:chgData name="Kaltrina Rexhahmetaj" userId="S::kaltrina.rexhahmetaj@bvh.org::c314e318-93e0-4c36-9995-6aa0f00e0010" providerId="AD" clId="Web-{321291FF-3ED2-D1AB-6EC7-3F82956190C7}" dt="2020-03-17T21:33:07.062" v="307"/>
          <ac:spMkLst>
            <pc:docMk/>
            <pc:sldMk cId="1877371856" sldId="919"/>
            <ac:spMk id="64" creationId="{DC67A037-045E-4DFA-9886-8AD2F570679C}"/>
          </ac:spMkLst>
        </pc:spChg>
        <pc:spChg chg="add">
          <ac:chgData name="Kaltrina Rexhahmetaj" userId="S::kaltrina.rexhahmetaj@bvh.org::c314e318-93e0-4c36-9995-6aa0f00e0010" providerId="AD" clId="Web-{321291FF-3ED2-D1AB-6EC7-3F82956190C7}" dt="2020-03-17T21:33:07.062" v="307"/>
          <ac:spMkLst>
            <pc:docMk/>
            <pc:sldMk cId="1877371856" sldId="919"/>
            <ac:spMk id="65" creationId="{1F442971-4EAC-46FB-BA73-36D50B6C3182}"/>
          </ac:spMkLst>
        </pc:spChg>
        <pc:spChg chg="add">
          <ac:chgData name="Kaltrina Rexhahmetaj" userId="S::kaltrina.rexhahmetaj@bvh.org::c314e318-93e0-4c36-9995-6aa0f00e0010" providerId="AD" clId="Web-{321291FF-3ED2-D1AB-6EC7-3F82956190C7}" dt="2020-03-17T21:33:07.062" v="307"/>
          <ac:spMkLst>
            <pc:docMk/>
            <pc:sldMk cId="1877371856" sldId="919"/>
            <ac:spMk id="66" creationId="{9E1C202B-2006-43CC-A8BB-C4D23E191FAB}"/>
          </ac:spMkLst>
        </pc:spChg>
        <pc:spChg chg="add">
          <ac:chgData name="Kaltrina Rexhahmetaj" userId="S::kaltrina.rexhahmetaj@bvh.org::c314e318-93e0-4c36-9995-6aa0f00e0010" providerId="AD" clId="Web-{321291FF-3ED2-D1AB-6EC7-3F82956190C7}" dt="2020-03-17T21:33:07.062" v="307"/>
          <ac:spMkLst>
            <pc:docMk/>
            <pc:sldMk cId="1877371856" sldId="919"/>
            <ac:spMk id="67" creationId="{9F225162-4C03-43D6-90BD-D82D98FED29A}"/>
          </ac:spMkLst>
        </pc:spChg>
        <pc:spChg chg="add">
          <ac:chgData name="Kaltrina Rexhahmetaj" userId="S::kaltrina.rexhahmetaj@bvh.org::c314e318-93e0-4c36-9995-6aa0f00e0010" providerId="AD" clId="Web-{321291FF-3ED2-D1AB-6EC7-3F82956190C7}" dt="2020-03-17T21:33:07.062" v="307"/>
          <ac:spMkLst>
            <pc:docMk/>
            <pc:sldMk cId="1877371856" sldId="919"/>
            <ac:spMk id="68" creationId="{0845D13F-895A-4F8B-A1B2-421AB8F3FFD6}"/>
          </ac:spMkLst>
        </pc:spChg>
        <pc:spChg chg="add del">
          <ac:chgData name="Kaltrina Rexhahmetaj" userId="S::kaltrina.rexhahmetaj@bvh.org::c314e318-93e0-4c36-9995-6aa0f00e0010" providerId="AD" clId="Web-{321291FF-3ED2-D1AB-6EC7-3F82956190C7}" dt="2020-03-17T21:33:46.421" v="316"/>
          <ac:spMkLst>
            <pc:docMk/>
            <pc:sldMk cId="1877371856" sldId="919"/>
            <ac:spMk id="69" creationId="{8ADCE380-390B-4717-B260-ACFE930EF5CC}"/>
          </ac:spMkLst>
        </pc:spChg>
      </pc:sldChg>
      <pc:sldChg chg="addSp delSp modSp add replId modNotes">
        <pc:chgData name="Kaltrina Rexhahmetaj" userId="S::kaltrina.rexhahmetaj@bvh.org::c314e318-93e0-4c36-9995-6aa0f00e0010" providerId="AD" clId="Web-{321291FF-3ED2-D1AB-6EC7-3F82956190C7}" dt="2020-03-17T21:35:37.952" v="363"/>
        <pc:sldMkLst>
          <pc:docMk/>
          <pc:sldMk cId="2107367095" sldId="920"/>
        </pc:sldMkLst>
        <pc:spChg chg="add mod">
          <ac:chgData name="Kaltrina Rexhahmetaj" userId="S::kaltrina.rexhahmetaj@bvh.org::c314e318-93e0-4c36-9995-6aa0f00e0010" providerId="AD" clId="Web-{321291FF-3ED2-D1AB-6EC7-3F82956190C7}" dt="2020-03-17T21:35:09.468" v="359" actId="20577"/>
          <ac:spMkLst>
            <pc:docMk/>
            <pc:sldMk cId="2107367095" sldId="920"/>
            <ac:spMk id="4" creationId="{EB8FDBA8-90C4-4768-A01D-6202C2A5F79C}"/>
          </ac:spMkLst>
        </pc:spChg>
        <pc:spChg chg="del">
          <ac:chgData name="Kaltrina Rexhahmetaj" userId="S::kaltrina.rexhahmetaj@bvh.org::c314e318-93e0-4c36-9995-6aa0f00e0010" providerId="AD" clId="Web-{321291FF-3ED2-D1AB-6EC7-3F82956190C7}" dt="2020-03-17T21:34:24.937" v="346"/>
          <ac:spMkLst>
            <pc:docMk/>
            <pc:sldMk cId="2107367095" sldId="920"/>
            <ac:spMk id="5" creationId="{38F8B377-B907-447C-A881-602B73458736}"/>
          </ac:spMkLst>
        </pc:spChg>
        <pc:spChg chg="add">
          <ac:chgData name="Kaltrina Rexhahmetaj" userId="S::kaltrina.rexhahmetaj@bvh.org::c314e318-93e0-4c36-9995-6aa0f00e0010" providerId="AD" clId="Web-{321291FF-3ED2-D1AB-6EC7-3F82956190C7}" dt="2020-03-17T21:34:46.312" v="348"/>
          <ac:spMkLst>
            <pc:docMk/>
            <pc:sldMk cId="2107367095" sldId="920"/>
            <ac:spMk id="33" creationId="{79D8003F-2A72-4B1A-B254-61828A780B86}"/>
          </ac:spMkLst>
        </pc:spChg>
        <pc:spChg chg="add">
          <ac:chgData name="Kaltrina Rexhahmetaj" userId="S::kaltrina.rexhahmetaj@bvh.org::c314e318-93e0-4c36-9995-6aa0f00e0010" providerId="AD" clId="Web-{321291FF-3ED2-D1AB-6EC7-3F82956190C7}" dt="2020-03-17T21:34:46.312" v="348"/>
          <ac:spMkLst>
            <pc:docMk/>
            <pc:sldMk cId="2107367095" sldId="920"/>
            <ac:spMk id="34" creationId="{BB83A8F2-C7A8-4A7C-B92A-C56AF22D56B3}"/>
          </ac:spMkLst>
        </pc:spChg>
        <pc:spChg chg="add">
          <ac:chgData name="Kaltrina Rexhahmetaj" userId="S::kaltrina.rexhahmetaj@bvh.org::c314e318-93e0-4c36-9995-6aa0f00e0010" providerId="AD" clId="Web-{321291FF-3ED2-D1AB-6EC7-3F82956190C7}" dt="2020-03-17T21:34:46.312" v="348"/>
          <ac:spMkLst>
            <pc:docMk/>
            <pc:sldMk cId="2107367095" sldId="920"/>
            <ac:spMk id="35" creationId="{F976B5CC-A2CF-481A-8620-7A0BBE31B2D1}"/>
          </ac:spMkLst>
        </pc:spChg>
        <pc:spChg chg="add">
          <ac:chgData name="Kaltrina Rexhahmetaj" userId="S::kaltrina.rexhahmetaj@bvh.org::c314e318-93e0-4c36-9995-6aa0f00e0010" providerId="AD" clId="Web-{321291FF-3ED2-D1AB-6EC7-3F82956190C7}" dt="2020-03-17T21:34:46.312" v="348"/>
          <ac:spMkLst>
            <pc:docMk/>
            <pc:sldMk cId="2107367095" sldId="920"/>
            <ac:spMk id="36" creationId="{88F2E1FD-571B-4E5D-9888-B3CBF9C87784}"/>
          </ac:spMkLst>
        </pc:spChg>
        <pc:spChg chg="add">
          <ac:chgData name="Kaltrina Rexhahmetaj" userId="S::kaltrina.rexhahmetaj@bvh.org::c314e318-93e0-4c36-9995-6aa0f00e0010" providerId="AD" clId="Web-{321291FF-3ED2-D1AB-6EC7-3F82956190C7}" dt="2020-03-17T21:34:46.312" v="348"/>
          <ac:spMkLst>
            <pc:docMk/>
            <pc:sldMk cId="2107367095" sldId="920"/>
            <ac:spMk id="37" creationId="{2C6EC667-1204-4104-975C-C6012ACBF53E}"/>
          </ac:spMkLst>
        </pc:spChg>
        <pc:spChg chg="add">
          <ac:chgData name="Kaltrina Rexhahmetaj" userId="S::kaltrina.rexhahmetaj@bvh.org::c314e318-93e0-4c36-9995-6aa0f00e0010" providerId="AD" clId="Web-{321291FF-3ED2-D1AB-6EC7-3F82956190C7}" dt="2020-03-17T21:34:46.312" v="348"/>
          <ac:spMkLst>
            <pc:docMk/>
            <pc:sldMk cId="2107367095" sldId="920"/>
            <ac:spMk id="38" creationId="{5A2FE658-BAA3-4AA1-96FF-2503A346495D}"/>
          </ac:spMkLst>
        </pc:spChg>
        <pc:spChg chg="add">
          <ac:chgData name="Kaltrina Rexhahmetaj" userId="S::kaltrina.rexhahmetaj@bvh.org::c314e318-93e0-4c36-9995-6aa0f00e0010" providerId="AD" clId="Web-{321291FF-3ED2-D1AB-6EC7-3F82956190C7}" dt="2020-03-17T21:34:46.312" v="348"/>
          <ac:spMkLst>
            <pc:docMk/>
            <pc:sldMk cId="2107367095" sldId="920"/>
            <ac:spMk id="39" creationId="{09BF6BA9-DD16-409C-8DF4-B9EAC718A8E3}"/>
          </ac:spMkLst>
        </pc:spChg>
        <pc:spChg chg="add">
          <ac:chgData name="Kaltrina Rexhahmetaj" userId="S::kaltrina.rexhahmetaj@bvh.org::c314e318-93e0-4c36-9995-6aa0f00e0010" providerId="AD" clId="Web-{321291FF-3ED2-D1AB-6EC7-3F82956190C7}" dt="2020-03-17T21:34:46.312" v="348"/>
          <ac:spMkLst>
            <pc:docMk/>
            <pc:sldMk cId="2107367095" sldId="920"/>
            <ac:spMk id="40" creationId="{67E96638-5F84-4B69-A107-7C53B72D20C2}"/>
          </ac:spMkLst>
        </pc:spChg>
        <pc:spChg chg="add">
          <ac:chgData name="Kaltrina Rexhahmetaj" userId="S::kaltrina.rexhahmetaj@bvh.org::c314e318-93e0-4c36-9995-6aa0f00e0010" providerId="AD" clId="Web-{321291FF-3ED2-D1AB-6EC7-3F82956190C7}" dt="2020-03-17T21:34:46.312" v="348"/>
          <ac:spMkLst>
            <pc:docMk/>
            <pc:sldMk cId="2107367095" sldId="920"/>
            <ac:spMk id="41" creationId="{40A30903-156D-45BB-8293-C7903689110E}"/>
          </ac:spMkLst>
        </pc:spChg>
        <pc:spChg chg="del">
          <ac:chgData name="Kaltrina Rexhahmetaj" userId="S::kaltrina.rexhahmetaj@bvh.org::c314e318-93e0-4c36-9995-6aa0f00e0010" providerId="AD" clId="Web-{321291FF-3ED2-D1AB-6EC7-3F82956190C7}" dt="2020-03-17T21:34:24.780" v="345"/>
          <ac:spMkLst>
            <pc:docMk/>
            <pc:sldMk cId="2107367095" sldId="920"/>
            <ac:spMk id="42" creationId="{A54212F9-4782-40DA-8A9D-C7CA8355D4E2}"/>
          </ac:spMkLst>
        </pc:spChg>
        <pc:spChg chg="del">
          <ac:chgData name="Kaltrina Rexhahmetaj" userId="S::kaltrina.rexhahmetaj@bvh.org::c314e318-93e0-4c36-9995-6aa0f00e0010" providerId="AD" clId="Web-{321291FF-3ED2-D1AB-6EC7-3F82956190C7}" dt="2020-03-17T21:34:24.780" v="344"/>
          <ac:spMkLst>
            <pc:docMk/>
            <pc:sldMk cId="2107367095" sldId="920"/>
            <ac:spMk id="43" creationId="{66A60D29-55C2-4337-BF8B-931B0FE3872A}"/>
          </ac:spMkLst>
        </pc:spChg>
        <pc:spChg chg="del">
          <ac:chgData name="Kaltrina Rexhahmetaj" userId="S::kaltrina.rexhahmetaj@bvh.org::c314e318-93e0-4c36-9995-6aa0f00e0010" providerId="AD" clId="Web-{321291FF-3ED2-D1AB-6EC7-3F82956190C7}" dt="2020-03-17T21:34:24.780" v="343"/>
          <ac:spMkLst>
            <pc:docMk/>
            <pc:sldMk cId="2107367095" sldId="920"/>
            <ac:spMk id="44" creationId="{AA5BCA7F-46AC-4B57-B435-DE78FE20DDD3}"/>
          </ac:spMkLst>
        </pc:spChg>
        <pc:spChg chg="del">
          <ac:chgData name="Kaltrina Rexhahmetaj" userId="S::kaltrina.rexhahmetaj@bvh.org::c314e318-93e0-4c36-9995-6aa0f00e0010" providerId="AD" clId="Web-{321291FF-3ED2-D1AB-6EC7-3F82956190C7}" dt="2020-03-17T21:34:24.780" v="342"/>
          <ac:spMkLst>
            <pc:docMk/>
            <pc:sldMk cId="2107367095" sldId="920"/>
            <ac:spMk id="45" creationId="{1D568582-4C16-45D9-AC4E-81286001F86D}"/>
          </ac:spMkLst>
        </pc:spChg>
        <pc:spChg chg="del">
          <ac:chgData name="Kaltrina Rexhahmetaj" userId="S::kaltrina.rexhahmetaj@bvh.org::c314e318-93e0-4c36-9995-6aa0f00e0010" providerId="AD" clId="Web-{321291FF-3ED2-D1AB-6EC7-3F82956190C7}" dt="2020-03-17T21:34:24.780" v="341"/>
          <ac:spMkLst>
            <pc:docMk/>
            <pc:sldMk cId="2107367095" sldId="920"/>
            <ac:spMk id="46" creationId="{340A8F00-8464-4C32-B02A-84A1F2F2AF4E}"/>
          </ac:spMkLst>
        </pc:spChg>
        <pc:spChg chg="del">
          <ac:chgData name="Kaltrina Rexhahmetaj" userId="S::kaltrina.rexhahmetaj@bvh.org::c314e318-93e0-4c36-9995-6aa0f00e0010" providerId="AD" clId="Web-{321291FF-3ED2-D1AB-6EC7-3F82956190C7}" dt="2020-03-17T21:34:24.780" v="340"/>
          <ac:spMkLst>
            <pc:docMk/>
            <pc:sldMk cId="2107367095" sldId="920"/>
            <ac:spMk id="47" creationId="{83BBFBCA-5A12-4347-91D6-4DBC08D37997}"/>
          </ac:spMkLst>
        </pc:spChg>
        <pc:spChg chg="del">
          <ac:chgData name="Kaltrina Rexhahmetaj" userId="S::kaltrina.rexhahmetaj@bvh.org::c314e318-93e0-4c36-9995-6aa0f00e0010" providerId="AD" clId="Web-{321291FF-3ED2-D1AB-6EC7-3F82956190C7}" dt="2020-03-17T21:34:24.780" v="339"/>
          <ac:spMkLst>
            <pc:docMk/>
            <pc:sldMk cId="2107367095" sldId="920"/>
            <ac:spMk id="48" creationId="{EA1CB754-EF43-426F-B83C-78B14AE327C9}"/>
          </ac:spMkLst>
        </pc:spChg>
        <pc:spChg chg="del">
          <ac:chgData name="Kaltrina Rexhahmetaj" userId="S::kaltrina.rexhahmetaj@bvh.org::c314e318-93e0-4c36-9995-6aa0f00e0010" providerId="AD" clId="Web-{321291FF-3ED2-D1AB-6EC7-3F82956190C7}" dt="2020-03-17T21:34:24.780" v="338"/>
          <ac:spMkLst>
            <pc:docMk/>
            <pc:sldMk cId="2107367095" sldId="920"/>
            <ac:spMk id="49" creationId="{A7BF0D37-6479-4C5A-9DA4-6DCE0B7EAF53}"/>
          </ac:spMkLst>
        </pc:spChg>
        <pc:spChg chg="del">
          <ac:chgData name="Kaltrina Rexhahmetaj" userId="S::kaltrina.rexhahmetaj@bvh.org::c314e318-93e0-4c36-9995-6aa0f00e0010" providerId="AD" clId="Web-{321291FF-3ED2-D1AB-6EC7-3F82956190C7}" dt="2020-03-17T21:34:24.780" v="337"/>
          <ac:spMkLst>
            <pc:docMk/>
            <pc:sldMk cId="2107367095" sldId="920"/>
            <ac:spMk id="50" creationId="{5E07DA36-2F95-4EF5-8FC2-4A8D5EF51C76}"/>
          </ac:spMkLst>
        </pc:spChg>
        <pc:spChg chg="del">
          <ac:chgData name="Kaltrina Rexhahmetaj" userId="S::kaltrina.rexhahmetaj@bvh.org::c314e318-93e0-4c36-9995-6aa0f00e0010" providerId="AD" clId="Web-{321291FF-3ED2-D1AB-6EC7-3F82956190C7}" dt="2020-03-17T21:34:24.780" v="336"/>
          <ac:spMkLst>
            <pc:docMk/>
            <pc:sldMk cId="2107367095" sldId="920"/>
            <ac:spMk id="51" creationId="{413E1B17-B5B1-4A48-BEAD-A6E943925CD4}"/>
          </ac:spMkLst>
        </pc:spChg>
        <pc:spChg chg="del">
          <ac:chgData name="Kaltrina Rexhahmetaj" userId="S::kaltrina.rexhahmetaj@bvh.org::c314e318-93e0-4c36-9995-6aa0f00e0010" providerId="AD" clId="Web-{321291FF-3ED2-D1AB-6EC7-3F82956190C7}" dt="2020-03-17T21:34:24.780" v="335"/>
          <ac:spMkLst>
            <pc:docMk/>
            <pc:sldMk cId="2107367095" sldId="920"/>
            <ac:spMk id="52" creationId="{D19869FA-7C96-45A6-AB78-F16AC4FFA74D}"/>
          </ac:spMkLst>
        </pc:spChg>
        <pc:spChg chg="del">
          <ac:chgData name="Kaltrina Rexhahmetaj" userId="S::kaltrina.rexhahmetaj@bvh.org::c314e318-93e0-4c36-9995-6aa0f00e0010" providerId="AD" clId="Web-{321291FF-3ED2-D1AB-6EC7-3F82956190C7}" dt="2020-03-17T21:34:24.780" v="334"/>
          <ac:spMkLst>
            <pc:docMk/>
            <pc:sldMk cId="2107367095" sldId="920"/>
            <ac:spMk id="53" creationId="{5ECE73DB-3F4A-4D98-82E4-1E17F09C74D3}"/>
          </ac:spMkLst>
        </pc:spChg>
        <pc:spChg chg="del">
          <ac:chgData name="Kaltrina Rexhahmetaj" userId="S::kaltrina.rexhahmetaj@bvh.org::c314e318-93e0-4c36-9995-6aa0f00e0010" providerId="AD" clId="Web-{321291FF-3ED2-D1AB-6EC7-3F82956190C7}" dt="2020-03-17T21:34:24.765" v="333"/>
          <ac:spMkLst>
            <pc:docMk/>
            <pc:sldMk cId="2107367095" sldId="920"/>
            <ac:spMk id="54" creationId="{78FD2CB3-DCD1-4DF1-A4D0-F425B0293C21}"/>
          </ac:spMkLst>
        </pc:spChg>
        <pc:spChg chg="del">
          <ac:chgData name="Kaltrina Rexhahmetaj" userId="S::kaltrina.rexhahmetaj@bvh.org::c314e318-93e0-4c36-9995-6aa0f00e0010" providerId="AD" clId="Web-{321291FF-3ED2-D1AB-6EC7-3F82956190C7}" dt="2020-03-17T21:34:24.765" v="332"/>
          <ac:spMkLst>
            <pc:docMk/>
            <pc:sldMk cId="2107367095" sldId="920"/>
            <ac:spMk id="55" creationId="{BA7AD728-4BFB-4F40-AFB0-0E9E7BCDA76E}"/>
          </ac:spMkLst>
        </pc:spChg>
        <pc:spChg chg="del">
          <ac:chgData name="Kaltrina Rexhahmetaj" userId="S::kaltrina.rexhahmetaj@bvh.org::c314e318-93e0-4c36-9995-6aa0f00e0010" providerId="AD" clId="Web-{321291FF-3ED2-D1AB-6EC7-3F82956190C7}" dt="2020-03-17T21:34:24.765" v="331"/>
          <ac:spMkLst>
            <pc:docMk/>
            <pc:sldMk cId="2107367095" sldId="920"/>
            <ac:spMk id="56" creationId="{0E7EA88F-517B-4DE5-AE9A-7A9EB53207BB}"/>
          </ac:spMkLst>
        </pc:spChg>
        <pc:spChg chg="del">
          <ac:chgData name="Kaltrina Rexhahmetaj" userId="S::kaltrina.rexhahmetaj@bvh.org::c314e318-93e0-4c36-9995-6aa0f00e0010" providerId="AD" clId="Web-{321291FF-3ED2-D1AB-6EC7-3F82956190C7}" dt="2020-03-17T21:34:24.765" v="330"/>
          <ac:spMkLst>
            <pc:docMk/>
            <pc:sldMk cId="2107367095" sldId="920"/>
            <ac:spMk id="57" creationId="{61998EAF-7412-4D9C-950D-C76A56F043E3}"/>
          </ac:spMkLst>
        </pc:spChg>
        <pc:spChg chg="del">
          <ac:chgData name="Kaltrina Rexhahmetaj" userId="S::kaltrina.rexhahmetaj@bvh.org::c314e318-93e0-4c36-9995-6aa0f00e0010" providerId="AD" clId="Web-{321291FF-3ED2-D1AB-6EC7-3F82956190C7}" dt="2020-03-17T21:34:24.765" v="329"/>
          <ac:spMkLst>
            <pc:docMk/>
            <pc:sldMk cId="2107367095" sldId="920"/>
            <ac:spMk id="58" creationId="{99982B81-D166-40DC-858D-EC951BF75FB1}"/>
          </ac:spMkLst>
        </pc:spChg>
        <pc:spChg chg="del">
          <ac:chgData name="Kaltrina Rexhahmetaj" userId="S::kaltrina.rexhahmetaj@bvh.org::c314e318-93e0-4c36-9995-6aa0f00e0010" providerId="AD" clId="Web-{321291FF-3ED2-D1AB-6EC7-3F82956190C7}" dt="2020-03-17T21:34:24.765" v="328"/>
          <ac:spMkLst>
            <pc:docMk/>
            <pc:sldMk cId="2107367095" sldId="920"/>
            <ac:spMk id="59" creationId="{F86789D6-0AF9-4D42-A90E-1DCC9D54351B}"/>
          </ac:spMkLst>
        </pc:spChg>
        <pc:spChg chg="del">
          <ac:chgData name="Kaltrina Rexhahmetaj" userId="S::kaltrina.rexhahmetaj@bvh.org::c314e318-93e0-4c36-9995-6aa0f00e0010" providerId="AD" clId="Web-{321291FF-3ED2-D1AB-6EC7-3F82956190C7}" dt="2020-03-17T21:34:24.765" v="327"/>
          <ac:spMkLst>
            <pc:docMk/>
            <pc:sldMk cId="2107367095" sldId="920"/>
            <ac:spMk id="60" creationId="{7063DDC0-37B6-436A-BEA7-D5CF608B693A}"/>
          </ac:spMkLst>
        </pc:spChg>
        <pc:spChg chg="del">
          <ac:chgData name="Kaltrina Rexhahmetaj" userId="S::kaltrina.rexhahmetaj@bvh.org::c314e318-93e0-4c36-9995-6aa0f00e0010" providerId="AD" clId="Web-{321291FF-3ED2-D1AB-6EC7-3F82956190C7}" dt="2020-03-17T21:34:24.765" v="326"/>
          <ac:spMkLst>
            <pc:docMk/>
            <pc:sldMk cId="2107367095" sldId="920"/>
            <ac:spMk id="61" creationId="{B262ED5E-5CD5-4A2D-867E-B5376CC2DE94}"/>
          </ac:spMkLst>
        </pc:spChg>
        <pc:spChg chg="del">
          <ac:chgData name="Kaltrina Rexhahmetaj" userId="S::kaltrina.rexhahmetaj@bvh.org::c314e318-93e0-4c36-9995-6aa0f00e0010" providerId="AD" clId="Web-{321291FF-3ED2-D1AB-6EC7-3F82956190C7}" dt="2020-03-17T21:34:24.765" v="325"/>
          <ac:spMkLst>
            <pc:docMk/>
            <pc:sldMk cId="2107367095" sldId="920"/>
            <ac:spMk id="62" creationId="{23AC92B6-6181-4D76-AFFC-81A63EEC6486}"/>
          </ac:spMkLst>
        </pc:spChg>
        <pc:spChg chg="del">
          <ac:chgData name="Kaltrina Rexhahmetaj" userId="S::kaltrina.rexhahmetaj@bvh.org::c314e318-93e0-4c36-9995-6aa0f00e0010" providerId="AD" clId="Web-{321291FF-3ED2-D1AB-6EC7-3F82956190C7}" dt="2020-03-17T21:34:24.765" v="324"/>
          <ac:spMkLst>
            <pc:docMk/>
            <pc:sldMk cId="2107367095" sldId="920"/>
            <ac:spMk id="63" creationId="{FA1BB5BE-000B-4A56-99B6-8642ABFF82E8}"/>
          </ac:spMkLst>
        </pc:spChg>
        <pc:spChg chg="del">
          <ac:chgData name="Kaltrina Rexhahmetaj" userId="S::kaltrina.rexhahmetaj@bvh.org::c314e318-93e0-4c36-9995-6aa0f00e0010" providerId="AD" clId="Web-{321291FF-3ED2-D1AB-6EC7-3F82956190C7}" dt="2020-03-17T21:34:24.765" v="323"/>
          <ac:spMkLst>
            <pc:docMk/>
            <pc:sldMk cId="2107367095" sldId="920"/>
            <ac:spMk id="64" creationId="{DC67A037-045E-4DFA-9886-8AD2F570679C}"/>
          </ac:spMkLst>
        </pc:spChg>
        <pc:spChg chg="del">
          <ac:chgData name="Kaltrina Rexhahmetaj" userId="S::kaltrina.rexhahmetaj@bvh.org::c314e318-93e0-4c36-9995-6aa0f00e0010" providerId="AD" clId="Web-{321291FF-3ED2-D1AB-6EC7-3F82956190C7}" dt="2020-03-17T21:34:24.765" v="322"/>
          <ac:spMkLst>
            <pc:docMk/>
            <pc:sldMk cId="2107367095" sldId="920"/>
            <ac:spMk id="65" creationId="{1F442971-4EAC-46FB-BA73-36D50B6C3182}"/>
          </ac:spMkLst>
        </pc:spChg>
        <pc:spChg chg="del">
          <ac:chgData name="Kaltrina Rexhahmetaj" userId="S::kaltrina.rexhahmetaj@bvh.org::c314e318-93e0-4c36-9995-6aa0f00e0010" providerId="AD" clId="Web-{321291FF-3ED2-D1AB-6EC7-3F82956190C7}" dt="2020-03-17T21:34:24.765" v="321"/>
          <ac:spMkLst>
            <pc:docMk/>
            <pc:sldMk cId="2107367095" sldId="920"/>
            <ac:spMk id="66" creationId="{9E1C202B-2006-43CC-A8BB-C4D23E191FAB}"/>
          </ac:spMkLst>
        </pc:spChg>
        <pc:spChg chg="del">
          <ac:chgData name="Kaltrina Rexhahmetaj" userId="S::kaltrina.rexhahmetaj@bvh.org::c314e318-93e0-4c36-9995-6aa0f00e0010" providerId="AD" clId="Web-{321291FF-3ED2-D1AB-6EC7-3F82956190C7}" dt="2020-03-17T21:34:24.749" v="320"/>
          <ac:spMkLst>
            <pc:docMk/>
            <pc:sldMk cId="2107367095" sldId="920"/>
            <ac:spMk id="67" creationId="{9F225162-4C03-43D6-90BD-D82D98FED29A}"/>
          </ac:spMkLst>
        </pc:spChg>
        <pc:spChg chg="del">
          <ac:chgData name="Kaltrina Rexhahmetaj" userId="S::kaltrina.rexhahmetaj@bvh.org::c314e318-93e0-4c36-9995-6aa0f00e0010" providerId="AD" clId="Web-{321291FF-3ED2-D1AB-6EC7-3F82956190C7}" dt="2020-03-17T21:34:24.749" v="319"/>
          <ac:spMkLst>
            <pc:docMk/>
            <pc:sldMk cId="2107367095" sldId="920"/>
            <ac:spMk id="68" creationId="{0845D13F-895A-4F8B-A1B2-421AB8F3FFD6}"/>
          </ac:spMkLst>
        </pc:spChg>
        <pc:spChg chg="add">
          <ac:chgData name="Kaltrina Rexhahmetaj" userId="S::kaltrina.rexhahmetaj@bvh.org::c314e318-93e0-4c36-9995-6aa0f00e0010" providerId="AD" clId="Web-{321291FF-3ED2-D1AB-6EC7-3F82956190C7}" dt="2020-03-17T21:34:46.312" v="348"/>
          <ac:spMkLst>
            <pc:docMk/>
            <pc:sldMk cId="2107367095" sldId="920"/>
            <ac:spMk id="69" creationId="{132A5609-4F66-4586-80EB-2DDAF42DA0D0}"/>
          </ac:spMkLst>
        </pc:spChg>
        <pc:spChg chg="add">
          <ac:chgData name="Kaltrina Rexhahmetaj" userId="S::kaltrina.rexhahmetaj@bvh.org::c314e318-93e0-4c36-9995-6aa0f00e0010" providerId="AD" clId="Web-{321291FF-3ED2-D1AB-6EC7-3F82956190C7}" dt="2020-03-17T21:34:46.312" v="348"/>
          <ac:spMkLst>
            <pc:docMk/>
            <pc:sldMk cId="2107367095" sldId="920"/>
            <ac:spMk id="70" creationId="{5B962502-0FE4-4C9B-ADFE-387E52B7975C}"/>
          </ac:spMkLst>
        </pc:spChg>
        <pc:spChg chg="add">
          <ac:chgData name="Kaltrina Rexhahmetaj" userId="S::kaltrina.rexhahmetaj@bvh.org::c314e318-93e0-4c36-9995-6aa0f00e0010" providerId="AD" clId="Web-{321291FF-3ED2-D1AB-6EC7-3F82956190C7}" dt="2020-03-17T21:34:46.312" v="348"/>
          <ac:spMkLst>
            <pc:docMk/>
            <pc:sldMk cId="2107367095" sldId="920"/>
            <ac:spMk id="71" creationId="{884D6A46-31BD-4CA6-99FC-6829679B7D4F}"/>
          </ac:spMkLst>
        </pc:spChg>
        <pc:spChg chg="add">
          <ac:chgData name="Kaltrina Rexhahmetaj" userId="S::kaltrina.rexhahmetaj@bvh.org::c314e318-93e0-4c36-9995-6aa0f00e0010" providerId="AD" clId="Web-{321291FF-3ED2-D1AB-6EC7-3F82956190C7}" dt="2020-03-17T21:34:46.312" v="348"/>
          <ac:spMkLst>
            <pc:docMk/>
            <pc:sldMk cId="2107367095" sldId="920"/>
            <ac:spMk id="72" creationId="{03BC22AC-9345-46F1-BC02-418F458BB79F}"/>
          </ac:spMkLst>
        </pc:spChg>
        <pc:spChg chg="add">
          <ac:chgData name="Kaltrina Rexhahmetaj" userId="S::kaltrina.rexhahmetaj@bvh.org::c314e318-93e0-4c36-9995-6aa0f00e0010" providerId="AD" clId="Web-{321291FF-3ED2-D1AB-6EC7-3F82956190C7}" dt="2020-03-17T21:34:46.312" v="348"/>
          <ac:spMkLst>
            <pc:docMk/>
            <pc:sldMk cId="2107367095" sldId="920"/>
            <ac:spMk id="73" creationId="{A86F4DFC-1728-434A-854D-FA2B32538542}"/>
          </ac:spMkLst>
        </pc:spChg>
        <pc:spChg chg="add">
          <ac:chgData name="Kaltrina Rexhahmetaj" userId="S::kaltrina.rexhahmetaj@bvh.org::c314e318-93e0-4c36-9995-6aa0f00e0010" providerId="AD" clId="Web-{321291FF-3ED2-D1AB-6EC7-3F82956190C7}" dt="2020-03-17T21:34:46.312" v="348"/>
          <ac:spMkLst>
            <pc:docMk/>
            <pc:sldMk cId="2107367095" sldId="920"/>
            <ac:spMk id="74" creationId="{7C338863-CA78-4B77-96CE-22FE356EA8BC}"/>
          </ac:spMkLst>
        </pc:spChg>
        <pc:spChg chg="add">
          <ac:chgData name="Kaltrina Rexhahmetaj" userId="S::kaltrina.rexhahmetaj@bvh.org::c314e318-93e0-4c36-9995-6aa0f00e0010" providerId="AD" clId="Web-{321291FF-3ED2-D1AB-6EC7-3F82956190C7}" dt="2020-03-17T21:34:46.312" v="348"/>
          <ac:spMkLst>
            <pc:docMk/>
            <pc:sldMk cId="2107367095" sldId="920"/>
            <ac:spMk id="75" creationId="{D911A337-BA12-41ED-BAFB-DDDD86D4D096}"/>
          </ac:spMkLst>
        </pc:spChg>
        <pc:spChg chg="add">
          <ac:chgData name="Kaltrina Rexhahmetaj" userId="S::kaltrina.rexhahmetaj@bvh.org::c314e318-93e0-4c36-9995-6aa0f00e0010" providerId="AD" clId="Web-{321291FF-3ED2-D1AB-6EC7-3F82956190C7}" dt="2020-03-17T21:34:46.312" v="348"/>
          <ac:spMkLst>
            <pc:docMk/>
            <pc:sldMk cId="2107367095" sldId="920"/>
            <ac:spMk id="76" creationId="{C007177D-23FB-4EC5-A920-CD9620B40634}"/>
          </ac:spMkLst>
        </pc:spChg>
        <pc:spChg chg="add">
          <ac:chgData name="Kaltrina Rexhahmetaj" userId="S::kaltrina.rexhahmetaj@bvh.org::c314e318-93e0-4c36-9995-6aa0f00e0010" providerId="AD" clId="Web-{321291FF-3ED2-D1AB-6EC7-3F82956190C7}" dt="2020-03-17T21:34:46.312" v="348"/>
          <ac:spMkLst>
            <pc:docMk/>
            <pc:sldMk cId="2107367095" sldId="920"/>
            <ac:spMk id="77" creationId="{110DFAB8-4174-4E64-ACC8-2A616E69DE15}"/>
          </ac:spMkLst>
        </pc:spChg>
        <pc:spChg chg="add">
          <ac:chgData name="Kaltrina Rexhahmetaj" userId="S::kaltrina.rexhahmetaj@bvh.org::c314e318-93e0-4c36-9995-6aa0f00e0010" providerId="AD" clId="Web-{321291FF-3ED2-D1AB-6EC7-3F82956190C7}" dt="2020-03-17T21:34:46.312" v="348"/>
          <ac:spMkLst>
            <pc:docMk/>
            <pc:sldMk cId="2107367095" sldId="920"/>
            <ac:spMk id="78" creationId="{F8C2AD86-13BF-47CD-8871-442DE20CDA4C}"/>
          </ac:spMkLst>
        </pc:spChg>
        <pc:spChg chg="add">
          <ac:chgData name="Kaltrina Rexhahmetaj" userId="S::kaltrina.rexhahmetaj@bvh.org::c314e318-93e0-4c36-9995-6aa0f00e0010" providerId="AD" clId="Web-{321291FF-3ED2-D1AB-6EC7-3F82956190C7}" dt="2020-03-17T21:34:46.312" v="348"/>
          <ac:spMkLst>
            <pc:docMk/>
            <pc:sldMk cId="2107367095" sldId="920"/>
            <ac:spMk id="79" creationId="{2DF0A314-E2D8-4206-9459-724D7552C79A}"/>
          </ac:spMkLst>
        </pc:spChg>
        <pc:spChg chg="add">
          <ac:chgData name="Kaltrina Rexhahmetaj" userId="S::kaltrina.rexhahmetaj@bvh.org::c314e318-93e0-4c36-9995-6aa0f00e0010" providerId="AD" clId="Web-{321291FF-3ED2-D1AB-6EC7-3F82956190C7}" dt="2020-03-17T21:34:46.312" v="348"/>
          <ac:spMkLst>
            <pc:docMk/>
            <pc:sldMk cId="2107367095" sldId="920"/>
            <ac:spMk id="80" creationId="{2F431BF3-DFB7-4059-AFB2-30FA48CC20C4}"/>
          </ac:spMkLst>
        </pc:spChg>
        <pc:spChg chg="add">
          <ac:chgData name="Kaltrina Rexhahmetaj" userId="S::kaltrina.rexhahmetaj@bvh.org::c314e318-93e0-4c36-9995-6aa0f00e0010" providerId="AD" clId="Web-{321291FF-3ED2-D1AB-6EC7-3F82956190C7}" dt="2020-03-17T21:34:46.312" v="348"/>
          <ac:spMkLst>
            <pc:docMk/>
            <pc:sldMk cId="2107367095" sldId="920"/>
            <ac:spMk id="81" creationId="{C61D4DDE-5818-488F-B001-FEC03085AA70}"/>
          </ac:spMkLst>
        </pc:spChg>
        <pc:spChg chg="add">
          <ac:chgData name="Kaltrina Rexhahmetaj" userId="S::kaltrina.rexhahmetaj@bvh.org::c314e318-93e0-4c36-9995-6aa0f00e0010" providerId="AD" clId="Web-{321291FF-3ED2-D1AB-6EC7-3F82956190C7}" dt="2020-03-17T21:34:46.312" v="348"/>
          <ac:spMkLst>
            <pc:docMk/>
            <pc:sldMk cId="2107367095" sldId="920"/>
            <ac:spMk id="82" creationId="{410F4B9A-0396-4F41-B1E5-F4A6E971F0A7}"/>
          </ac:spMkLst>
        </pc:spChg>
        <pc:spChg chg="add">
          <ac:chgData name="Kaltrina Rexhahmetaj" userId="S::kaltrina.rexhahmetaj@bvh.org::c314e318-93e0-4c36-9995-6aa0f00e0010" providerId="AD" clId="Web-{321291FF-3ED2-D1AB-6EC7-3F82956190C7}" dt="2020-03-17T21:34:46.312" v="348"/>
          <ac:spMkLst>
            <pc:docMk/>
            <pc:sldMk cId="2107367095" sldId="920"/>
            <ac:spMk id="83" creationId="{BBD79C6E-9F65-439B-9668-AC01C70BC1BA}"/>
          </ac:spMkLst>
        </pc:spChg>
        <pc:spChg chg="add del mod">
          <ac:chgData name="Kaltrina Rexhahmetaj" userId="S::kaltrina.rexhahmetaj@bvh.org::c314e318-93e0-4c36-9995-6aa0f00e0010" providerId="AD" clId="Web-{321291FF-3ED2-D1AB-6EC7-3F82956190C7}" dt="2020-03-17T21:35:21.389" v="361"/>
          <ac:spMkLst>
            <pc:docMk/>
            <pc:sldMk cId="2107367095" sldId="920"/>
            <ac:spMk id="84" creationId="{92A1A36A-C53F-4521-8CAD-5DD4E590F916}"/>
          </ac:spMkLst>
        </pc:spChg>
        <pc:spChg chg="add del">
          <ac:chgData name="Kaltrina Rexhahmetaj" userId="S::kaltrina.rexhahmetaj@bvh.org::c314e318-93e0-4c36-9995-6aa0f00e0010" providerId="AD" clId="Web-{321291FF-3ED2-D1AB-6EC7-3F82956190C7}" dt="2020-03-17T21:35:04.640" v="358"/>
          <ac:spMkLst>
            <pc:docMk/>
            <pc:sldMk cId="2107367095" sldId="920"/>
            <ac:spMk id="85" creationId="{42A98DCD-F917-40EB-B6CD-DD03DEE70173}"/>
          </ac:spMkLst>
        </pc:spChg>
      </pc:sldChg>
      <pc:sldChg chg="addSp delSp modSp add replId modNotes">
        <pc:chgData name="Kaltrina Rexhahmetaj" userId="S::kaltrina.rexhahmetaj@bvh.org::c314e318-93e0-4c36-9995-6aa0f00e0010" providerId="AD" clId="Web-{321291FF-3ED2-D1AB-6EC7-3F82956190C7}" dt="2020-03-17T21:37:13.248" v="415"/>
        <pc:sldMkLst>
          <pc:docMk/>
          <pc:sldMk cId="1785120459" sldId="921"/>
        </pc:sldMkLst>
        <pc:spChg chg="del">
          <ac:chgData name="Kaltrina Rexhahmetaj" userId="S::kaltrina.rexhahmetaj@bvh.org::c314e318-93e0-4c36-9995-6aa0f00e0010" providerId="AD" clId="Web-{321291FF-3ED2-D1AB-6EC7-3F82956190C7}" dt="2020-03-17T21:35:43.264" v="389"/>
          <ac:spMkLst>
            <pc:docMk/>
            <pc:sldMk cId="1785120459" sldId="921"/>
            <ac:spMk id="4" creationId="{EB8FDBA8-90C4-4768-A01D-6202C2A5F79C}"/>
          </ac:spMkLst>
        </pc:spChg>
        <pc:spChg chg="add mod">
          <ac:chgData name="Kaltrina Rexhahmetaj" userId="S::kaltrina.rexhahmetaj@bvh.org::c314e318-93e0-4c36-9995-6aa0f00e0010" providerId="AD" clId="Web-{321291FF-3ED2-D1AB-6EC7-3F82956190C7}" dt="2020-03-17T21:36:45.436" v="413" actId="20577"/>
          <ac:spMkLst>
            <pc:docMk/>
            <pc:sldMk cId="1785120459" sldId="921"/>
            <ac:spMk id="5" creationId="{222EFD62-8F59-4C97-B06E-A84CBA539A7F}"/>
          </ac:spMkLst>
        </pc:spChg>
        <pc:spChg chg="add">
          <ac:chgData name="Kaltrina Rexhahmetaj" userId="S::kaltrina.rexhahmetaj@bvh.org::c314e318-93e0-4c36-9995-6aa0f00e0010" providerId="AD" clId="Web-{321291FF-3ED2-D1AB-6EC7-3F82956190C7}" dt="2020-03-17T21:36:06.858" v="391"/>
          <ac:spMkLst>
            <pc:docMk/>
            <pc:sldMk cId="1785120459" sldId="921"/>
            <ac:spMk id="30" creationId="{857C3AF7-9B5E-48DD-A8E8-5F657B721C73}"/>
          </ac:spMkLst>
        </pc:spChg>
        <pc:spChg chg="add">
          <ac:chgData name="Kaltrina Rexhahmetaj" userId="S::kaltrina.rexhahmetaj@bvh.org::c314e318-93e0-4c36-9995-6aa0f00e0010" providerId="AD" clId="Web-{321291FF-3ED2-D1AB-6EC7-3F82956190C7}" dt="2020-03-17T21:36:06.858" v="391"/>
          <ac:spMkLst>
            <pc:docMk/>
            <pc:sldMk cId="1785120459" sldId="921"/>
            <ac:spMk id="31" creationId="{D3F173AD-6C13-4EC7-8C0A-40B29A100B07}"/>
          </ac:spMkLst>
        </pc:spChg>
        <pc:spChg chg="add">
          <ac:chgData name="Kaltrina Rexhahmetaj" userId="S::kaltrina.rexhahmetaj@bvh.org::c314e318-93e0-4c36-9995-6aa0f00e0010" providerId="AD" clId="Web-{321291FF-3ED2-D1AB-6EC7-3F82956190C7}" dt="2020-03-17T21:36:06.858" v="391"/>
          <ac:spMkLst>
            <pc:docMk/>
            <pc:sldMk cId="1785120459" sldId="921"/>
            <ac:spMk id="32" creationId="{A557A3FA-E3AF-486F-8F69-3BFE483DCD7A}"/>
          </ac:spMkLst>
        </pc:spChg>
        <pc:spChg chg="del">
          <ac:chgData name="Kaltrina Rexhahmetaj" userId="S::kaltrina.rexhahmetaj@bvh.org::c314e318-93e0-4c36-9995-6aa0f00e0010" providerId="AD" clId="Web-{321291FF-3ED2-D1AB-6EC7-3F82956190C7}" dt="2020-03-17T21:35:43.108" v="388"/>
          <ac:spMkLst>
            <pc:docMk/>
            <pc:sldMk cId="1785120459" sldId="921"/>
            <ac:spMk id="33" creationId="{79D8003F-2A72-4B1A-B254-61828A780B86}"/>
          </ac:spMkLst>
        </pc:spChg>
        <pc:spChg chg="del">
          <ac:chgData name="Kaltrina Rexhahmetaj" userId="S::kaltrina.rexhahmetaj@bvh.org::c314e318-93e0-4c36-9995-6aa0f00e0010" providerId="AD" clId="Web-{321291FF-3ED2-D1AB-6EC7-3F82956190C7}" dt="2020-03-17T21:35:43.108" v="387"/>
          <ac:spMkLst>
            <pc:docMk/>
            <pc:sldMk cId="1785120459" sldId="921"/>
            <ac:spMk id="34" creationId="{BB83A8F2-C7A8-4A7C-B92A-C56AF22D56B3}"/>
          </ac:spMkLst>
        </pc:spChg>
        <pc:spChg chg="del">
          <ac:chgData name="Kaltrina Rexhahmetaj" userId="S::kaltrina.rexhahmetaj@bvh.org::c314e318-93e0-4c36-9995-6aa0f00e0010" providerId="AD" clId="Web-{321291FF-3ED2-D1AB-6EC7-3F82956190C7}" dt="2020-03-17T21:35:43.108" v="386"/>
          <ac:spMkLst>
            <pc:docMk/>
            <pc:sldMk cId="1785120459" sldId="921"/>
            <ac:spMk id="35" creationId="{F976B5CC-A2CF-481A-8620-7A0BBE31B2D1}"/>
          </ac:spMkLst>
        </pc:spChg>
        <pc:spChg chg="del">
          <ac:chgData name="Kaltrina Rexhahmetaj" userId="S::kaltrina.rexhahmetaj@bvh.org::c314e318-93e0-4c36-9995-6aa0f00e0010" providerId="AD" clId="Web-{321291FF-3ED2-D1AB-6EC7-3F82956190C7}" dt="2020-03-17T21:35:43.108" v="385"/>
          <ac:spMkLst>
            <pc:docMk/>
            <pc:sldMk cId="1785120459" sldId="921"/>
            <ac:spMk id="36" creationId="{88F2E1FD-571B-4E5D-9888-B3CBF9C87784}"/>
          </ac:spMkLst>
        </pc:spChg>
        <pc:spChg chg="del">
          <ac:chgData name="Kaltrina Rexhahmetaj" userId="S::kaltrina.rexhahmetaj@bvh.org::c314e318-93e0-4c36-9995-6aa0f00e0010" providerId="AD" clId="Web-{321291FF-3ED2-D1AB-6EC7-3F82956190C7}" dt="2020-03-17T21:35:43.108" v="384"/>
          <ac:spMkLst>
            <pc:docMk/>
            <pc:sldMk cId="1785120459" sldId="921"/>
            <ac:spMk id="37" creationId="{2C6EC667-1204-4104-975C-C6012ACBF53E}"/>
          </ac:spMkLst>
        </pc:spChg>
        <pc:spChg chg="del">
          <ac:chgData name="Kaltrina Rexhahmetaj" userId="S::kaltrina.rexhahmetaj@bvh.org::c314e318-93e0-4c36-9995-6aa0f00e0010" providerId="AD" clId="Web-{321291FF-3ED2-D1AB-6EC7-3F82956190C7}" dt="2020-03-17T21:35:43.093" v="383"/>
          <ac:spMkLst>
            <pc:docMk/>
            <pc:sldMk cId="1785120459" sldId="921"/>
            <ac:spMk id="38" creationId="{5A2FE658-BAA3-4AA1-96FF-2503A346495D}"/>
          </ac:spMkLst>
        </pc:spChg>
        <pc:spChg chg="del">
          <ac:chgData name="Kaltrina Rexhahmetaj" userId="S::kaltrina.rexhahmetaj@bvh.org::c314e318-93e0-4c36-9995-6aa0f00e0010" providerId="AD" clId="Web-{321291FF-3ED2-D1AB-6EC7-3F82956190C7}" dt="2020-03-17T21:35:43.093" v="382"/>
          <ac:spMkLst>
            <pc:docMk/>
            <pc:sldMk cId="1785120459" sldId="921"/>
            <ac:spMk id="39" creationId="{09BF6BA9-DD16-409C-8DF4-B9EAC718A8E3}"/>
          </ac:spMkLst>
        </pc:spChg>
        <pc:spChg chg="del">
          <ac:chgData name="Kaltrina Rexhahmetaj" userId="S::kaltrina.rexhahmetaj@bvh.org::c314e318-93e0-4c36-9995-6aa0f00e0010" providerId="AD" clId="Web-{321291FF-3ED2-D1AB-6EC7-3F82956190C7}" dt="2020-03-17T21:35:43.093" v="381"/>
          <ac:spMkLst>
            <pc:docMk/>
            <pc:sldMk cId="1785120459" sldId="921"/>
            <ac:spMk id="40" creationId="{67E96638-5F84-4B69-A107-7C53B72D20C2}"/>
          </ac:spMkLst>
        </pc:spChg>
        <pc:spChg chg="del">
          <ac:chgData name="Kaltrina Rexhahmetaj" userId="S::kaltrina.rexhahmetaj@bvh.org::c314e318-93e0-4c36-9995-6aa0f00e0010" providerId="AD" clId="Web-{321291FF-3ED2-D1AB-6EC7-3F82956190C7}" dt="2020-03-17T21:35:43.093" v="380"/>
          <ac:spMkLst>
            <pc:docMk/>
            <pc:sldMk cId="1785120459" sldId="921"/>
            <ac:spMk id="41" creationId="{40A30903-156D-45BB-8293-C7903689110E}"/>
          </ac:spMkLst>
        </pc:spChg>
        <pc:spChg chg="add">
          <ac:chgData name="Kaltrina Rexhahmetaj" userId="S::kaltrina.rexhahmetaj@bvh.org::c314e318-93e0-4c36-9995-6aa0f00e0010" providerId="AD" clId="Web-{321291FF-3ED2-D1AB-6EC7-3F82956190C7}" dt="2020-03-17T21:36:06.858" v="391"/>
          <ac:spMkLst>
            <pc:docMk/>
            <pc:sldMk cId="1785120459" sldId="921"/>
            <ac:spMk id="45" creationId="{D590BC2D-EFA8-4690-B468-4C1EF87D80B1}"/>
          </ac:spMkLst>
        </pc:spChg>
        <pc:spChg chg="add del mod">
          <ac:chgData name="Kaltrina Rexhahmetaj" userId="S::kaltrina.rexhahmetaj@bvh.org::c314e318-93e0-4c36-9995-6aa0f00e0010" providerId="AD" clId="Web-{321291FF-3ED2-D1AB-6EC7-3F82956190C7}" dt="2020-03-17T21:36:40.077" v="412"/>
          <ac:spMkLst>
            <pc:docMk/>
            <pc:sldMk cId="1785120459" sldId="921"/>
            <ac:spMk id="46" creationId="{416F17CB-EE68-4B37-9E89-5B84AAB94C43}"/>
          </ac:spMkLst>
        </pc:spChg>
        <pc:spChg chg="del">
          <ac:chgData name="Kaltrina Rexhahmetaj" userId="S::kaltrina.rexhahmetaj@bvh.org::c314e318-93e0-4c36-9995-6aa0f00e0010" providerId="AD" clId="Web-{321291FF-3ED2-D1AB-6EC7-3F82956190C7}" dt="2020-03-17T21:35:43.093" v="379"/>
          <ac:spMkLst>
            <pc:docMk/>
            <pc:sldMk cId="1785120459" sldId="921"/>
            <ac:spMk id="69" creationId="{132A5609-4F66-4586-80EB-2DDAF42DA0D0}"/>
          </ac:spMkLst>
        </pc:spChg>
        <pc:spChg chg="del">
          <ac:chgData name="Kaltrina Rexhahmetaj" userId="S::kaltrina.rexhahmetaj@bvh.org::c314e318-93e0-4c36-9995-6aa0f00e0010" providerId="AD" clId="Web-{321291FF-3ED2-D1AB-6EC7-3F82956190C7}" dt="2020-03-17T21:35:43.093" v="378"/>
          <ac:spMkLst>
            <pc:docMk/>
            <pc:sldMk cId="1785120459" sldId="921"/>
            <ac:spMk id="70" creationId="{5B962502-0FE4-4C9B-ADFE-387E52B7975C}"/>
          </ac:spMkLst>
        </pc:spChg>
        <pc:spChg chg="del">
          <ac:chgData name="Kaltrina Rexhahmetaj" userId="S::kaltrina.rexhahmetaj@bvh.org::c314e318-93e0-4c36-9995-6aa0f00e0010" providerId="AD" clId="Web-{321291FF-3ED2-D1AB-6EC7-3F82956190C7}" dt="2020-03-17T21:35:43.093" v="377"/>
          <ac:spMkLst>
            <pc:docMk/>
            <pc:sldMk cId="1785120459" sldId="921"/>
            <ac:spMk id="71" creationId="{884D6A46-31BD-4CA6-99FC-6829679B7D4F}"/>
          </ac:spMkLst>
        </pc:spChg>
        <pc:spChg chg="del">
          <ac:chgData name="Kaltrina Rexhahmetaj" userId="S::kaltrina.rexhahmetaj@bvh.org::c314e318-93e0-4c36-9995-6aa0f00e0010" providerId="AD" clId="Web-{321291FF-3ED2-D1AB-6EC7-3F82956190C7}" dt="2020-03-17T21:35:43.093" v="376"/>
          <ac:spMkLst>
            <pc:docMk/>
            <pc:sldMk cId="1785120459" sldId="921"/>
            <ac:spMk id="72" creationId="{03BC22AC-9345-46F1-BC02-418F458BB79F}"/>
          </ac:spMkLst>
        </pc:spChg>
        <pc:spChg chg="del">
          <ac:chgData name="Kaltrina Rexhahmetaj" userId="S::kaltrina.rexhahmetaj@bvh.org::c314e318-93e0-4c36-9995-6aa0f00e0010" providerId="AD" clId="Web-{321291FF-3ED2-D1AB-6EC7-3F82956190C7}" dt="2020-03-17T21:35:43.093" v="375"/>
          <ac:spMkLst>
            <pc:docMk/>
            <pc:sldMk cId="1785120459" sldId="921"/>
            <ac:spMk id="73" creationId="{A86F4DFC-1728-434A-854D-FA2B32538542}"/>
          </ac:spMkLst>
        </pc:spChg>
        <pc:spChg chg="del">
          <ac:chgData name="Kaltrina Rexhahmetaj" userId="S::kaltrina.rexhahmetaj@bvh.org::c314e318-93e0-4c36-9995-6aa0f00e0010" providerId="AD" clId="Web-{321291FF-3ED2-D1AB-6EC7-3F82956190C7}" dt="2020-03-17T21:35:43.093" v="374"/>
          <ac:spMkLst>
            <pc:docMk/>
            <pc:sldMk cId="1785120459" sldId="921"/>
            <ac:spMk id="74" creationId="{7C338863-CA78-4B77-96CE-22FE356EA8BC}"/>
          </ac:spMkLst>
        </pc:spChg>
        <pc:spChg chg="del">
          <ac:chgData name="Kaltrina Rexhahmetaj" userId="S::kaltrina.rexhahmetaj@bvh.org::c314e318-93e0-4c36-9995-6aa0f00e0010" providerId="AD" clId="Web-{321291FF-3ED2-D1AB-6EC7-3F82956190C7}" dt="2020-03-17T21:35:43.093" v="373"/>
          <ac:spMkLst>
            <pc:docMk/>
            <pc:sldMk cId="1785120459" sldId="921"/>
            <ac:spMk id="75" creationId="{D911A337-BA12-41ED-BAFB-DDDD86D4D096}"/>
          </ac:spMkLst>
        </pc:spChg>
        <pc:spChg chg="del">
          <ac:chgData name="Kaltrina Rexhahmetaj" userId="S::kaltrina.rexhahmetaj@bvh.org::c314e318-93e0-4c36-9995-6aa0f00e0010" providerId="AD" clId="Web-{321291FF-3ED2-D1AB-6EC7-3F82956190C7}" dt="2020-03-17T21:35:43.093" v="372"/>
          <ac:spMkLst>
            <pc:docMk/>
            <pc:sldMk cId="1785120459" sldId="921"/>
            <ac:spMk id="76" creationId="{C007177D-23FB-4EC5-A920-CD9620B40634}"/>
          </ac:spMkLst>
        </pc:spChg>
        <pc:spChg chg="del">
          <ac:chgData name="Kaltrina Rexhahmetaj" userId="S::kaltrina.rexhahmetaj@bvh.org::c314e318-93e0-4c36-9995-6aa0f00e0010" providerId="AD" clId="Web-{321291FF-3ED2-D1AB-6EC7-3F82956190C7}" dt="2020-03-17T21:35:43.077" v="371"/>
          <ac:spMkLst>
            <pc:docMk/>
            <pc:sldMk cId="1785120459" sldId="921"/>
            <ac:spMk id="77" creationId="{110DFAB8-4174-4E64-ACC8-2A616E69DE15}"/>
          </ac:spMkLst>
        </pc:spChg>
        <pc:spChg chg="del">
          <ac:chgData name="Kaltrina Rexhahmetaj" userId="S::kaltrina.rexhahmetaj@bvh.org::c314e318-93e0-4c36-9995-6aa0f00e0010" providerId="AD" clId="Web-{321291FF-3ED2-D1AB-6EC7-3F82956190C7}" dt="2020-03-17T21:35:43.077" v="370"/>
          <ac:spMkLst>
            <pc:docMk/>
            <pc:sldMk cId="1785120459" sldId="921"/>
            <ac:spMk id="78" creationId="{F8C2AD86-13BF-47CD-8871-442DE20CDA4C}"/>
          </ac:spMkLst>
        </pc:spChg>
        <pc:spChg chg="del">
          <ac:chgData name="Kaltrina Rexhahmetaj" userId="S::kaltrina.rexhahmetaj@bvh.org::c314e318-93e0-4c36-9995-6aa0f00e0010" providerId="AD" clId="Web-{321291FF-3ED2-D1AB-6EC7-3F82956190C7}" dt="2020-03-17T21:35:43.077" v="369"/>
          <ac:spMkLst>
            <pc:docMk/>
            <pc:sldMk cId="1785120459" sldId="921"/>
            <ac:spMk id="79" creationId="{2DF0A314-E2D8-4206-9459-724D7552C79A}"/>
          </ac:spMkLst>
        </pc:spChg>
        <pc:spChg chg="del">
          <ac:chgData name="Kaltrina Rexhahmetaj" userId="S::kaltrina.rexhahmetaj@bvh.org::c314e318-93e0-4c36-9995-6aa0f00e0010" providerId="AD" clId="Web-{321291FF-3ED2-D1AB-6EC7-3F82956190C7}" dt="2020-03-17T21:35:43.077" v="368"/>
          <ac:spMkLst>
            <pc:docMk/>
            <pc:sldMk cId="1785120459" sldId="921"/>
            <ac:spMk id="80" creationId="{2F431BF3-DFB7-4059-AFB2-30FA48CC20C4}"/>
          </ac:spMkLst>
        </pc:spChg>
        <pc:spChg chg="del">
          <ac:chgData name="Kaltrina Rexhahmetaj" userId="S::kaltrina.rexhahmetaj@bvh.org::c314e318-93e0-4c36-9995-6aa0f00e0010" providerId="AD" clId="Web-{321291FF-3ED2-D1AB-6EC7-3F82956190C7}" dt="2020-03-17T21:35:43.077" v="367"/>
          <ac:spMkLst>
            <pc:docMk/>
            <pc:sldMk cId="1785120459" sldId="921"/>
            <ac:spMk id="81" creationId="{C61D4DDE-5818-488F-B001-FEC03085AA70}"/>
          </ac:spMkLst>
        </pc:spChg>
        <pc:spChg chg="del">
          <ac:chgData name="Kaltrina Rexhahmetaj" userId="S::kaltrina.rexhahmetaj@bvh.org::c314e318-93e0-4c36-9995-6aa0f00e0010" providerId="AD" clId="Web-{321291FF-3ED2-D1AB-6EC7-3F82956190C7}" dt="2020-03-17T21:35:43.077" v="366"/>
          <ac:spMkLst>
            <pc:docMk/>
            <pc:sldMk cId="1785120459" sldId="921"/>
            <ac:spMk id="82" creationId="{410F4B9A-0396-4F41-B1E5-F4A6E971F0A7}"/>
          </ac:spMkLst>
        </pc:spChg>
        <pc:spChg chg="del">
          <ac:chgData name="Kaltrina Rexhahmetaj" userId="S::kaltrina.rexhahmetaj@bvh.org::c314e318-93e0-4c36-9995-6aa0f00e0010" providerId="AD" clId="Web-{321291FF-3ED2-D1AB-6EC7-3F82956190C7}" dt="2020-03-17T21:35:43.077" v="365"/>
          <ac:spMkLst>
            <pc:docMk/>
            <pc:sldMk cId="1785120459" sldId="921"/>
            <ac:spMk id="83" creationId="{BBD79C6E-9F65-439B-9668-AC01C70BC1BA}"/>
          </ac:spMkLst>
        </pc:spChg>
        <pc:picChg chg="add">
          <ac:chgData name="Kaltrina Rexhahmetaj" userId="S::kaltrina.rexhahmetaj@bvh.org::c314e318-93e0-4c36-9995-6aa0f00e0010" providerId="AD" clId="Web-{321291FF-3ED2-D1AB-6EC7-3F82956190C7}" dt="2020-03-17T21:36:06.858" v="391"/>
          <ac:picMkLst>
            <pc:docMk/>
            <pc:sldMk cId="1785120459" sldId="921"/>
            <ac:picMk id="42" creationId="{BF297B4C-9021-4F08-B9AA-32C2FAA21826}"/>
          </ac:picMkLst>
        </pc:picChg>
        <pc:picChg chg="add">
          <ac:chgData name="Kaltrina Rexhahmetaj" userId="S::kaltrina.rexhahmetaj@bvh.org::c314e318-93e0-4c36-9995-6aa0f00e0010" providerId="AD" clId="Web-{321291FF-3ED2-D1AB-6EC7-3F82956190C7}" dt="2020-03-17T21:36:06.858" v="391"/>
          <ac:picMkLst>
            <pc:docMk/>
            <pc:sldMk cId="1785120459" sldId="921"/>
            <ac:picMk id="43" creationId="{0D0FAC00-7FD9-4CEC-A821-1B7542D0D563}"/>
          </ac:picMkLst>
        </pc:picChg>
        <pc:picChg chg="add">
          <ac:chgData name="Kaltrina Rexhahmetaj" userId="S::kaltrina.rexhahmetaj@bvh.org::c314e318-93e0-4c36-9995-6aa0f00e0010" providerId="AD" clId="Web-{321291FF-3ED2-D1AB-6EC7-3F82956190C7}" dt="2020-03-17T21:36:06.858" v="391"/>
          <ac:picMkLst>
            <pc:docMk/>
            <pc:sldMk cId="1785120459" sldId="921"/>
            <ac:picMk id="44" creationId="{45E6382C-2E49-41FD-BBBF-C2CDD26ABE12}"/>
          </ac:picMkLst>
        </pc:picChg>
      </pc:sldChg>
      <pc:sldChg chg="addSp delSp modSp add replId modNotes">
        <pc:chgData name="Kaltrina Rexhahmetaj" userId="S::kaltrina.rexhahmetaj@bvh.org::c314e318-93e0-4c36-9995-6aa0f00e0010" providerId="AD" clId="Web-{321291FF-3ED2-D1AB-6EC7-3F82956190C7}" dt="2020-03-17T21:38:27.560" v="447"/>
        <pc:sldMkLst>
          <pc:docMk/>
          <pc:sldMk cId="2919741917" sldId="922"/>
        </pc:sldMkLst>
        <pc:spChg chg="add mod">
          <ac:chgData name="Kaltrina Rexhahmetaj" userId="S::kaltrina.rexhahmetaj@bvh.org::c314e318-93e0-4c36-9995-6aa0f00e0010" providerId="AD" clId="Web-{321291FF-3ED2-D1AB-6EC7-3F82956190C7}" dt="2020-03-17T21:38:13.076" v="444" actId="20577"/>
          <ac:spMkLst>
            <pc:docMk/>
            <pc:sldMk cId="2919741917" sldId="922"/>
            <ac:spMk id="4" creationId="{8189ED25-2077-4037-BF07-4C54163F9183}"/>
          </ac:spMkLst>
        </pc:spChg>
        <pc:spChg chg="del">
          <ac:chgData name="Kaltrina Rexhahmetaj" userId="S::kaltrina.rexhahmetaj@bvh.org::c314e318-93e0-4c36-9995-6aa0f00e0010" providerId="AD" clId="Web-{321291FF-3ED2-D1AB-6EC7-3F82956190C7}" dt="2020-03-17T21:37:29.811" v="424"/>
          <ac:spMkLst>
            <pc:docMk/>
            <pc:sldMk cId="2919741917" sldId="922"/>
            <ac:spMk id="5" creationId="{222EFD62-8F59-4C97-B06E-A84CBA539A7F}"/>
          </ac:spMkLst>
        </pc:spChg>
        <pc:spChg chg="add">
          <ac:chgData name="Kaltrina Rexhahmetaj" userId="S::kaltrina.rexhahmetaj@bvh.org::c314e318-93e0-4c36-9995-6aa0f00e0010" providerId="AD" clId="Web-{321291FF-3ED2-D1AB-6EC7-3F82956190C7}" dt="2020-03-17T21:37:32.764" v="425"/>
          <ac:spMkLst>
            <pc:docMk/>
            <pc:sldMk cId="2919741917" sldId="922"/>
            <ac:spMk id="13" creationId="{2D4FFC05-724C-455B-B276-37AEFC5CECB2}"/>
          </ac:spMkLst>
        </pc:spChg>
        <pc:spChg chg="add">
          <ac:chgData name="Kaltrina Rexhahmetaj" userId="S::kaltrina.rexhahmetaj@bvh.org::c314e318-93e0-4c36-9995-6aa0f00e0010" providerId="AD" clId="Web-{321291FF-3ED2-D1AB-6EC7-3F82956190C7}" dt="2020-03-17T21:37:32.764" v="425"/>
          <ac:spMkLst>
            <pc:docMk/>
            <pc:sldMk cId="2919741917" sldId="922"/>
            <ac:spMk id="14" creationId="{EF9ADA30-0477-4B86-BF80-6C2B1943B350}"/>
          </ac:spMkLst>
        </pc:spChg>
        <pc:spChg chg="add">
          <ac:chgData name="Kaltrina Rexhahmetaj" userId="S::kaltrina.rexhahmetaj@bvh.org::c314e318-93e0-4c36-9995-6aa0f00e0010" providerId="AD" clId="Web-{321291FF-3ED2-D1AB-6EC7-3F82956190C7}" dt="2020-03-17T21:37:32.764" v="425"/>
          <ac:spMkLst>
            <pc:docMk/>
            <pc:sldMk cId="2919741917" sldId="922"/>
            <ac:spMk id="15" creationId="{AE29E15A-AB45-4ECD-8CBF-C4293D695164}"/>
          </ac:spMkLst>
        </pc:spChg>
        <pc:spChg chg="add">
          <ac:chgData name="Kaltrina Rexhahmetaj" userId="S::kaltrina.rexhahmetaj@bvh.org::c314e318-93e0-4c36-9995-6aa0f00e0010" providerId="AD" clId="Web-{321291FF-3ED2-D1AB-6EC7-3F82956190C7}" dt="2020-03-17T21:37:32.764" v="425"/>
          <ac:spMkLst>
            <pc:docMk/>
            <pc:sldMk cId="2919741917" sldId="922"/>
            <ac:spMk id="17" creationId="{1D499D73-4F27-4A88-ACEC-C3F8F273A8D6}"/>
          </ac:spMkLst>
        </pc:spChg>
        <pc:spChg chg="add">
          <ac:chgData name="Kaltrina Rexhahmetaj" userId="S::kaltrina.rexhahmetaj@bvh.org::c314e318-93e0-4c36-9995-6aa0f00e0010" providerId="AD" clId="Web-{321291FF-3ED2-D1AB-6EC7-3F82956190C7}" dt="2020-03-17T21:37:32.764" v="425"/>
          <ac:spMkLst>
            <pc:docMk/>
            <pc:sldMk cId="2919741917" sldId="922"/>
            <ac:spMk id="18" creationId="{9C1C29E9-7A5B-44AD-B644-49728479BEB9}"/>
          </ac:spMkLst>
        </pc:spChg>
        <pc:spChg chg="add del mod">
          <ac:chgData name="Kaltrina Rexhahmetaj" userId="S::kaltrina.rexhahmetaj@bvh.org::c314e318-93e0-4c36-9995-6aa0f00e0010" providerId="AD" clId="Web-{321291FF-3ED2-D1AB-6EC7-3F82956190C7}" dt="2020-03-17T21:38:18.889" v="446"/>
          <ac:spMkLst>
            <pc:docMk/>
            <pc:sldMk cId="2919741917" sldId="922"/>
            <ac:spMk id="19" creationId="{A8E0CCAB-266B-4942-8392-20B4033C9C80}"/>
          </ac:spMkLst>
        </pc:spChg>
        <pc:spChg chg="add del">
          <ac:chgData name="Kaltrina Rexhahmetaj" userId="S::kaltrina.rexhahmetaj@bvh.org::c314e318-93e0-4c36-9995-6aa0f00e0010" providerId="AD" clId="Web-{321291FF-3ED2-D1AB-6EC7-3F82956190C7}" dt="2020-03-17T21:37:59.967" v="442"/>
          <ac:spMkLst>
            <pc:docMk/>
            <pc:sldMk cId="2919741917" sldId="922"/>
            <ac:spMk id="20" creationId="{537743DC-BB2A-41EF-AD75-7CC4DB21172E}"/>
          </ac:spMkLst>
        </pc:spChg>
        <pc:spChg chg="del">
          <ac:chgData name="Kaltrina Rexhahmetaj" userId="S::kaltrina.rexhahmetaj@bvh.org::c314e318-93e0-4c36-9995-6aa0f00e0010" providerId="AD" clId="Web-{321291FF-3ED2-D1AB-6EC7-3F82956190C7}" dt="2020-03-17T21:37:29.655" v="423"/>
          <ac:spMkLst>
            <pc:docMk/>
            <pc:sldMk cId="2919741917" sldId="922"/>
            <ac:spMk id="30" creationId="{857C3AF7-9B5E-48DD-A8E8-5F657B721C73}"/>
          </ac:spMkLst>
        </pc:spChg>
        <pc:spChg chg="del">
          <ac:chgData name="Kaltrina Rexhahmetaj" userId="S::kaltrina.rexhahmetaj@bvh.org::c314e318-93e0-4c36-9995-6aa0f00e0010" providerId="AD" clId="Web-{321291FF-3ED2-D1AB-6EC7-3F82956190C7}" dt="2020-03-17T21:37:29.655" v="422"/>
          <ac:spMkLst>
            <pc:docMk/>
            <pc:sldMk cId="2919741917" sldId="922"/>
            <ac:spMk id="31" creationId="{D3F173AD-6C13-4EC7-8C0A-40B29A100B07}"/>
          </ac:spMkLst>
        </pc:spChg>
        <pc:spChg chg="del">
          <ac:chgData name="Kaltrina Rexhahmetaj" userId="S::kaltrina.rexhahmetaj@bvh.org::c314e318-93e0-4c36-9995-6aa0f00e0010" providerId="AD" clId="Web-{321291FF-3ED2-D1AB-6EC7-3F82956190C7}" dt="2020-03-17T21:37:29.655" v="421"/>
          <ac:spMkLst>
            <pc:docMk/>
            <pc:sldMk cId="2919741917" sldId="922"/>
            <ac:spMk id="32" creationId="{A557A3FA-E3AF-486F-8F69-3BFE483DCD7A}"/>
          </ac:spMkLst>
        </pc:spChg>
        <pc:spChg chg="del">
          <ac:chgData name="Kaltrina Rexhahmetaj" userId="S::kaltrina.rexhahmetaj@bvh.org::c314e318-93e0-4c36-9995-6aa0f00e0010" providerId="AD" clId="Web-{321291FF-3ED2-D1AB-6EC7-3F82956190C7}" dt="2020-03-17T21:37:29.655" v="417"/>
          <ac:spMkLst>
            <pc:docMk/>
            <pc:sldMk cId="2919741917" sldId="922"/>
            <ac:spMk id="45" creationId="{D590BC2D-EFA8-4690-B468-4C1EF87D80B1}"/>
          </ac:spMkLst>
        </pc:spChg>
        <pc:picChg chg="add">
          <ac:chgData name="Kaltrina Rexhahmetaj" userId="S::kaltrina.rexhahmetaj@bvh.org::c314e318-93e0-4c36-9995-6aa0f00e0010" providerId="AD" clId="Web-{321291FF-3ED2-D1AB-6EC7-3F82956190C7}" dt="2020-03-17T21:37:32.764" v="425"/>
          <ac:picMkLst>
            <pc:docMk/>
            <pc:sldMk cId="2919741917" sldId="922"/>
            <ac:picMk id="16" creationId="{5A3F60E1-B63A-4546-9A3E-7F97ABFE1652}"/>
          </ac:picMkLst>
        </pc:picChg>
        <pc:picChg chg="del">
          <ac:chgData name="Kaltrina Rexhahmetaj" userId="S::kaltrina.rexhahmetaj@bvh.org::c314e318-93e0-4c36-9995-6aa0f00e0010" providerId="AD" clId="Web-{321291FF-3ED2-D1AB-6EC7-3F82956190C7}" dt="2020-03-17T21:37:29.655" v="420"/>
          <ac:picMkLst>
            <pc:docMk/>
            <pc:sldMk cId="2919741917" sldId="922"/>
            <ac:picMk id="42" creationId="{BF297B4C-9021-4F08-B9AA-32C2FAA21826}"/>
          </ac:picMkLst>
        </pc:picChg>
        <pc:picChg chg="del">
          <ac:chgData name="Kaltrina Rexhahmetaj" userId="S::kaltrina.rexhahmetaj@bvh.org::c314e318-93e0-4c36-9995-6aa0f00e0010" providerId="AD" clId="Web-{321291FF-3ED2-D1AB-6EC7-3F82956190C7}" dt="2020-03-17T21:37:29.655" v="419"/>
          <ac:picMkLst>
            <pc:docMk/>
            <pc:sldMk cId="2919741917" sldId="922"/>
            <ac:picMk id="43" creationId="{0D0FAC00-7FD9-4CEC-A821-1B7542D0D563}"/>
          </ac:picMkLst>
        </pc:picChg>
        <pc:picChg chg="del">
          <ac:chgData name="Kaltrina Rexhahmetaj" userId="S::kaltrina.rexhahmetaj@bvh.org::c314e318-93e0-4c36-9995-6aa0f00e0010" providerId="AD" clId="Web-{321291FF-3ED2-D1AB-6EC7-3F82956190C7}" dt="2020-03-17T21:37:29.655" v="418"/>
          <ac:picMkLst>
            <pc:docMk/>
            <pc:sldMk cId="2919741917" sldId="922"/>
            <ac:picMk id="44" creationId="{45E6382C-2E49-41FD-BBBF-C2CDD26ABE12}"/>
          </ac:picMkLst>
        </pc:picChg>
      </pc:sldChg>
      <pc:sldChg chg="addSp delSp modSp add replId">
        <pc:chgData name="Kaltrina Rexhahmetaj" userId="S::kaltrina.rexhahmetaj@bvh.org::c314e318-93e0-4c36-9995-6aa0f00e0010" providerId="AD" clId="Web-{321291FF-3ED2-D1AB-6EC7-3F82956190C7}" dt="2020-03-17T21:39:41.232" v="481" actId="1076"/>
        <pc:sldMkLst>
          <pc:docMk/>
          <pc:sldMk cId="470721327" sldId="923"/>
        </pc:sldMkLst>
        <pc:spChg chg="del">
          <ac:chgData name="Kaltrina Rexhahmetaj" userId="S::kaltrina.rexhahmetaj@bvh.org::c314e318-93e0-4c36-9995-6aa0f00e0010" providerId="AD" clId="Web-{321291FF-3ED2-D1AB-6EC7-3F82956190C7}" dt="2020-03-17T21:38:44.107" v="455"/>
          <ac:spMkLst>
            <pc:docMk/>
            <pc:sldMk cId="470721327" sldId="923"/>
            <ac:spMk id="4" creationId="{8189ED25-2077-4037-BF07-4C54163F9183}"/>
          </ac:spMkLst>
        </pc:spChg>
        <pc:spChg chg="add mod">
          <ac:chgData name="Kaltrina Rexhahmetaj" userId="S::kaltrina.rexhahmetaj@bvh.org::c314e318-93e0-4c36-9995-6aa0f00e0010" providerId="AD" clId="Web-{321291FF-3ED2-D1AB-6EC7-3F82956190C7}" dt="2020-03-17T21:39:23.951" v="477" actId="20577"/>
          <ac:spMkLst>
            <pc:docMk/>
            <pc:sldMk cId="470721327" sldId="923"/>
            <ac:spMk id="5" creationId="{CD67E137-801B-477C-BB54-E595D555254F}"/>
          </ac:spMkLst>
        </pc:spChg>
        <pc:spChg chg="add">
          <ac:chgData name="Kaltrina Rexhahmetaj" userId="S::kaltrina.rexhahmetaj@bvh.org::c314e318-93e0-4c36-9995-6aa0f00e0010" providerId="AD" clId="Web-{321291FF-3ED2-D1AB-6EC7-3F82956190C7}" dt="2020-03-17T21:38:56.654" v="456"/>
          <ac:spMkLst>
            <pc:docMk/>
            <pc:sldMk cId="470721327" sldId="923"/>
            <ac:spMk id="12" creationId="{E06C0A27-A204-4D71-930D-449081A57765}"/>
          </ac:spMkLst>
        </pc:spChg>
        <pc:spChg chg="del">
          <ac:chgData name="Kaltrina Rexhahmetaj" userId="S::kaltrina.rexhahmetaj@bvh.org::c314e318-93e0-4c36-9995-6aa0f00e0010" providerId="AD" clId="Web-{321291FF-3ED2-D1AB-6EC7-3F82956190C7}" dt="2020-03-17T21:38:43.935" v="454"/>
          <ac:spMkLst>
            <pc:docMk/>
            <pc:sldMk cId="470721327" sldId="923"/>
            <ac:spMk id="13" creationId="{2D4FFC05-724C-455B-B276-37AEFC5CECB2}"/>
          </ac:spMkLst>
        </pc:spChg>
        <pc:spChg chg="del">
          <ac:chgData name="Kaltrina Rexhahmetaj" userId="S::kaltrina.rexhahmetaj@bvh.org::c314e318-93e0-4c36-9995-6aa0f00e0010" providerId="AD" clId="Web-{321291FF-3ED2-D1AB-6EC7-3F82956190C7}" dt="2020-03-17T21:38:43.935" v="453"/>
          <ac:spMkLst>
            <pc:docMk/>
            <pc:sldMk cId="470721327" sldId="923"/>
            <ac:spMk id="14" creationId="{EF9ADA30-0477-4B86-BF80-6C2B1943B350}"/>
          </ac:spMkLst>
        </pc:spChg>
        <pc:spChg chg="del">
          <ac:chgData name="Kaltrina Rexhahmetaj" userId="S::kaltrina.rexhahmetaj@bvh.org::c314e318-93e0-4c36-9995-6aa0f00e0010" providerId="AD" clId="Web-{321291FF-3ED2-D1AB-6EC7-3F82956190C7}" dt="2020-03-17T21:38:43.935" v="452"/>
          <ac:spMkLst>
            <pc:docMk/>
            <pc:sldMk cId="470721327" sldId="923"/>
            <ac:spMk id="15" creationId="{AE29E15A-AB45-4ECD-8CBF-C4293D695164}"/>
          </ac:spMkLst>
        </pc:spChg>
        <pc:spChg chg="del">
          <ac:chgData name="Kaltrina Rexhahmetaj" userId="S::kaltrina.rexhahmetaj@bvh.org::c314e318-93e0-4c36-9995-6aa0f00e0010" providerId="AD" clId="Web-{321291FF-3ED2-D1AB-6EC7-3F82956190C7}" dt="2020-03-17T21:38:43.935" v="450"/>
          <ac:spMkLst>
            <pc:docMk/>
            <pc:sldMk cId="470721327" sldId="923"/>
            <ac:spMk id="17" creationId="{1D499D73-4F27-4A88-ACEC-C3F8F273A8D6}"/>
          </ac:spMkLst>
        </pc:spChg>
        <pc:spChg chg="del">
          <ac:chgData name="Kaltrina Rexhahmetaj" userId="S::kaltrina.rexhahmetaj@bvh.org::c314e318-93e0-4c36-9995-6aa0f00e0010" providerId="AD" clId="Web-{321291FF-3ED2-D1AB-6EC7-3F82956190C7}" dt="2020-03-17T21:38:43.935" v="449"/>
          <ac:spMkLst>
            <pc:docMk/>
            <pc:sldMk cId="470721327" sldId="923"/>
            <ac:spMk id="18" creationId="{9C1C29E9-7A5B-44AD-B644-49728479BEB9}"/>
          </ac:spMkLst>
        </pc:spChg>
        <pc:spChg chg="add mod">
          <ac:chgData name="Kaltrina Rexhahmetaj" userId="S::kaltrina.rexhahmetaj@bvh.org::c314e318-93e0-4c36-9995-6aa0f00e0010" providerId="AD" clId="Web-{321291FF-3ED2-D1AB-6EC7-3F82956190C7}" dt="2020-03-17T21:39:38.685" v="480" actId="1076"/>
          <ac:spMkLst>
            <pc:docMk/>
            <pc:sldMk cId="470721327" sldId="923"/>
            <ac:spMk id="19" creationId="{200B132F-61DB-4BE1-80F3-55AAAEB4B95F}"/>
          </ac:spMkLst>
        </pc:spChg>
        <pc:spChg chg="add">
          <ac:chgData name="Kaltrina Rexhahmetaj" userId="S::kaltrina.rexhahmetaj@bvh.org::c314e318-93e0-4c36-9995-6aa0f00e0010" providerId="AD" clId="Web-{321291FF-3ED2-D1AB-6EC7-3F82956190C7}" dt="2020-03-17T21:38:56.654" v="456"/>
          <ac:spMkLst>
            <pc:docMk/>
            <pc:sldMk cId="470721327" sldId="923"/>
            <ac:spMk id="20" creationId="{D9F2BED3-5451-4969-8EE1-E3AB1C0DC311}"/>
          </ac:spMkLst>
        </pc:spChg>
        <pc:spChg chg="add mod">
          <ac:chgData name="Kaltrina Rexhahmetaj" userId="S::kaltrina.rexhahmetaj@bvh.org::c314e318-93e0-4c36-9995-6aa0f00e0010" providerId="AD" clId="Web-{321291FF-3ED2-D1AB-6EC7-3F82956190C7}" dt="2020-03-17T21:39:41.232" v="481" actId="1076"/>
          <ac:spMkLst>
            <pc:docMk/>
            <pc:sldMk cId="470721327" sldId="923"/>
            <ac:spMk id="21" creationId="{30494693-1C2E-4D71-912C-4219DB230360}"/>
          </ac:spMkLst>
        </pc:spChg>
        <pc:spChg chg="add">
          <ac:chgData name="Kaltrina Rexhahmetaj" userId="S::kaltrina.rexhahmetaj@bvh.org::c314e318-93e0-4c36-9995-6aa0f00e0010" providerId="AD" clId="Web-{321291FF-3ED2-D1AB-6EC7-3F82956190C7}" dt="2020-03-17T21:38:56.654" v="456"/>
          <ac:spMkLst>
            <pc:docMk/>
            <pc:sldMk cId="470721327" sldId="923"/>
            <ac:spMk id="22" creationId="{117982BD-6439-4B4F-916F-574D314EF7E9}"/>
          </ac:spMkLst>
        </pc:spChg>
        <pc:spChg chg="add">
          <ac:chgData name="Kaltrina Rexhahmetaj" userId="S::kaltrina.rexhahmetaj@bvh.org::c314e318-93e0-4c36-9995-6aa0f00e0010" providerId="AD" clId="Web-{321291FF-3ED2-D1AB-6EC7-3F82956190C7}" dt="2020-03-17T21:38:56.654" v="456"/>
          <ac:spMkLst>
            <pc:docMk/>
            <pc:sldMk cId="470721327" sldId="923"/>
            <ac:spMk id="23" creationId="{457A2494-61FE-4043-9688-34FFD578FA96}"/>
          </ac:spMkLst>
        </pc:spChg>
        <pc:spChg chg="add">
          <ac:chgData name="Kaltrina Rexhahmetaj" userId="S::kaltrina.rexhahmetaj@bvh.org::c314e318-93e0-4c36-9995-6aa0f00e0010" providerId="AD" clId="Web-{321291FF-3ED2-D1AB-6EC7-3F82956190C7}" dt="2020-03-17T21:38:56.654" v="456"/>
          <ac:spMkLst>
            <pc:docMk/>
            <pc:sldMk cId="470721327" sldId="923"/>
            <ac:spMk id="24" creationId="{C3BFB43C-D48F-4264-AC4D-153BD435FF66}"/>
          </ac:spMkLst>
        </pc:spChg>
        <pc:spChg chg="add">
          <ac:chgData name="Kaltrina Rexhahmetaj" userId="S::kaltrina.rexhahmetaj@bvh.org::c314e318-93e0-4c36-9995-6aa0f00e0010" providerId="AD" clId="Web-{321291FF-3ED2-D1AB-6EC7-3F82956190C7}" dt="2020-03-17T21:38:56.654" v="456"/>
          <ac:spMkLst>
            <pc:docMk/>
            <pc:sldMk cId="470721327" sldId="923"/>
            <ac:spMk id="25" creationId="{D3F8BE23-66B0-4121-A46D-85910A863945}"/>
          </ac:spMkLst>
        </pc:spChg>
        <pc:spChg chg="add">
          <ac:chgData name="Kaltrina Rexhahmetaj" userId="S::kaltrina.rexhahmetaj@bvh.org::c314e318-93e0-4c36-9995-6aa0f00e0010" providerId="AD" clId="Web-{321291FF-3ED2-D1AB-6EC7-3F82956190C7}" dt="2020-03-17T21:38:56.654" v="456"/>
          <ac:spMkLst>
            <pc:docMk/>
            <pc:sldMk cId="470721327" sldId="923"/>
            <ac:spMk id="26" creationId="{DDB5FD7E-2E51-4613-BB27-E28669BF6E1A}"/>
          </ac:spMkLst>
        </pc:spChg>
        <pc:spChg chg="add">
          <ac:chgData name="Kaltrina Rexhahmetaj" userId="S::kaltrina.rexhahmetaj@bvh.org::c314e318-93e0-4c36-9995-6aa0f00e0010" providerId="AD" clId="Web-{321291FF-3ED2-D1AB-6EC7-3F82956190C7}" dt="2020-03-17T21:38:56.654" v="456"/>
          <ac:spMkLst>
            <pc:docMk/>
            <pc:sldMk cId="470721327" sldId="923"/>
            <ac:spMk id="27" creationId="{5CB7F5AB-CCFA-4927-8A41-6A872FBC3983}"/>
          </ac:spMkLst>
        </pc:spChg>
        <pc:spChg chg="add">
          <ac:chgData name="Kaltrina Rexhahmetaj" userId="S::kaltrina.rexhahmetaj@bvh.org::c314e318-93e0-4c36-9995-6aa0f00e0010" providerId="AD" clId="Web-{321291FF-3ED2-D1AB-6EC7-3F82956190C7}" dt="2020-03-17T21:38:56.654" v="456"/>
          <ac:spMkLst>
            <pc:docMk/>
            <pc:sldMk cId="470721327" sldId="923"/>
            <ac:spMk id="28" creationId="{44B73B9E-3941-4F1E-9676-F3E66C9CD6FB}"/>
          </ac:spMkLst>
        </pc:spChg>
        <pc:spChg chg="add del mod">
          <ac:chgData name="Kaltrina Rexhahmetaj" userId="S::kaltrina.rexhahmetaj@bvh.org::c314e318-93e0-4c36-9995-6aa0f00e0010" providerId="AD" clId="Web-{321291FF-3ED2-D1AB-6EC7-3F82956190C7}" dt="2020-03-17T21:39:32.998" v="479"/>
          <ac:spMkLst>
            <pc:docMk/>
            <pc:sldMk cId="470721327" sldId="923"/>
            <ac:spMk id="29" creationId="{51C16333-4301-4D65-B084-6125D6E4E97D}"/>
          </ac:spMkLst>
        </pc:spChg>
        <pc:spChg chg="add del mod">
          <ac:chgData name="Kaltrina Rexhahmetaj" userId="S::kaltrina.rexhahmetaj@bvh.org::c314e318-93e0-4c36-9995-6aa0f00e0010" providerId="AD" clId="Web-{321291FF-3ED2-D1AB-6EC7-3F82956190C7}" dt="2020-03-17T21:39:19.638" v="476"/>
          <ac:spMkLst>
            <pc:docMk/>
            <pc:sldMk cId="470721327" sldId="923"/>
            <ac:spMk id="30" creationId="{661A88E6-C449-4388-9B18-38942FD9164B}"/>
          </ac:spMkLst>
        </pc:spChg>
        <pc:picChg chg="del">
          <ac:chgData name="Kaltrina Rexhahmetaj" userId="S::kaltrina.rexhahmetaj@bvh.org::c314e318-93e0-4c36-9995-6aa0f00e0010" providerId="AD" clId="Web-{321291FF-3ED2-D1AB-6EC7-3F82956190C7}" dt="2020-03-17T21:38:43.935" v="451"/>
          <ac:picMkLst>
            <pc:docMk/>
            <pc:sldMk cId="470721327" sldId="923"/>
            <ac:picMk id="16" creationId="{5A3F60E1-B63A-4546-9A3E-7F97ABFE1652}"/>
          </ac:picMkLst>
        </pc:picChg>
      </pc:sldChg>
      <pc:sldChg chg="addSp delSp modSp add del replId">
        <pc:chgData name="Kaltrina Rexhahmetaj" userId="S::kaltrina.rexhahmetaj@bvh.org::c314e318-93e0-4c36-9995-6aa0f00e0010" providerId="AD" clId="Web-{321291FF-3ED2-D1AB-6EC7-3F82956190C7}" dt="2020-03-17T21:41:14.372" v="530"/>
        <pc:sldMkLst>
          <pc:docMk/>
          <pc:sldMk cId="3451936158" sldId="924"/>
        </pc:sldMkLst>
        <pc:spChg chg="add mod">
          <ac:chgData name="Kaltrina Rexhahmetaj" userId="S::kaltrina.rexhahmetaj@bvh.org::c314e318-93e0-4c36-9995-6aa0f00e0010" providerId="AD" clId="Web-{321291FF-3ED2-D1AB-6EC7-3F82956190C7}" dt="2020-03-17T21:40:23.404" v="514" actId="20577"/>
          <ac:spMkLst>
            <pc:docMk/>
            <pc:sldMk cId="3451936158" sldId="924"/>
            <ac:spMk id="4" creationId="{649EEF17-E253-4556-B2E2-E14DB2048976}"/>
          </ac:spMkLst>
        </pc:spChg>
        <pc:spChg chg="del">
          <ac:chgData name="Kaltrina Rexhahmetaj" userId="S::kaltrina.rexhahmetaj@bvh.org::c314e318-93e0-4c36-9995-6aa0f00e0010" providerId="AD" clId="Web-{321291FF-3ED2-D1AB-6EC7-3F82956190C7}" dt="2020-03-17T21:39:54.529" v="494"/>
          <ac:spMkLst>
            <pc:docMk/>
            <pc:sldMk cId="3451936158" sldId="924"/>
            <ac:spMk id="5" creationId="{CD67E137-801B-477C-BB54-E595D555254F}"/>
          </ac:spMkLst>
        </pc:spChg>
        <pc:spChg chg="del">
          <ac:chgData name="Kaltrina Rexhahmetaj" userId="S::kaltrina.rexhahmetaj@bvh.org::c314e318-93e0-4c36-9995-6aa0f00e0010" providerId="AD" clId="Web-{321291FF-3ED2-D1AB-6EC7-3F82956190C7}" dt="2020-03-17T21:39:54.357" v="493"/>
          <ac:spMkLst>
            <pc:docMk/>
            <pc:sldMk cId="3451936158" sldId="924"/>
            <ac:spMk id="12" creationId="{E06C0A27-A204-4D71-930D-449081A57765}"/>
          </ac:spMkLst>
        </pc:spChg>
        <pc:spChg chg="add">
          <ac:chgData name="Kaltrina Rexhahmetaj" userId="S::kaltrina.rexhahmetaj@bvh.org::c314e318-93e0-4c36-9995-6aa0f00e0010" providerId="AD" clId="Web-{321291FF-3ED2-D1AB-6EC7-3F82956190C7}" dt="2020-03-17T21:40:04.701" v="495"/>
          <ac:spMkLst>
            <pc:docMk/>
            <pc:sldMk cId="3451936158" sldId="924"/>
            <ac:spMk id="17" creationId="{71E55F8D-073E-49CA-A5B5-2C9C928D5775}"/>
          </ac:spMkLst>
        </pc:spChg>
        <pc:spChg chg="add">
          <ac:chgData name="Kaltrina Rexhahmetaj" userId="S::kaltrina.rexhahmetaj@bvh.org::c314e318-93e0-4c36-9995-6aa0f00e0010" providerId="AD" clId="Web-{321291FF-3ED2-D1AB-6EC7-3F82956190C7}" dt="2020-03-17T21:40:04.701" v="495"/>
          <ac:spMkLst>
            <pc:docMk/>
            <pc:sldMk cId="3451936158" sldId="924"/>
            <ac:spMk id="18" creationId="{1A608715-BB2A-4566-AA53-5459FD086E12}"/>
          </ac:spMkLst>
        </pc:spChg>
        <pc:spChg chg="del">
          <ac:chgData name="Kaltrina Rexhahmetaj" userId="S::kaltrina.rexhahmetaj@bvh.org::c314e318-93e0-4c36-9995-6aa0f00e0010" providerId="AD" clId="Web-{321291FF-3ED2-D1AB-6EC7-3F82956190C7}" dt="2020-03-17T21:39:54.357" v="492"/>
          <ac:spMkLst>
            <pc:docMk/>
            <pc:sldMk cId="3451936158" sldId="924"/>
            <ac:spMk id="19" creationId="{200B132F-61DB-4BE1-80F3-55AAAEB4B95F}"/>
          </ac:spMkLst>
        </pc:spChg>
        <pc:spChg chg="del">
          <ac:chgData name="Kaltrina Rexhahmetaj" userId="S::kaltrina.rexhahmetaj@bvh.org::c314e318-93e0-4c36-9995-6aa0f00e0010" providerId="AD" clId="Web-{321291FF-3ED2-D1AB-6EC7-3F82956190C7}" dt="2020-03-17T21:39:54.357" v="491"/>
          <ac:spMkLst>
            <pc:docMk/>
            <pc:sldMk cId="3451936158" sldId="924"/>
            <ac:spMk id="20" creationId="{D9F2BED3-5451-4969-8EE1-E3AB1C0DC311}"/>
          </ac:spMkLst>
        </pc:spChg>
        <pc:spChg chg="del">
          <ac:chgData name="Kaltrina Rexhahmetaj" userId="S::kaltrina.rexhahmetaj@bvh.org::c314e318-93e0-4c36-9995-6aa0f00e0010" providerId="AD" clId="Web-{321291FF-3ED2-D1AB-6EC7-3F82956190C7}" dt="2020-03-17T21:39:54.357" v="490"/>
          <ac:spMkLst>
            <pc:docMk/>
            <pc:sldMk cId="3451936158" sldId="924"/>
            <ac:spMk id="21" creationId="{30494693-1C2E-4D71-912C-4219DB230360}"/>
          </ac:spMkLst>
        </pc:spChg>
        <pc:spChg chg="del">
          <ac:chgData name="Kaltrina Rexhahmetaj" userId="S::kaltrina.rexhahmetaj@bvh.org::c314e318-93e0-4c36-9995-6aa0f00e0010" providerId="AD" clId="Web-{321291FF-3ED2-D1AB-6EC7-3F82956190C7}" dt="2020-03-17T21:39:54.357" v="489"/>
          <ac:spMkLst>
            <pc:docMk/>
            <pc:sldMk cId="3451936158" sldId="924"/>
            <ac:spMk id="22" creationId="{117982BD-6439-4B4F-916F-574D314EF7E9}"/>
          </ac:spMkLst>
        </pc:spChg>
        <pc:spChg chg="del">
          <ac:chgData name="Kaltrina Rexhahmetaj" userId="S::kaltrina.rexhahmetaj@bvh.org::c314e318-93e0-4c36-9995-6aa0f00e0010" providerId="AD" clId="Web-{321291FF-3ED2-D1AB-6EC7-3F82956190C7}" dt="2020-03-17T21:39:54.357" v="488"/>
          <ac:spMkLst>
            <pc:docMk/>
            <pc:sldMk cId="3451936158" sldId="924"/>
            <ac:spMk id="23" creationId="{457A2494-61FE-4043-9688-34FFD578FA96}"/>
          </ac:spMkLst>
        </pc:spChg>
        <pc:spChg chg="del">
          <ac:chgData name="Kaltrina Rexhahmetaj" userId="S::kaltrina.rexhahmetaj@bvh.org::c314e318-93e0-4c36-9995-6aa0f00e0010" providerId="AD" clId="Web-{321291FF-3ED2-D1AB-6EC7-3F82956190C7}" dt="2020-03-17T21:39:54.357" v="487"/>
          <ac:spMkLst>
            <pc:docMk/>
            <pc:sldMk cId="3451936158" sldId="924"/>
            <ac:spMk id="24" creationId="{C3BFB43C-D48F-4264-AC4D-153BD435FF66}"/>
          </ac:spMkLst>
        </pc:spChg>
        <pc:spChg chg="del">
          <ac:chgData name="Kaltrina Rexhahmetaj" userId="S::kaltrina.rexhahmetaj@bvh.org::c314e318-93e0-4c36-9995-6aa0f00e0010" providerId="AD" clId="Web-{321291FF-3ED2-D1AB-6EC7-3F82956190C7}" dt="2020-03-17T21:39:54.357" v="486"/>
          <ac:spMkLst>
            <pc:docMk/>
            <pc:sldMk cId="3451936158" sldId="924"/>
            <ac:spMk id="25" creationId="{D3F8BE23-66B0-4121-A46D-85910A863945}"/>
          </ac:spMkLst>
        </pc:spChg>
        <pc:spChg chg="del">
          <ac:chgData name="Kaltrina Rexhahmetaj" userId="S::kaltrina.rexhahmetaj@bvh.org::c314e318-93e0-4c36-9995-6aa0f00e0010" providerId="AD" clId="Web-{321291FF-3ED2-D1AB-6EC7-3F82956190C7}" dt="2020-03-17T21:39:54.357" v="485"/>
          <ac:spMkLst>
            <pc:docMk/>
            <pc:sldMk cId="3451936158" sldId="924"/>
            <ac:spMk id="26" creationId="{DDB5FD7E-2E51-4613-BB27-E28669BF6E1A}"/>
          </ac:spMkLst>
        </pc:spChg>
        <pc:spChg chg="del">
          <ac:chgData name="Kaltrina Rexhahmetaj" userId="S::kaltrina.rexhahmetaj@bvh.org::c314e318-93e0-4c36-9995-6aa0f00e0010" providerId="AD" clId="Web-{321291FF-3ED2-D1AB-6EC7-3F82956190C7}" dt="2020-03-17T21:39:54.341" v="484"/>
          <ac:spMkLst>
            <pc:docMk/>
            <pc:sldMk cId="3451936158" sldId="924"/>
            <ac:spMk id="27" creationId="{5CB7F5AB-CCFA-4927-8A41-6A872FBC3983}"/>
          </ac:spMkLst>
        </pc:spChg>
        <pc:spChg chg="del">
          <ac:chgData name="Kaltrina Rexhahmetaj" userId="S::kaltrina.rexhahmetaj@bvh.org::c314e318-93e0-4c36-9995-6aa0f00e0010" providerId="AD" clId="Web-{321291FF-3ED2-D1AB-6EC7-3F82956190C7}" dt="2020-03-17T21:39:54.341" v="483"/>
          <ac:spMkLst>
            <pc:docMk/>
            <pc:sldMk cId="3451936158" sldId="924"/>
            <ac:spMk id="28" creationId="{44B73B9E-3941-4F1E-9676-F3E66C9CD6FB}"/>
          </ac:spMkLst>
        </pc:spChg>
        <pc:spChg chg="add">
          <ac:chgData name="Kaltrina Rexhahmetaj" userId="S::kaltrina.rexhahmetaj@bvh.org::c314e318-93e0-4c36-9995-6aa0f00e0010" providerId="AD" clId="Web-{321291FF-3ED2-D1AB-6EC7-3F82956190C7}" dt="2020-03-17T21:40:04.701" v="495"/>
          <ac:spMkLst>
            <pc:docMk/>
            <pc:sldMk cId="3451936158" sldId="924"/>
            <ac:spMk id="29" creationId="{8DD8A767-0300-4601-B6B8-5503DB58359D}"/>
          </ac:spMkLst>
        </pc:spChg>
        <pc:spChg chg="add">
          <ac:chgData name="Kaltrina Rexhahmetaj" userId="S::kaltrina.rexhahmetaj@bvh.org::c314e318-93e0-4c36-9995-6aa0f00e0010" providerId="AD" clId="Web-{321291FF-3ED2-D1AB-6EC7-3F82956190C7}" dt="2020-03-17T21:40:04.701" v="495"/>
          <ac:spMkLst>
            <pc:docMk/>
            <pc:sldMk cId="3451936158" sldId="924"/>
            <ac:spMk id="30" creationId="{2D4189D4-2D7A-46CD-957A-1186F9B0C3B0}"/>
          </ac:spMkLst>
        </pc:spChg>
        <pc:spChg chg="add">
          <ac:chgData name="Kaltrina Rexhahmetaj" userId="S::kaltrina.rexhahmetaj@bvh.org::c314e318-93e0-4c36-9995-6aa0f00e0010" providerId="AD" clId="Web-{321291FF-3ED2-D1AB-6EC7-3F82956190C7}" dt="2020-03-17T21:40:04.701" v="495"/>
          <ac:spMkLst>
            <pc:docMk/>
            <pc:sldMk cId="3451936158" sldId="924"/>
            <ac:spMk id="31" creationId="{007494EC-85CA-4827-A1D2-DF1255C0E90C}"/>
          </ac:spMkLst>
        </pc:spChg>
        <pc:spChg chg="add del">
          <ac:chgData name="Kaltrina Rexhahmetaj" userId="S::kaltrina.rexhahmetaj@bvh.org::c314e318-93e0-4c36-9995-6aa0f00e0010" providerId="AD" clId="Web-{321291FF-3ED2-D1AB-6EC7-3F82956190C7}" dt="2020-03-17T21:40:18.919" v="513"/>
          <ac:spMkLst>
            <pc:docMk/>
            <pc:sldMk cId="3451936158" sldId="924"/>
            <ac:spMk id="32" creationId="{677B30B0-3AB8-4C1E-8C7C-8495FC9EB901}"/>
          </ac:spMkLst>
        </pc:spChg>
      </pc:sldChg>
      <pc:sldChg chg="add del">
        <pc:chgData name="Kaltrina Rexhahmetaj" userId="S::kaltrina.rexhahmetaj@bvh.org::c314e318-93e0-4c36-9995-6aa0f00e0010" providerId="AD" clId="Web-{321291FF-3ED2-D1AB-6EC7-3F82956190C7}" dt="2020-03-17T21:44:36.496" v="572"/>
        <pc:sldMkLst>
          <pc:docMk/>
          <pc:sldMk cId="4232684201" sldId="924"/>
        </pc:sldMkLst>
      </pc:sldChg>
      <pc:sldChg chg="addSp delSp modSp add del replId">
        <pc:chgData name="Kaltrina Rexhahmetaj" userId="S::kaltrina.rexhahmetaj@bvh.org::c314e318-93e0-4c36-9995-6aa0f00e0010" providerId="AD" clId="Web-{321291FF-3ED2-D1AB-6EC7-3F82956190C7}" dt="2020-03-17T21:41:09.872" v="529"/>
        <pc:sldMkLst>
          <pc:docMk/>
          <pc:sldMk cId="2324575315" sldId="925"/>
        </pc:sldMkLst>
        <pc:spChg chg="add mod">
          <ac:chgData name="Kaltrina Rexhahmetaj" userId="S::kaltrina.rexhahmetaj@bvh.org::c314e318-93e0-4c36-9995-6aa0f00e0010" providerId="AD" clId="Web-{321291FF-3ED2-D1AB-6EC7-3F82956190C7}" dt="2020-03-17T21:40:58.232" v="527"/>
          <ac:spMkLst>
            <pc:docMk/>
            <pc:sldMk cId="2324575315" sldId="925"/>
            <ac:spMk id="4" creationId="{7BEEEE74-9623-41A4-AE0D-8303E4035D20}"/>
          </ac:spMkLst>
        </pc:spChg>
        <pc:spChg chg="del">
          <ac:chgData name="Kaltrina Rexhahmetaj" userId="S::kaltrina.rexhahmetaj@bvh.org::c314e318-93e0-4c36-9995-6aa0f00e0010" providerId="AD" clId="Web-{321291FF-3ED2-D1AB-6EC7-3F82956190C7}" dt="2020-03-17T21:40:58.232" v="527"/>
          <ac:spMkLst>
            <pc:docMk/>
            <pc:sldMk cId="2324575315" sldId="925"/>
            <ac:spMk id="5" creationId="{CD67E137-801B-477C-BB54-E595D555254F}"/>
          </ac:spMkLst>
        </pc:spChg>
        <pc:spChg chg="del">
          <ac:chgData name="Kaltrina Rexhahmetaj" userId="S::kaltrina.rexhahmetaj@bvh.org::c314e318-93e0-4c36-9995-6aa0f00e0010" providerId="AD" clId="Web-{321291FF-3ED2-D1AB-6EC7-3F82956190C7}" dt="2020-03-17T21:40:58.075" v="526"/>
          <ac:spMkLst>
            <pc:docMk/>
            <pc:sldMk cId="2324575315" sldId="925"/>
            <ac:spMk id="12" creationId="{E06C0A27-A204-4D71-930D-449081A57765}"/>
          </ac:spMkLst>
        </pc:spChg>
        <pc:spChg chg="add">
          <ac:chgData name="Kaltrina Rexhahmetaj" userId="S::kaltrina.rexhahmetaj@bvh.org::c314e318-93e0-4c36-9995-6aa0f00e0010" providerId="AD" clId="Web-{321291FF-3ED2-D1AB-6EC7-3F82956190C7}" dt="2020-03-17T21:41:04.419" v="528"/>
          <ac:spMkLst>
            <pc:docMk/>
            <pc:sldMk cId="2324575315" sldId="925"/>
            <ac:spMk id="17" creationId="{43580B8E-EBC0-42CC-816B-9A8E9CC1DA36}"/>
          </ac:spMkLst>
        </pc:spChg>
        <pc:spChg chg="add">
          <ac:chgData name="Kaltrina Rexhahmetaj" userId="S::kaltrina.rexhahmetaj@bvh.org::c314e318-93e0-4c36-9995-6aa0f00e0010" providerId="AD" clId="Web-{321291FF-3ED2-D1AB-6EC7-3F82956190C7}" dt="2020-03-17T21:41:04.419" v="528"/>
          <ac:spMkLst>
            <pc:docMk/>
            <pc:sldMk cId="2324575315" sldId="925"/>
            <ac:spMk id="18" creationId="{8FACCB0B-2B0B-4BFB-A826-533A4FF2D8ED}"/>
          </ac:spMkLst>
        </pc:spChg>
        <pc:spChg chg="del">
          <ac:chgData name="Kaltrina Rexhahmetaj" userId="S::kaltrina.rexhahmetaj@bvh.org::c314e318-93e0-4c36-9995-6aa0f00e0010" providerId="AD" clId="Web-{321291FF-3ED2-D1AB-6EC7-3F82956190C7}" dt="2020-03-17T21:40:58.075" v="525"/>
          <ac:spMkLst>
            <pc:docMk/>
            <pc:sldMk cId="2324575315" sldId="925"/>
            <ac:spMk id="19" creationId="{200B132F-61DB-4BE1-80F3-55AAAEB4B95F}"/>
          </ac:spMkLst>
        </pc:spChg>
        <pc:spChg chg="del">
          <ac:chgData name="Kaltrina Rexhahmetaj" userId="S::kaltrina.rexhahmetaj@bvh.org::c314e318-93e0-4c36-9995-6aa0f00e0010" providerId="AD" clId="Web-{321291FF-3ED2-D1AB-6EC7-3F82956190C7}" dt="2020-03-17T21:40:58.075" v="524"/>
          <ac:spMkLst>
            <pc:docMk/>
            <pc:sldMk cId="2324575315" sldId="925"/>
            <ac:spMk id="20" creationId="{D9F2BED3-5451-4969-8EE1-E3AB1C0DC311}"/>
          </ac:spMkLst>
        </pc:spChg>
        <pc:spChg chg="del">
          <ac:chgData name="Kaltrina Rexhahmetaj" userId="S::kaltrina.rexhahmetaj@bvh.org::c314e318-93e0-4c36-9995-6aa0f00e0010" providerId="AD" clId="Web-{321291FF-3ED2-D1AB-6EC7-3F82956190C7}" dt="2020-03-17T21:40:58.075" v="523"/>
          <ac:spMkLst>
            <pc:docMk/>
            <pc:sldMk cId="2324575315" sldId="925"/>
            <ac:spMk id="21" creationId="{30494693-1C2E-4D71-912C-4219DB230360}"/>
          </ac:spMkLst>
        </pc:spChg>
        <pc:spChg chg="del">
          <ac:chgData name="Kaltrina Rexhahmetaj" userId="S::kaltrina.rexhahmetaj@bvh.org::c314e318-93e0-4c36-9995-6aa0f00e0010" providerId="AD" clId="Web-{321291FF-3ED2-D1AB-6EC7-3F82956190C7}" dt="2020-03-17T21:40:58.075" v="522"/>
          <ac:spMkLst>
            <pc:docMk/>
            <pc:sldMk cId="2324575315" sldId="925"/>
            <ac:spMk id="22" creationId="{117982BD-6439-4B4F-916F-574D314EF7E9}"/>
          </ac:spMkLst>
        </pc:spChg>
        <pc:spChg chg="del">
          <ac:chgData name="Kaltrina Rexhahmetaj" userId="S::kaltrina.rexhahmetaj@bvh.org::c314e318-93e0-4c36-9995-6aa0f00e0010" providerId="AD" clId="Web-{321291FF-3ED2-D1AB-6EC7-3F82956190C7}" dt="2020-03-17T21:40:58.075" v="521"/>
          <ac:spMkLst>
            <pc:docMk/>
            <pc:sldMk cId="2324575315" sldId="925"/>
            <ac:spMk id="23" creationId="{457A2494-61FE-4043-9688-34FFD578FA96}"/>
          </ac:spMkLst>
        </pc:spChg>
        <pc:spChg chg="del">
          <ac:chgData name="Kaltrina Rexhahmetaj" userId="S::kaltrina.rexhahmetaj@bvh.org::c314e318-93e0-4c36-9995-6aa0f00e0010" providerId="AD" clId="Web-{321291FF-3ED2-D1AB-6EC7-3F82956190C7}" dt="2020-03-17T21:40:58.075" v="520"/>
          <ac:spMkLst>
            <pc:docMk/>
            <pc:sldMk cId="2324575315" sldId="925"/>
            <ac:spMk id="24" creationId="{C3BFB43C-D48F-4264-AC4D-153BD435FF66}"/>
          </ac:spMkLst>
        </pc:spChg>
        <pc:spChg chg="del">
          <ac:chgData name="Kaltrina Rexhahmetaj" userId="S::kaltrina.rexhahmetaj@bvh.org::c314e318-93e0-4c36-9995-6aa0f00e0010" providerId="AD" clId="Web-{321291FF-3ED2-D1AB-6EC7-3F82956190C7}" dt="2020-03-17T21:40:58.075" v="519"/>
          <ac:spMkLst>
            <pc:docMk/>
            <pc:sldMk cId="2324575315" sldId="925"/>
            <ac:spMk id="25" creationId="{D3F8BE23-66B0-4121-A46D-85910A863945}"/>
          </ac:spMkLst>
        </pc:spChg>
        <pc:spChg chg="del">
          <ac:chgData name="Kaltrina Rexhahmetaj" userId="S::kaltrina.rexhahmetaj@bvh.org::c314e318-93e0-4c36-9995-6aa0f00e0010" providerId="AD" clId="Web-{321291FF-3ED2-D1AB-6EC7-3F82956190C7}" dt="2020-03-17T21:40:58.075" v="518"/>
          <ac:spMkLst>
            <pc:docMk/>
            <pc:sldMk cId="2324575315" sldId="925"/>
            <ac:spMk id="26" creationId="{DDB5FD7E-2E51-4613-BB27-E28669BF6E1A}"/>
          </ac:spMkLst>
        </pc:spChg>
        <pc:spChg chg="del">
          <ac:chgData name="Kaltrina Rexhahmetaj" userId="S::kaltrina.rexhahmetaj@bvh.org::c314e318-93e0-4c36-9995-6aa0f00e0010" providerId="AD" clId="Web-{321291FF-3ED2-D1AB-6EC7-3F82956190C7}" dt="2020-03-17T21:40:58.075" v="517"/>
          <ac:spMkLst>
            <pc:docMk/>
            <pc:sldMk cId="2324575315" sldId="925"/>
            <ac:spMk id="27" creationId="{5CB7F5AB-CCFA-4927-8A41-6A872FBC3983}"/>
          </ac:spMkLst>
        </pc:spChg>
        <pc:spChg chg="del">
          <ac:chgData name="Kaltrina Rexhahmetaj" userId="S::kaltrina.rexhahmetaj@bvh.org::c314e318-93e0-4c36-9995-6aa0f00e0010" providerId="AD" clId="Web-{321291FF-3ED2-D1AB-6EC7-3F82956190C7}" dt="2020-03-17T21:40:58.075" v="516"/>
          <ac:spMkLst>
            <pc:docMk/>
            <pc:sldMk cId="2324575315" sldId="925"/>
            <ac:spMk id="28" creationId="{44B73B9E-3941-4F1E-9676-F3E66C9CD6FB}"/>
          </ac:spMkLst>
        </pc:spChg>
        <pc:spChg chg="add">
          <ac:chgData name="Kaltrina Rexhahmetaj" userId="S::kaltrina.rexhahmetaj@bvh.org::c314e318-93e0-4c36-9995-6aa0f00e0010" providerId="AD" clId="Web-{321291FF-3ED2-D1AB-6EC7-3F82956190C7}" dt="2020-03-17T21:41:04.419" v="528"/>
          <ac:spMkLst>
            <pc:docMk/>
            <pc:sldMk cId="2324575315" sldId="925"/>
            <ac:spMk id="29" creationId="{1F965A99-65A3-4FD5-9311-6CBF9ED4CC34}"/>
          </ac:spMkLst>
        </pc:spChg>
        <pc:spChg chg="add">
          <ac:chgData name="Kaltrina Rexhahmetaj" userId="S::kaltrina.rexhahmetaj@bvh.org::c314e318-93e0-4c36-9995-6aa0f00e0010" providerId="AD" clId="Web-{321291FF-3ED2-D1AB-6EC7-3F82956190C7}" dt="2020-03-17T21:41:04.419" v="528"/>
          <ac:spMkLst>
            <pc:docMk/>
            <pc:sldMk cId="2324575315" sldId="925"/>
            <ac:spMk id="30" creationId="{482CCE7F-EE28-4EF4-9D88-6D0F3AD5764C}"/>
          </ac:spMkLst>
        </pc:spChg>
        <pc:spChg chg="add">
          <ac:chgData name="Kaltrina Rexhahmetaj" userId="S::kaltrina.rexhahmetaj@bvh.org::c314e318-93e0-4c36-9995-6aa0f00e0010" providerId="AD" clId="Web-{321291FF-3ED2-D1AB-6EC7-3F82956190C7}" dt="2020-03-17T21:41:04.419" v="528"/>
          <ac:spMkLst>
            <pc:docMk/>
            <pc:sldMk cId="2324575315" sldId="925"/>
            <ac:spMk id="31" creationId="{5F3D4AFF-7060-4652-9660-4BAA3987DD40}"/>
          </ac:spMkLst>
        </pc:spChg>
        <pc:spChg chg="add">
          <ac:chgData name="Kaltrina Rexhahmetaj" userId="S::kaltrina.rexhahmetaj@bvh.org::c314e318-93e0-4c36-9995-6aa0f00e0010" providerId="AD" clId="Web-{321291FF-3ED2-D1AB-6EC7-3F82956190C7}" dt="2020-03-17T21:41:04.419" v="528"/>
          <ac:spMkLst>
            <pc:docMk/>
            <pc:sldMk cId="2324575315" sldId="925"/>
            <ac:spMk id="32" creationId="{1707A903-45B9-49E3-9558-F912D6F37BCF}"/>
          </ac:spMkLst>
        </pc:spChg>
      </pc:sldChg>
      <pc:sldChg chg="addSp delSp modSp add replId">
        <pc:chgData name="Kaltrina Rexhahmetaj" userId="S::kaltrina.rexhahmetaj@bvh.org::c314e318-93e0-4c36-9995-6aa0f00e0010" providerId="AD" clId="Web-{321291FF-3ED2-D1AB-6EC7-3F82956190C7}" dt="2020-03-17T21:48:50.776" v="616" actId="1076"/>
        <pc:sldMkLst>
          <pc:docMk/>
          <pc:sldMk cId="3586903408" sldId="925"/>
        </pc:sldMkLst>
        <pc:spChg chg="add mod">
          <ac:chgData name="Kaltrina Rexhahmetaj" userId="S::kaltrina.rexhahmetaj@bvh.org::c314e318-93e0-4c36-9995-6aa0f00e0010" providerId="AD" clId="Web-{321291FF-3ED2-D1AB-6EC7-3F82956190C7}" dt="2020-03-17T21:42:57.184" v="564" actId="20577"/>
          <ac:spMkLst>
            <pc:docMk/>
            <pc:sldMk cId="3586903408" sldId="925"/>
            <ac:spMk id="4" creationId="{DCEE12F6-0A0C-4EA0-AD19-5FFBE8D56700}"/>
          </ac:spMkLst>
        </pc:spChg>
        <pc:spChg chg="del">
          <ac:chgData name="Kaltrina Rexhahmetaj" userId="S::kaltrina.rexhahmetaj@bvh.org::c314e318-93e0-4c36-9995-6aa0f00e0010" providerId="AD" clId="Web-{321291FF-3ED2-D1AB-6EC7-3F82956190C7}" dt="2020-03-17T21:41:39.497" v="544"/>
          <ac:spMkLst>
            <pc:docMk/>
            <pc:sldMk cId="3586903408" sldId="925"/>
            <ac:spMk id="5" creationId="{CD67E137-801B-477C-BB54-E595D555254F}"/>
          </ac:spMkLst>
        </pc:spChg>
        <pc:spChg chg="add mod">
          <ac:chgData name="Kaltrina Rexhahmetaj" userId="S::kaltrina.rexhahmetaj@bvh.org::c314e318-93e0-4c36-9995-6aa0f00e0010" providerId="AD" clId="Web-{321291FF-3ED2-D1AB-6EC7-3F82956190C7}" dt="2020-03-17T21:48:50.776" v="616" actId="1076"/>
          <ac:spMkLst>
            <pc:docMk/>
            <pc:sldMk cId="3586903408" sldId="925"/>
            <ac:spMk id="6" creationId="{3DF7DE95-94DA-40D8-A1C6-93E68BB3631D}"/>
          </ac:spMkLst>
        </pc:spChg>
        <pc:spChg chg="add">
          <ac:chgData name="Kaltrina Rexhahmetaj" userId="S::kaltrina.rexhahmetaj@bvh.org::c314e318-93e0-4c36-9995-6aa0f00e0010" providerId="AD" clId="Web-{321291FF-3ED2-D1AB-6EC7-3F82956190C7}" dt="2020-03-17T21:42:38.669" v="546"/>
          <ac:spMkLst>
            <pc:docMk/>
            <pc:sldMk cId="3586903408" sldId="925"/>
            <ac:spMk id="7" creationId="{C6A5A7AC-9223-4377-9B4A-6B4D74D31920}"/>
          </ac:spMkLst>
        </pc:spChg>
        <pc:spChg chg="add">
          <ac:chgData name="Kaltrina Rexhahmetaj" userId="S::kaltrina.rexhahmetaj@bvh.org::c314e318-93e0-4c36-9995-6aa0f00e0010" providerId="AD" clId="Web-{321291FF-3ED2-D1AB-6EC7-3F82956190C7}" dt="2020-03-17T21:42:38.684" v="547"/>
          <ac:spMkLst>
            <pc:docMk/>
            <pc:sldMk cId="3586903408" sldId="925"/>
            <ac:spMk id="8" creationId="{7BF568C4-54FC-4761-BC31-E292CC9F388D}"/>
          </ac:spMkLst>
        </pc:spChg>
        <pc:spChg chg="add">
          <ac:chgData name="Kaltrina Rexhahmetaj" userId="S::kaltrina.rexhahmetaj@bvh.org::c314e318-93e0-4c36-9995-6aa0f00e0010" providerId="AD" clId="Web-{321291FF-3ED2-D1AB-6EC7-3F82956190C7}" dt="2020-03-17T21:42:38.700" v="548"/>
          <ac:spMkLst>
            <pc:docMk/>
            <pc:sldMk cId="3586903408" sldId="925"/>
            <ac:spMk id="9" creationId="{1611521D-FBE9-4FCD-AFCC-49A9A39C98E0}"/>
          </ac:spMkLst>
        </pc:spChg>
        <pc:spChg chg="add mod">
          <ac:chgData name="Kaltrina Rexhahmetaj" userId="S::kaltrina.rexhahmetaj@bvh.org::c314e318-93e0-4c36-9995-6aa0f00e0010" providerId="AD" clId="Web-{321291FF-3ED2-D1AB-6EC7-3F82956190C7}" dt="2020-03-17T21:48:27.152" v="611" actId="1076"/>
          <ac:spMkLst>
            <pc:docMk/>
            <pc:sldMk cId="3586903408" sldId="925"/>
            <ac:spMk id="10" creationId="{D9D47690-EE8E-493E-AF9A-F75AE1039148}"/>
          </ac:spMkLst>
        </pc:spChg>
        <pc:spChg chg="add mod">
          <ac:chgData name="Kaltrina Rexhahmetaj" userId="S::kaltrina.rexhahmetaj@bvh.org::c314e318-93e0-4c36-9995-6aa0f00e0010" providerId="AD" clId="Web-{321291FF-3ED2-D1AB-6EC7-3F82956190C7}" dt="2020-03-17T21:48:48.058" v="615" actId="1076"/>
          <ac:spMkLst>
            <pc:docMk/>
            <pc:sldMk cId="3586903408" sldId="925"/>
            <ac:spMk id="11" creationId="{EF5B63E4-15B3-44D0-AD9F-F6D368B26C86}"/>
          </ac:spMkLst>
        </pc:spChg>
        <pc:spChg chg="del">
          <ac:chgData name="Kaltrina Rexhahmetaj" userId="S::kaltrina.rexhahmetaj@bvh.org::c314e318-93e0-4c36-9995-6aa0f00e0010" providerId="AD" clId="Web-{321291FF-3ED2-D1AB-6EC7-3F82956190C7}" dt="2020-03-17T21:41:39.341" v="543"/>
          <ac:spMkLst>
            <pc:docMk/>
            <pc:sldMk cId="3586903408" sldId="925"/>
            <ac:spMk id="12" creationId="{E06C0A27-A204-4D71-930D-449081A57765}"/>
          </ac:spMkLst>
        </pc:spChg>
        <pc:spChg chg="add mod">
          <ac:chgData name="Kaltrina Rexhahmetaj" userId="S::kaltrina.rexhahmetaj@bvh.org::c314e318-93e0-4c36-9995-6aa0f00e0010" providerId="AD" clId="Web-{321291FF-3ED2-D1AB-6EC7-3F82956190C7}" dt="2020-03-17T21:48:38.292" v="613" actId="1076"/>
          <ac:spMkLst>
            <pc:docMk/>
            <pc:sldMk cId="3586903408" sldId="925"/>
            <ac:spMk id="13" creationId="{1AD3F7B9-F62B-4D33-945B-6198CD2754FC}"/>
          </ac:spMkLst>
        </pc:spChg>
        <pc:spChg chg="add mod">
          <ac:chgData name="Kaltrina Rexhahmetaj" userId="S::kaltrina.rexhahmetaj@bvh.org::c314e318-93e0-4c36-9995-6aa0f00e0010" providerId="AD" clId="Web-{321291FF-3ED2-D1AB-6EC7-3F82956190C7}" dt="2020-03-17T21:48:42.151" v="614" actId="1076"/>
          <ac:spMkLst>
            <pc:docMk/>
            <pc:sldMk cId="3586903408" sldId="925"/>
            <ac:spMk id="14" creationId="{D7D6FF37-6139-4A15-BB21-5906DCD5166E}"/>
          </ac:spMkLst>
        </pc:spChg>
        <pc:spChg chg="add">
          <ac:chgData name="Kaltrina Rexhahmetaj" userId="S::kaltrina.rexhahmetaj@bvh.org::c314e318-93e0-4c36-9995-6aa0f00e0010" providerId="AD" clId="Web-{321291FF-3ED2-D1AB-6EC7-3F82956190C7}" dt="2020-03-17T21:42:38.747" v="553"/>
          <ac:spMkLst>
            <pc:docMk/>
            <pc:sldMk cId="3586903408" sldId="925"/>
            <ac:spMk id="15" creationId="{34CB6E31-933F-4538-A42D-CD6756971604}"/>
          </ac:spMkLst>
        </pc:spChg>
        <pc:spChg chg="add del mod">
          <ac:chgData name="Kaltrina Rexhahmetaj" userId="S::kaltrina.rexhahmetaj@bvh.org::c314e318-93e0-4c36-9995-6aa0f00e0010" providerId="AD" clId="Web-{321291FF-3ED2-D1AB-6EC7-3F82956190C7}" dt="2020-03-17T21:44:28.871" v="571"/>
          <ac:spMkLst>
            <pc:docMk/>
            <pc:sldMk cId="3586903408" sldId="925"/>
            <ac:spMk id="16" creationId="{E70B2E28-6E46-4515-8053-6618B6F513CA}"/>
          </ac:spMkLst>
        </pc:spChg>
        <pc:spChg chg="add del mod">
          <ac:chgData name="Kaltrina Rexhahmetaj" userId="S::kaltrina.rexhahmetaj@bvh.org::c314e318-93e0-4c36-9995-6aa0f00e0010" providerId="AD" clId="Web-{321291FF-3ED2-D1AB-6EC7-3F82956190C7}" dt="2020-03-17T21:42:52.497" v="563"/>
          <ac:spMkLst>
            <pc:docMk/>
            <pc:sldMk cId="3586903408" sldId="925"/>
            <ac:spMk id="18" creationId="{22BED8C9-C802-4CB6-BE4D-7DA46A12D693}"/>
          </ac:spMkLst>
        </pc:spChg>
        <pc:spChg chg="del">
          <ac:chgData name="Kaltrina Rexhahmetaj" userId="S::kaltrina.rexhahmetaj@bvh.org::c314e318-93e0-4c36-9995-6aa0f00e0010" providerId="AD" clId="Web-{321291FF-3ED2-D1AB-6EC7-3F82956190C7}" dt="2020-03-17T21:41:39.341" v="542"/>
          <ac:spMkLst>
            <pc:docMk/>
            <pc:sldMk cId="3586903408" sldId="925"/>
            <ac:spMk id="19" creationId="{200B132F-61DB-4BE1-80F3-55AAAEB4B95F}"/>
          </ac:spMkLst>
        </pc:spChg>
        <pc:spChg chg="del">
          <ac:chgData name="Kaltrina Rexhahmetaj" userId="S::kaltrina.rexhahmetaj@bvh.org::c314e318-93e0-4c36-9995-6aa0f00e0010" providerId="AD" clId="Web-{321291FF-3ED2-D1AB-6EC7-3F82956190C7}" dt="2020-03-17T21:41:39.341" v="541"/>
          <ac:spMkLst>
            <pc:docMk/>
            <pc:sldMk cId="3586903408" sldId="925"/>
            <ac:spMk id="20" creationId="{D9F2BED3-5451-4969-8EE1-E3AB1C0DC311}"/>
          </ac:spMkLst>
        </pc:spChg>
        <pc:spChg chg="del">
          <ac:chgData name="Kaltrina Rexhahmetaj" userId="S::kaltrina.rexhahmetaj@bvh.org::c314e318-93e0-4c36-9995-6aa0f00e0010" providerId="AD" clId="Web-{321291FF-3ED2-D1AB-6EC7-3F82956190C7}" dt="2020-03-17T21:41:39.341" v="540"/>
          <ac:spMkLst>
            <pc:docMk/>
            <pc:sldMk cId="3586903408" sldId="925"/>
            <ac:spMk id="21" creationId="{30494693-1C2E-4D71-912C-4219DB230360}"/>
          </ac:spMkLst>
        </pc:spChg>
        <pc:spChg chg="del">
          <ac:chgData name="Kaltrina Rexhahmetaj" userId="S::kaltrina.rexhahmetaj@bvh.org::c314e318-93e0-4c36-9995-6aa0f00e0010" providerId="AD" clId="Web-{321291FF-3ED2-D1AB-6EC7-3F82956190C7}" dt="2020-03-17T21:41:39.341" v="539"/>
          <ac:spMkLst>
            <pc:docMk/>
            <pc:sldMk cId="3586903408" sldId="925"/>
            <ac:spMk id="22" creationId="{117982BD-6439-4B4F-916F-574D314EF7E9}"/>
          </ac:spMkLst>
        </pc:spChg>
        <pc:spChg chg="del">
          <ac:chgData name="Kaltrina Rexhahmetaj" userId="S::kaltrina.rexhahmetaj@bvh.org::c314e318-93e0-4c36-9995-6aa0f00e0010" providerId="AD" clId="Web-{321291FF-3ED2-D1AB-6EC7-3F82956190C7}" dt="2020-03-17T21:41:39.341" v="538"/>
          <ac:spMkLst>
            <pc:docMk/>
            <pc:sldMk cId="3586903408" sldId="925"/>
            <ac:spMk id="23" creationId="{457A2494-61FE-4043-9688-34FFD578FA96}"/>
          </ac:spMkLst>
        </pc:spChg>
        <pc:spChg chg="del">
          <ac:chgData name="Kaltrina Rexhahmetaj" userId="S::kaltrina.rexhahmetaj@bvh.org::c314e318-93e0-4c36-9995-6aa0f00e0010" providerId="AD" clId="Web-{321291FF-3ED2-D1AB-6EC7-3F82956190C7}" dt="2020-03-17T21:41:39.341" v="537"/>
          <ac:spMkLst>
            <pc:docMk/>
            <pc:sldMk cId="3586903408" sldId="925"/>
            <ac:spMk id="24" creationId="{C3BFB43C-D48F-4264-AC4D-153BD435FF66}"/>
          </ac:spMkLst>
        </pc:spChg>
        <pc:spChg chg="del">
          <ac:chgData name="Kaltrina Rexhahmetaj" userId="S::kaltrina.rexhahmetaj@bvh.org::c314e318-93e0-4c36-9995-6aa0f00e0010" providerId="AD" clId="Web-{321291FF-3ED2-D1AB-6EC7-3F82956190C7}" dt="2020-03-17T21:41:39.325" v="536"/>
          <ac:spMkLst>
            <pc:docMk/>
            <pc:sldMk cId="3586903408" sldId="925"/>
            <ac:spMk id="25" creationId="{D3F8BE23-66B0-4121-A46D-85910A863945}"/>
          </ac:spMkLst>
        </pc:spChg>
        <pc:spChg chg="del">
          <ac:chgData name="Kaltrina Rexhahmetaj" userId="S::kaltrina.rexhahmetaj@bvh.org::c314e318-93e0-4c36-9995-6aa0f00e0010" providerId="AD" clId="Web-{321291FF-3ED2-D1AB-6EC7-3F82956190C7}" dt="2020-03-17T21:41:39.325" v="535"/>
          <ac:spMkLst>
            <pc:docMk/>
            <pc:sldMk cId="3586903408" sldId="925"/>
            <ac:spMk id="26" creationId="{DDB5FD7E-2E51-4613-BB27-E28669BF6E1A}"/>
          </ac:spMkLst>
        </pc:spChg>
        <pc:spChg chg="del">
          <ac:chgData name="Kaltrina Rexhahmetaj" userId="S::kaltrina.rexhahmetaj@bvh.org::c314e318-93e0-4c36-9995-6aa0f00e0010" providerId="AD" clId="Web-{321291FF-3ED2-D1AB-6EC7-3F82956190C7}" dt="2020-03-17T21:41:39.325" v="534"/>
          <ac:spMkLst>
            <pc:docMk/>
            <pc:sldMk cId="3586903408" sldId="925"/>
            <ac:spMk id="27" creationId="{5CB7F5AB-CCFA-4927-8A41-6A872FBC3983}"/>
          </ac:spMkLst>
        </pc:spChg>
        <pc:spChg chg="del">
          <ac:chgData name="Kaltrina Rexhahmetaj" userId="S::kaltrina.rexhahmetaj@bvh.org::c314e318-93e0-4c36-9995-6aa0f00e0010" providerId="AD" clId="Web-{321291FF-3ED2-D1AB-6EC7-3F82956190C7}" dt="2020-03-17T21:41:39.325" v="533"/>
          <ac:spMkLst>
            <pc:docMk/>
            <pc:sldMk cId="3586903408" sldId="925"/>
            <ac:spMk id="28" creationId="{44B73B9E-3941-4F1E-9676-F3E66C9CD6FB}"/>
          </ac:spMkLst>
        </pc:spChg>
      </pc:sldChg>
      <pc:sldChg chg="addSp delSp modSp add replId modNotes">
        <pc:chgData name="Kaltrina Rexhahmetaj" userId="S::kaltrina.rexhahmetaj@bvh.org::c314e318-93e0-4c36-9995-6aa0f00e0010" providerId="AD" clId="Web-{321291FF-3ED2-D1AB-6EC7-3F82956190C7}" dt="2020-03-17T21:45:58.371" v="610"/>
        <pc:sldMkLst>
          <pc:docMk/>
          <pc:sldMk cId="2944517633" sldId="926"/>
        </pc:sldMkLst>
        <pc:spChg chg="del">
          <ac:chgData name="Kaltrina Rexhahmetaj" userId="S::kaltrina.rexhahmetaj@bvh.org::c314e318-93e0-4c36-9995-6aa0f00e0010" providerId="AD" clId="Web-{321291FF-3ED2-D1AB-6EC7-3F82956190C7}" dt="2020-03-17T21:44:43.418" v="583"/>
          <ac:spMkLst>
            <pc:docMk/>
            <pc:sldMk cId="2944517633" sldId="926"/>
            <ac:spMk id="4" creationId="{DCEE12F6-0A0C-4EA0-AD19-5FFBE8D56700}"/>
          </ac:spMkLst>
        </pc:spChg>
        <pc:spChg chg="add mod">
          <ac:chgData name="Kaltrina Rexhahmetaj" userId="S::kaltrina.rexhahmetaj@bvh.org::c314e318-93e0-4c36-9995-6aa0f00e0010" providerId="AD" clId="Web-{321291FF-3ED2-D1AB-6EC7-3F82956190C7}" dt="2020-03-17T21:45:15.340" v="598" actId="20577"/>
          <ac:spMkLst>
            <pc:docMk/>
            <pc:sldMk cId="2944517633" sldId="926"/>
            <ac:spMk id="5" creationId="{02628911-DEBC-4C28-A89A-D5EF44D9364D}"/>
          </ac:spMkLst>
        </pc:spChg>
        <pc:spChg chg="del">
          <ac:chgData name="Kaltrina Rexhahmetaj" userId="S::kaltrina.rexhahmetaj@bvh.org::c314e318-93e0-4c36-9995-6aa0f00e0010" providerId="AD" clId="Web-{321291FF-3ED2-D1AB-6EC7-3F82956190C7}" dt="2020-03-17T21:44:43.262" v="582"/>
          <ac:spMkLst>
            <pc:docMk/>
            <pc:sldMk cId="2944517633" sldId="926"/>
            <ac:spMk id="6" creationId="{3DF7DE95-94DA-40D8-A1C6-93E68BB3631D}"/>
          </ac:spMkLst>
        </pc:spChg>
        <pc:spChg chg="del">
          <ac:chgData name="Kaltrina Rexhahmetaj" userId="S::kaltrina.rexhahmetaj@bvh.org::c314e318-93e0-4c36-9995-6aa0f00e0010" providerId="AD" clId="Web-{321291FF-3ED2-D1AB-6EC7-3F82956190C7}" dt="2020-03-17T21:44:43.262" v="581"/>
          <ac:spMkLst>
            <pc:docMk/>
            <pc:sldMk cId="2944517633" sldId="926"/>
            <ac:spMk id="7" creationId="{C6A5A7AC-9223-4377-9B4A-6B4D74D31920}"/>
          </ac:spMkLst>
        </pc:spChg>
        <pc:spChg chg="del">
          <ac:chgData name="Kaltrina Rexhahmetaj" userId="S::kaltrina.rexhahmetaj@bvh.org::c314e318-93e0-4c36-9995-6aa0f00e0010" providerId="AD" clId="Web-{321291FF-3ED2-D1AB-6EC7-3F82956190C7}" dt="2020-03-17T21:44:43.262" v="580"/>
          <ac:spMkLst>
            <pc:docMk/>
            <pc:sldMk cId="2944517633" sldId="926"/>
            <ac:spMk id="8" creationId="{7BF568C4-54FC-4761-BC31-E292CC9F388D}"/>
          </ac:spMkLst>
        </pc:spChg>
        <pc:spChg chg="del">
          <ac:chgData name="Kaltrina Rexhahmetaj" userId="S::kaltrina.rexhahmetaj@bvh.org::c314e318-93e0-4c36-9995-6aa0f00e0010" providerId="AD" clId="Web-{321291FF-3ED2-D1AB-6EC7-3F82956190C7}" dt="2020-03-17T21:44:43.262" v="579"/>
          <ac:spMkLst>
            <pc:docMk/>
            <pc:sldMk cId="2944517633" sldId="926"/>
            <ac:spMk id="9" creationId="{1611521D-FBE9-4FCD-AFCC-49A9A39C98E0}"/>
          </ac:spMkLst>
        </pc:spChg>
        <pc:spChg chg="del">
          <ac:chgData name="Kaltrina Rexhahmetaj" userId="S::kaltrina.rexhahmetaj@bvh.org::c314e318-93e0-4c36-9995-6aa0f00e0010" providerId="AD" clId="Web-{321291FF-3ED2-D1AB-6EC7-3F82956190C7}" dt="2020-03-17T21:44:43.262" v="578"/>
          <ac:spMkLst>
            <pc:docMk/>
            <pc:sldMk cId="2944517633" sldId="926"/>
            <ac:spMk id="10" creationId="{D9D47690-EE8E-493E-AF9A-F75AE1039148}"/>
          </ac:spMkLst>
        </pc:spChg>
        <pc:spChg chg="del">
          <ac:chgData name="Kaltrina Rexhahmetaj" userId="S::kaltrina.rexhahmetaj@bvh.org::c314e318-93e0-4c36-9995-6aa0f00e0010" providerId="AD" clId="Web-{321291FF-3ED2-D1AB-6EC7-3F82956190C7}" dt="2020-03-17T21:44:43.262" v="577"/>
          <ac:spMkLst>
            <pc:docMk/>
            <pc:sldMk cId="2944517633" sldId="926"/>
            <ac:spMk id="11" creationId="{EF5B63E4-15B3-44D0-AD9F-F6D368B26C86}"/>
          </ac:spMkLst>
        </pc:spChg>
        <pc:spChg chg="del">
          <ac:chgData name="Kaltrina Rexhahmetaj" userId="S::kaltrina.rexhahmetaj@bvh.org::c314e318-93e0-4c36-9995-6aa0f00e0010" providerId="AD" clId="Web-{321291FF-3ED2-D1AB-6EC7-3F82956190C7}" dt="2020-03-17T21:44:43.262" v="576"/>
          <ac:spMkLst>
            <pc:docMk/>
            <pc:sldMk cId="2944517633" sldId="926"/>
            <ac:spMk id="13" creationId="{1AD3F7B9-F62B-4D33-945B-6198CD2754FC}"/>
          </ac:spMkLst>
        </pc:spChg>
        <pc:spChg chg="del">
          <ac:chgData name="Kaltrina Rexhahmetaj" userId="S::kaltrina.rexhahmetaj@bvh.org::c314e318-93e0-4c36-9995-6aa0f00e0010" providerId="AD" clId="Web-{321291FF-3ED2-D1AB-6EC7-3F82956190C7}" dt="2020-03-17T21:44:43.262" v="575"/>
          <ac:spMkLst>
            <pc:docMk/>
            <pc:sldMk cId="2944517633" sldId="926"/>
            <ac:spMk id="14" creationId="{D7D6FF37-6139-4A15-BB21-5906DCD5166E}"/>
          </ac:spMkLst>
        </pc:spChg>
        <pc:spChg chg="del">
          <ac:chgData name="Kaltrina Rexhahmetaj" userId="S::kaltrina.rexhahmetaj@bvh.org::c314e318-93e0-4c36-9995-6aa0f00e0010" providerId="AD" clId="Web-{321291FF-3ED2-D1AB-6EC7-3F82956190C7}" dt="2020-03-17T21:44:43.262" v="574"/>
          <ac:spMkLst>
            <pc:docMk/>
            <pc:sldMk cId="2944517633" sldId="926"/>
            <ac:spMk id="15" creationId="{34CB6E31-933F-4538-A42D-CD6756971604}"/>
          </ac:spMkLst>
        </pc:spChg>
        <pc:spChg chg="add mod">
          <ac:chgData name="Kaltrina Rexhahmetaj" userId="S::kaltrina.rexhahmetaj@bvh.org::c314e318-93e0-4c36-9995-6aa0f00e0010" providerId="AD" clId="Web-{321291FF-3ED2-D1AB-6EC7-3F82956190C7}" dt="2020-03-17T21:45:28.824" v="605" actId="20577"/>
          <ac:spMkLst>
            <pc:docMk/>
            <pc:sldMk cId="2944517633" sldId="926"/>
            <ac:spMk id="16" creationId="{51FCD71E-8949-4EE3-99D5-1B93A7EFBEC4}"/>
          </ac:spMkLst>
        </pc:spChg>
        <pc:spChg chg="add del mod">
          <ac:chgData name="Kaltrina Rexhahmetaj" userId="S::kaltrina.rexhahmetaj@bvh.org::c314e318-93e0-4c36-9995-6aa0f00e0010" providerId="AD" clId="Web-{321291FF-3ED2-D1AB-6EC7-3F82956190C7}" dt="2020-03-17T21:45:35.199" v="608"/>
          <ac:spMkLst>
            <pc:docMk/>
            <pc:sldMk cId="2944517633" sldId="926"/>
            <ac:spMk id="17" creationId="{07E2FBE3-B73C-4C1F-9C47-CB9F19F6E6D0}"/>
          </ac:spMkLst>
        </pc:spChg>
        <pc:spChg chg="add del mod">
          <ac:chgData name="Kaltrina Rexhahmetaj" userId="S::kaltrina.rexhahmetaj@bvh.org::c314e318-93e0-4c36-9995-6aa0f00e0010" providerId="AD" clId="Web-{321291FF-3ED2-D1AB-6EC7-3F82956190C7}" dt="2020-03-17T21:45:10.231" v="597"/>
          <ac:spMkLst>
            <pc:docMk/>
            <pc:sldMk cId="2944517633" sldId="926"/>
            <ac:spMk id="18" creationId="{73249B6A-670B-49DF-B56F-F5558EDFB12E}"/>
          </ac:spMkLst>
        </pc:spChg>
      </pc:sldChg>
    </pc:docChg>
  </pc:docChgLst>
  <pc:docChgLst>
    <pc:chgData name="Kaltrina Rexhahmetaj" userId="S::kaltrina.rexhahmetaj@bvh.org::c314e318-93e0-4c36-9995-6aa0f00e0010" providerId="AD" clId="Web-{BE0B3A27-98F3-EF3F-7A17-3E4D8247F448}"/>
    <pc:docChg chg="modSld">
      <pc:chgData name="Kaltrina Rexhahmetaj" userId="S::kaltrina.rexhahmetaj@bvh.org::c314e318-93e0-4c36-9995-6aa0f00e0010" providerId="AD" clId="Web-{BE0B3A27-98F3-EF3F-7A17-3E4D8247F448}" dt="2020-03-17T22:13:05.158" v="60"/>
      <pc:docMkLst>
        <pc:docMk/>
      </pc:docMkLst>
      <pc:sldChg chg="addSp modSp">
        <pc:chgData name="Kaltrina Rexhahmetaj" userId="S::kaltrina.rexhahmetaj@bvh.org::c314e318-93e0-4c36-9995-6aa0f00e0010" providerId="AD" clId="Web-{BE0B3A27-98F3-EF3F-7A17-3E4D8247F448}" dt="2020-03-17T22:08:56.387" v="5" actId="1076"/>
        <pc:sldMkLst>
          <pc:docMk/>
          <pc:sldMk cId="266673231" sldId="816"/>
        </pc:sldMkLst>
        <pc:spChg chg="add mod">
          <ac:chgData name="Kaltrina Rexhahmetaj" userId="S::kaltrina.rexhahmetaj@bvh.org::c314e318-93e0-4c36-9995-6aa0f00e0010" providerId="AD" clId="Web-{BE0B3A27-98F3-EF3F-7A17-3E4D8247F448}" dt="2020-03-17T22:08:56.387" v="5" actId="1076"/>
          <ac:spMkLst>
            <pc:docMk/>
            <pc:sldMk cId="266673231" sldId="816"/>
            <ac:spMk id="5" creationId="{C945F5DD-A99F-4097-BF7D-45985FFCB81F}"/>
          </ac:spMkLst>
        </pc:spChg>
      </pc:sldChg>
      <pc:sldChg chg="addSp modSp">
        <pc:chgData name="Kaltrina Rexhahmetaj" userId="S::kaltrina.rexhahmetaj@bvh.org::c314e318-93e0-4c36-9995-6aa0f00e0010" providerId="AD" clId="Web-{BE0B3A27-98F3-EF3F-7A17-3E4D8247F448}" dt="2020-03-17T22:08:35.667" v="2" actId="1076"/>
        <pc:sldMkLst>
          <pc:docMk/>
          <pc:sldMk cId="378693582" sldId="864"/>
        </pc:sldMkLst>
        <pc:spChg chg="add mod">
          <ac:chgData name="Kaltrina Rexhahmetaj" userId="S::kaltrina.rexhahmetaj@bvh.org::c314e318-93e0-4c36-9995-6aa0f00e0010" providerId="AD" clId="Web-{BE0B3A27-98F3-EF3F-7A17-3E4D8247F448}" dt="2020-03-17T22:08:35.667" v="2" actId="1076"/>
          <ac:spMkLst>
            <pc:docMk/>
            <pc:sldMk cId="378693582" sldId="864"/>
            <ac:spMk id="14" creationId="{C945F5DD-A99F-4097-BF7D-45985FFCB81F}"/>
          </ac:spMkLst>
        </pc:spChg>
      </pc:sldChg>
      <pc:sldChg chg="addSp">
        <pc:chgData name="Kaltrina Rexhahmetaj" userId="S::kaltrina.rexhahmetaj@bvh.org::c314e318-93e0-4c36-9995-6aa0f00e0010" providerId="AD" clId="Web-{BE0B3A27-98F3-EF3F-7A17-3E4D8247F448}" dt="2020-03-17T22:09:07.529" v="6"/>
        <pc:sldMkLst>
          <pc:docMk/>
          <pc:sldMk cId="1743709036" sldId="867"/>
        </pc:sldMkLst>
        <pc:spChg chg="add">
          <ac:chgData name="Kaltrina Rexhahmetaj" userId="S::kaltrina.rexhahmetaj@bvh.org::c314e318-93e0-4c36-9995-6aa0f00e0010" providerId="AD" clId="Web-{BE0B3A27-98F3-EF3F-7A17-3E4D8247F448}" dt="2020-03-17T22:09:07.529" v="6"/>
          <ac:spMkLst>
            <pc:docMk/>
            <pc:sldMk cId="1743709036" sldId="867"/>
            <ac:spMk id="3" creationId="{CEC92C4F-5651-4581-A5E2-8BE3119E7018}"/>
          </ac:spMkLst>
        </pc:spChg>
      </pc:sldChg>
      <pc:sldChg chg="addSp">
        <pc:chgData name="Kaltrina Rexhahmetaj" userId="S::kaltrina.rexhahmetaj@bvh.org::c314e318-93e0-4c36-9995-6aa0f00e0010" providerId="AD" clId="Web-{BE0B3A27-98F3-EF3F-7A17-3E4D8247F448}" dt="2020-03-17T22:09:10.967" v="7"/>
        <pc:sldMkLst>
          <pc:docMk/>
          <pc:sldMk cId="4241842451" sldId="869"/>
        </pc:sldMkLst>
        <pc:spChg chg="add">
          <ac:chgData name="Kaltrina Rexhahmetaj" userId="S::kaltrina.rexhahmetaj@bvh.org::c314e318-93e0-4c36-9995-6aa0f00e0010" providerId="AD" clId="Web-{BE0B3A27-98F3-EF3F-7A17-3E4D8247F448}" dt="2020-03-17T22:09:10.967" v="7"/>
          <ac:spMkLst>
            <pc:docMk/>
            <pc:sldMk cId="4241842451" sldId="869"/>
            <ac:spMk id="3" creationId="{D6071727-9C08-4B95-960A-2AAD682290A1}"/>
          </ac:spMkLst>
        </pc:spChg>
      </pc:sldChg>
      <pc:sldChg chg="addSp">
        <pc:chgData name="Kaltrina Rexhahmetaj" userId="S::kaltrina.rexhahmetaj@bvh.org::c314e318-93e0-4c36-9995-6aa0f00e0010" providerId="AD" clId="Web-{BE0B3A27-98F3-EF3F-7A17-3E4D8247F448}" dt="2020-03-17T22:09:15.998" v="8"/>
        <pc:sldMkLst>
          <pc:docMk/>
          <pc:sldMk cId="31838359" sldId="870"/>
        </pc:sldMkLst>
        <pc:spChg chg="add">
          <ac:chgData name="Kaltrina Rexhahmetaj" userId="S::kaltrina.rexhahmetaj@bvh.org::c314e318-93e0-4c36-9995-6aa0f00e0010" providerId="AD" clId="Web-{BE0B3A27-98F3-EF3F-7A17-3E4D8247F448}" dt="2020-03-17T22:09:15.998" v="8"/>
          <ac:spMkLst>
            <pc:docMk/>
            <pc:sldMk cId="31838359" sldId="870"/>
            <ac:spMk id="3" creationId="{F6CF01CA-3B8F-47E9-BFA9-61EC3435A190}"/>
          </ac:spMkLst>
        </pc:spChg>
      </pc:sldChg>
      <pc:sldChg chg="addSp">
        <pc:chgData name="Kaltrina Rexhahmetaj" userId="S::kaltrina.rexhahmetaj@bvh.org::c314e318-93e0-4c36-9995-6aa0f00e0010" providerId="AD" clId="Web-{BE0B3A27-98F3-EF3F-7A17-3E4D8247F448}" dt="2020-03-17T22:09:18.452" v="9"/>
        <pc:sldMkLst>
          <pc:docMk/>
          <pc:sldMk cId="2591056959" sldId="871"/>
        </pc:sldMkLst>
        <pc:spChg chg="add">
          <ac:chgData name="Kaltrina Rexhahmetaj" userId="S::kaltrina.rexhahmetaj@bvh.org::c314e318-93e0-4c36-9995-6aa0f00e0010" providerId="AD" clId="Web-{BE0B3A27-98F3-EF3F-7A17-3E4D8247F448}" dt="2020-03-17T22:09:18.452" v="9"/>
          <ac:spMkLst>
            <pc:docMk/>
            <pc:sldMk cId="2591056959" sldId="871"/>
            <ac:spMk id="3" creationId="{77051A98-920A-483D-8D19-A0F3ED8E4DD3}"/>
          </ac:spMkLst>
        </pc:spChg>
      </pc:sldChg>
      <pc:sldChg chg="addSp">
        <pc:chgData name="Kaltrina Rexhahmetaj" userId="S::kaltrina.rexhahmetaj@bvh.org::c314e318-93e0-4c36-9995-6aa0f00e0010" providerId="AD" clId="Web-{BE0B3A27-98F3-EF3F-7A17-3E4D8247F448}" dt="2020-03-17T22:09:22.686" v="10"/>
        <pc:sldMkLst>
          <pc:docMk/>
          <pc:sldMk cId="3244190214" sldId="872"/>
        </pc:sldMkLst>
        <pc:spChg chg="add">
          <ac:chgData name="Kaltrina Rexhahmetaj" userId="S::kaltrina.rexhahmetaj@bvh.org::c314e318-93e0-4c36-9995-6aa0f00e0010" providerId="AD" clId="Web-{BE0B3A27-98F3-EF3F-7A17-3E4D8247F448}" dt="2020-03-17T22:09:22.686" v="10"/>
          <ac:spMkLst>
            <pc:docMk/>
            <pc:sldMk cId="3244190214" sldId="872"/>
            <ac:spMk id="3" creationId="{712FA1FC-4D4B-46EF-83B5-47840A18F71B}"/>
          </ac:spMkLst>
        </pc:spChg>
      </pc:sldChg>
      <pc:sldChg chg="addSp">
        <pc:chgData name="Kaltrina Rexhahmetaj" userId="S::kaltrina.rexhahmetaj@bvh.org::c314e318-93e0-4c36-9995-6aa0f00e0010" providerId="AD" clId="Web-{BE0B3A27-98F3-EF3F-7A17-3E4D8247F448}" dt="2020-03-17T22:09:24.905" v="11"/>
        <pc:sldMkLst>
          <pc:docMk/>
          <pc:sldMk cId="874206581" sldId="873"/>
        </pc:sldMkLst>
        <pc:spChg chg="add">
          <ac:chgData name="Kaltrina Rexhahmetaj" userId="S::kaltrina.rexhahmetaj@bvh.org::c314e318-93e0-4c36-9995-6aa0f00e0010" providerId="AD" clId="Web-{BE0B3A27-98F3-EF3F-7A17-3E4D8247F448}" dt="2020-03-17T22:09:24.905" v="11"/>
          <ac:spMkLst>
            <pc:docMk/>
            <pc:sldMk cId="874206581" sldId="873"/>
            <ac:spMk id="3" creationId="{EF97AE71-3F91-41FB-9C0F-2E3D8F198242}"/>
          </ac:spMkLst>
        </pc:spChg>
      </pc:sldChg>
      <pc:sldChg chg="addSp">
        <pc:chgData name="Kaltrina Rexhahmetaj" userId="S::kaltrina.rexhahmetaj@bvh.org::c314e318-93e0-4c36-9995-6aa0f00e0010" providerId="AD" clId="Web-{BE0B3A27-98F3-EF3F-7A17-3E4D8247F448}" dt="2020-03-17T22:09:27.390" v="12"/>
        <pc:sldMkLst>
          <pc:docMk/>
          <pc:sldMk cId="1341924466" sldId="874"/>
        </pc:sldMkLst>
        <pc:spChg chg="add">
          <ac:chgData name="Kaltrina Rexhahmetaj" userId="S::kaltrina.rexhahmetaj@bvh.org::c314e318-93e0-4c36-9995-6aa0f00e0010" providerId="AD" clId="Web-{BE0B3A27-98F3-EF3F-7A17-3E4D8247F448}" dt="2020-03-17T22:09:27.390" v="12"/>
          <ac:spMkLst>
            <pc:docMk/>
            <pc:sldMk cId="1341924466" sldId="874"/>
            <ac:spMk id="3" creationId="{6EF20C4C-249A-417E-A894-B80B1254EFC4}"/>
          </ac:spMkLst>
        </pc:spChg>
      </pc:sldChg>
      <pc:sldChg chg="addSp">
        <pc:chgData name="Kaltrina Rexhahmetaj" userId="S::kaltrina.rexhahmetaj@bvh.org::c314e318-93e0-4c36-9995-6aa0f00e0010" providerId="AD" clId="Web-{BE0B3A27-98F3-EF3F-7A17-3E4D8247F448}" dt="2020-03-17T22:09:30.281" v="13"/>
        <pc:sldMkLst>
          <pc:docMk/>
          <pc:sldMk cId="3640243740" sldId="875"/>
        </pc:sldMkLst>
        <pc:spChg chg="add">
          <ac:chgData name="Kaltrina Rexhahmetaj" userId="S::kaltrina.rexhahmetaj@bvh.org::c314e318-93e0-4c36-9995-6aa0f00e0010" providerId="AD" clId="Web-{BE0B3A27-98F3-EF3F-7A17-3E4D8247F448}" dt="2020-03-17T22:09:30.281" v="13"/>
          <ac:spMkLst>
            <pc:docMk/>
            <pc:sldMk cId="3640243740" sldId="875"/>
            <ac:spMk id="3" creationId="{8BCA0497-1738-459C-B15F-8CA44CAFCA47}"/>
          </ac:spMkLst>
        </pc:spChg>
      </pc:sldChg>
      <pc:sldChg chg="addSp">
        <pc:chgData name="Kaltrina Rexhahmetaj" userId="S::kaltrina.rexhahmetaj@bvh.org::c314e318-93e0-4c36-9995-6aa0f00e0010" providerId="AD" clId="Web-{BE0B3A27-98F3-EF3F-7A17-3E4D8247F448}" dt="2020-03-17T22:09:35.719" v="14"/>
        <pc:sldMkLst>
          <pc:docMk/>
          <pc:sldMk cId="3480010175" sldId="876"/>
        </pc:sldMkLst>
        <pc:spChg chg="add">
          <ac:chgData name="Kaltrina Rexhahmetaj" userId="S::kaltrina.rexhahmetaj@bvh.org::c314e318-93e0-4c36-9995-6aa0f00e0010" providerId="AD" clId="Web-{BE0B3A27-98F3-EF3F-7A17-3E4D8247F448}" dt="2020-03-17T22:09:35.719" v="14"/>
          <ac:spMkLst>
            <pc:docMk/>
            <pc:sldMk cId="3480010175" sldId="876"/>
            <ac:spMk id="3" creationId="{FDAF2070-1DD2-40CC-8C39-6E2B0656F2C9}"/>
          </ac:spMkLst>
        </pc:spChg>
      </pc:sldChg>
      <pc:sldChg chg="addSp">
        <pc:chgData name="Kaltrina Rexhahmetaj" userId="S::kaltrina.rexhahmetaj@bvh.org::c314e318-93e0-4c36-9995-6aa0f00e0010" providerId="AD" clId="Web-{BE0B3A27-98F3-EF3F-7A17-3E4D8247F448}" dt="2020-03-17T22:09:39.188" v="15"/>
        <pc:sldMkLst>
          <pc:docMk/>
          <pc:sldMk cId="404766500" sldId="877"/>
        </pc:sldMkLst>
        <pc:spChg chg="add">
          <ac:chgData name="Kaltrina Rexhahmetaj" userId="S::kaltrina.rexhahmetaj@bvh.org::c314e318-93e0-4c36-9995-6aa0f00e0010" providerId="AD" clId="Web-{BE0B3A27-98F3-EF3F-7A17-3E4D8247F448}" dt="2020-03-17T22:09:39.188" v="15"/>
          <ac:spMkLst>
            <pc:docMk/>
            <pc:sldMk cId="404766500" sldId="877"/>
            <ac:spMk id="3" creationId="{5843DA7A-1E4E-44D9-A1B1-6786390B6658}"/>
          </ac:spMkLst>
        </pc:spChg>
      </pc:sldChg>
      <pc:sldChg chg="addSp modSp">
        <pc:chgData name="Kaltrina Rexhahmetaj" userId="S::kaltrina.rexhahmetaj@bvh.org::c314e318-93e0-4c36-9995-6aa0f00e0010" providerId="AD" clId="Web-{BE0B3A27-98F3-EF3F-7A17-3E4D8247F448}" dt="2020-03-17T22:09:54.955" v="18" actId="1076"/>
        <pc:sldMkLst>
          <pc:docMk/>
          <pc:sldMk cId="3409999980" sldId="878"/>
        </pc:sldMkLst>
        <pc:spChg chg="add">
          <ac:chgData name="Kaltrina Rexhahmetaj" userId="S::kaltrina.rexhahmetaj@bvh.org::c314e318-93e0-4c36-9995-6aa0f00e0010" providerId="AD" clId="Web-{BE0B3A27-98F3-EF3F-7A17-3E4D8247F448}" dt="2020-03-17T22:09:42.235" v="16"/>
          <ac:spMkLst>
            <pc:docMk/>
            <pc:sldMk cId="3409999980" sldId="878"/>
            <ac:spMk id="3" creationId="{7CB0736F-D860-435D-820C-E328CA7632CE}"/>
          </ac:spMkLst>
        </pc:spChg>
        <pc:spChg chg="mod">
          <ac:chgData name="Kaltrina Rexhahmetaj" userId="S::kaltrina.rexhahmetaj@bvh.org::c314e318-93e0-4c36-9995-6aa0f00e0010" providerId="AD" clId="Web-{BE0B3A27-98F3-EF3F-7A17-3E4D8247F448}" dt="2020-03-17T22:09:54.955" v="18" actId="1076"/>
          <ac:spMkLst>
            <pc:docMk/>
            <pc:sldMk cId="3409999980" sldId="878"/>
            <ac:spMk id="18" creationId="{BEC642B5-19E0-4F61-BAEE-49284846B356}"/>
          </ac:spMkLst>
        </pc:spChg>
      </pc:sldChg>
      <pc:sldChg chg="addSp modSp">
        <pc:chgData name="Kaltrina Rexhahmetaj" userId="S::kaltrina.rexhahmetaj@bvh.org::c314e318-93e0-4c36-9995-6aa0f00e0010" providerId="AD" clId="Web-{BE0B3A27-98F3-EF3F-7A17-3E4D8247F448}" dt="2020-03-17T22:10:08.393" v="21" actId="1076"/>
        <pc:sldMkLst>
          <pc:docMk/>
          <pc:sldMk cId="704886492" sldId="879"/>
        </pc:sldMkLst>
        <pc:spChg chg="add">
          <ac:chgData name="Kaltrina Rexhahmetaj" userId="S::kaltrina.rexhahmetaj@bvh.org::c314e318-93e0-4c36-9995-6aa0f00e0010" providerId="AD" clId="Web-{BE0B3A27-98F3-EF3F-7A17-3E4D8247F448}" dt="2020-03-17T22:09:58.549" v="19"/>
          <ac:spMkLst>
            <pc:docMk/>
            <pc:sldMk cId="704886492" sldId="879"/>
            <ac:spMk id="3" creationId="{E12051AA-E772-4040-80A7-430505A95CDD}"/>
          </ac:spMkLst>
        </pc:spChg>
        <pc:spChg chg="mod">
          <ac:chgData name="Kaltrina Rexhahmetaj" userId="S::kaltrina.rexhahmetaj@bvh.org::c314e318-93e0-4c36-9995-6aa0f00e0010" providerId="AD" clId="Web-{BE0B3A27-98F3-EF3F-7A17-3E4D8247F448}" dt="2020-03-17T22:10:08.393" v="21" actId="1076"/>
          <ac:spMkLst>
            <pc:docMk/>
            <pc:sldMk cId="704886492" sldId="879"/>
            <ac:spMk id="22" creationId="{7F06C6D3-AF23-4920-AABB-B6260EB6E426}"/>
          </ac:spMkLst>
        </pc:spChg>
      </pc:sldChg>
      <pc:sldChg chg="addSp modSp">
        <pc:chgData name="Kaltrina Rexhahmetaj" userId="S::kaltrina.rexhahmetaj@bvh.org::c314e318-93e0-4c36-9995-6aa0f00e0010" providerId="AD" clId="Web-{BE0B3A27-98F3-EF3F-7A17-3E4D8247F448}" dt="2020-03-17T22:10:23.598" v="25" actId="1076"/>
        <pc:sldMkLst>
          <pc:docMk/>
          <pc:sldMk cId="985148072" sldId="880"/>
        </pc:sldMkLst>
        <pc:spChg chg="add">
          <ac:chgData name="Kaltrina Rexhahmetaj" userId="S::kaltrina.rexhahmetaj@bvh.org::c314e318-93e0-4c36-9995-6aa0f00e0010" providerId="AD" clId="Web-{BE0B3A27-98F3-EF3F-7A17-3E4D8247F448}" dt="2020-03-17T22:10:12.003" v="22"/>
          <ac:spMkLst>
            <pc:docMk/>
            <pc:sldMk cId="985148072" sldId="880"/>
            <ac:spMk id="3" creationId="{A8F4CAF2-66F4-4F13-B87E-48318F1627F2}"/>
          </ac:spMkLst>
        </pc:spChg>
        <pc:picChg chg="mod">
          <ac:chgData name="Kaltrina Rexhahmetaj" userId="S::kaltrina.rexhahmetaj@bvh.org::c314e318-93e0-4c36-9995-6aa0f00e0010" providerId="AD" clId="Web-{BE0B3A27-98F3-EF3F-7A17-3E4D8247F448}" dt="2020-03-17T22:10:20.285" v="24" actId="1076"/>
          <ac:picMkLst>
            <pc:docMk/>
            <pc:sldMk cId="985148072" sldId="880"/>
            <ac:picMk id="19" creationId="{B175C92D-AC3E-4EDC-8E03-B39B295376AF}"/>
          </ac:picMkLst>
        </pc:picChg>
        <pc:picChg chg="mod">
          <ac:chgData name="Kaltrina Rexhahmetaj" userId="S::kaltrina.rexhahmetaj@bvh.org::c314e318-93e0-4c36-9995-6aa0f00e0010" providerId="AD" clId="Web-{BE0B3A27-98F3-EF3F-7A17-3E4D8247F448}" dt="2020-03-17T22:10:23.598" v="25" actId="1076"/>
          <ac:picMkLst>
            <pc:docMk/>
            <pc:sldMk cId="985148072" sldId="880"/>
            <ac:picMk id="20" creationId="{E110CE4B-61BC-4881-A2DE-21037424F806}"/>
          </ac:picMkLst>
        </pc:picChg>
      </pc:sldChg>
      <pc:sldChg chg="addSp">
        <pc:chgData name="Kaltrina Rexhahmetaj" userId="S::kaltrina.rexhahmetaj@bvh.org::c314e318-93e0-4c36-9995-6aa0f00e0010" providerId="AD" clId="Web-{BE0B3A27-98F3-EF3F-7A17-3E4D8247F448}" dt="2020-03-17T22:10:28.770" v="26"/>
        <pc:sldMkLst>
          <pc:docMk/>
          <pc:sldMk cId="1736325948" sldId="881"/>
        </pc:sldMkLst>
        <pc:spChg chg="add">
          <ac:chgData name="Kaltrina Rexhahmetaj" userId="S::kaltrina.rexhahmetaj@bvh.org::c314e318-93e0-4c36-9995-6aa0f00e0010" providerId="AD" clId="Web-{BE0B3A27-98F3-EF3F-7A17-3E4D8247F448}" dt="2020-03-17T22:10:28.770" v="26"/>
          <ac:spMkLst>
            <pc:docMk/>
            <pc:sldMk cId="1736325948" sldId="881"/>
            <ac:spMk id="3" creationId="{3EA06187-B458-4512-9D2A-3B6594D3B5BA}"/>
          </ac:spMkLst>
        </pc:spChg>
      </pc:sldChg>
      <pc:sldChg chg="addSp">
        <pc:chgData name="Kaltrina Rexhahmetaj" userId="S::kaltrina.rexhahmetaj@bvh.org::c314e318-93e0-4c36-9995-6aa0f00e0010" providerId="AD" clId="Web-{BE0B3A27-98F3-EF3F-7A17-3E4D8247F448}" dt="2020-03-17T22:10:32.161" v="27"/>
        <pc:sldMkLst>
          <pc:docMk/>
          <pc:sldMk cId="3413757384" sldId="884"/>
        </pc:sldMkLst>
        <pc:spChg chg="add">
          <ac:chgData name="Kaltrina Rexhahmetaj" userId="S::kaltrina.rexhahmetaj@bvh.org::c314e318-93e0-4c36-9995-6aa0f00e0010" providerId="AD" clId="Web-{BE0B3A27-98F3-EF3F-7A17-3E4D8247F448}" dt="2020-03-17T22:10:32.161" v="27"/>
          <ac:spMkLst>
            <pc:docMk/>
            <pc:sldMk cId="3413757384" sldId="884"/>
            <ac:spMk id="3" creationId="{C789D6D9-3865-4490-8EA4-F6084EFF8C1E}"/>
          </ac:spMkLst>
        </pc:spChg>
      </pc:sldChg>
      <pc:sldChg chg="addSp">
        <pc:chgData name="Kaltrina Rexhahmetaj" userId="S::kaltrina.rexhahmetaj@bvh.org::c314e318-93e0-4c36-9995-6aa0f00e0010" providerId="AD" clId="Web-{BE0B3A27-98F3-EF3F-7A17-3E4D8247F448}" dt="2020-03-17T22:10:36.927" v="28"/>
        <pc:sldMkLst>
          <pc:docMk/>
          <pc:sldMk cId="739761764" sldId="885"/>
        </pc:sldMkLst>
        <pc:spChg chg="add">
          <ac:chgData name="Kaltrina Rexhahmetaj" userId="S::kaltrina.rexhahmetaj@bvh.org::c314e318-93e0-4c36-9995-6aa0f00e0010" providerId="AD" clId="Web-{BE0B3A27-98F3-EF3F-7A17-3E4D8247F448}" dt="2020-03-17T22:10:36.927" v="28"/>
          <ac:spMkLst>
            <pc:docMk/>
            <pc:sldMk cId="739761764" sldId="885"/>
            <ac:spMk id="3" creationId="{1F1AEAD1-5DF7-4828-8E20-E373ECD1BF47}"/>
          </ac:spMkLst>
        </pc:spChg>
      </pc:sldChg>
      <pc:sldChg chg="addSp">
        <pc:chgData name="Kaltrina Rexhahmetaj" userId="S::kaltrina.rexhahmetaj@bvh.org::c314e318-93e0-4c36-9995-6aa0f00e0010" providerId="AD" clId="Web-{BE0B3A27-98F3-EF3F-7A17-3E4D8247F448}" dt="2020-03-17T22:10:39.568" v="29"/>
        <pc:sldMkLst>
          <pc:docMk/>
          <pc:sldMk cId="2433671228" sldId="888"/>
        </pc:sldMkLst>
        <pc:spChg chg="add">
          <ac:chgData name="Kaltrina Rexhahmetaj" userId="S::kaltrina.rexhahmetaj@bvh.org::c314e318-93e0-4c36-9995-6aa0f00e0010" providerId="AD" clId="Web-{BE0B3A27-98F3-EF3F-7A17-3E4D8247F448}" dt="2020-03-17T22:10:39.568" v="29"/>
          <ac:spMkLst>
            <pc:docMk/>
            <pc:sldMk cId="2433671228" sldId="888"/>
            <ac:spMk id="3" creationId="{53D02A25-9F6E-408C-990A-AF7FAECC6DEE}"/>
          </ac:spMkLst>
        </pc:spChg>
      </pc:sldChg>
      <pc:sldChg chg="addSp">
        <pc:chgData name="Kaltrina Rexhahmetaj" userId="S::kaltrina.rexhahmetaj@bvh.org::c314e318-93e0-4c36-9995-6aa0f00e0010" providerId="AD" clId="Web-{BE0B3A27-98F3-EF3F-7A17-3E4D8247F448}" dt="2020-03-17T22:10:43.131" v="30"/>
        <pc:sldMkLst>
          <pc:docMk/>
          <pc:sldMk cId="3162418889" sldId="889"/>
        </pc:sldMkLst>
        <pc:spChg chg="add">
          <ac:chgData name="Kaltrina Rexhahmetaj" userId="S::kaltrina.rexhahmetaj@bvh.org::c314e318-93e0-4c36-9995-6aa0f00e0010" providerId="AD" clId="Web-{BE0B3A27-98F3-EF3F-7A17-3E4D8247F448}" dt="2020-03-17T22:10:43.131" v="30"/>
          <ac:spMkLst>
            <pc:docMk/>
            <pc:sldMk cId="3162418889" sldId="889"/>
            <ac:spMk id="4" creationId="{257FAB7A-7803-4583-B45D-C5548C60DA08}"/>
          </ac:spMkLst>
        </pc:spChg>
      </pc:sldChg>
      <pc:sldChg chg="addSp">
        <pc:chgData name="Kaltrina Rexhahmetaj" userId="S::kaltrina.rexhahmetaj@bvh.org::c314e318-93e0-4c36-9995-6aa0f00e0010" providerId="AD" clId="Web-{BE0B3A27-98F3-EF3F-7A17-3E4D8247F448}" dt="2020-03-17T22:10:49.366" v="31"/>
        <pc:sldMkLst>
          <pc:docMk/>
          <pc:sldMk cId="2451267187" sldId="890"/>
        </pc:sldMkLst>
        <pc:spChg chg="add">
          <ac:chgData name="Kaltrina Rexhahmetaj" userId="S::kaltrina.rexhahmetaj@bvh.org::c314e318-93e0-4c36-9995-6aa0f00e0010" providerId="AD" clId="Web-{BE0B3A27-98F3-EF3F-7A17-3E4D8247F448}" dt="2020-03-17T22:10:49.366" v="31"/>
          <ac:spMkLst>
            <pc:docMk/>
            <pc:sldMk cId="2451267187" sldId="890"/>
            <ac:spMk id="3" creationId="{FC7B05F6-9171-44DE-B9EB-338437AF5AAB}"/>
          </ac:spMkLst>
        </pc:spChg>
      </pc:sldChg>
      <pc:sldChg chg="addSp">
        <pc:chgData name="Kaltrina Rexhahmetaj" userId="S::kaltrina.rexhahmetaj@bvh.org::c314e318-93e0-4c36-9995-6aa0f00e0010" providerId="AD" clId="Web-{BE0B3A27-98F3-EF3F-7A17-3E4D8247F448}" dt="2020-03-17T22:10:52.288" v="32"/>
        <pc:sldMkLst>
          <pc:docMk/>
          <pc:sldMk cId="3850228052" sldId="891"/>
        </pc:sldMkLst>
        <pc:spChg chg="add">
          <ac:chgData name="Kaltrina Rexhahmetaj" userId="S::kaltrina.rexhahmetaj@bvh.org::c314e318-93e0-4c36-9995-6aa0f00e0010" providerId="AD" clId="Web-{BE0B3A27-98F3-EF3F-7A17-3E4D8247F448}" dt="2020-03-17T22:10:52.288" v="32"/>
          <ac:spMkLst>
            <pc:docMk/>
            <pc:sldMk cId="3850228052" sldId="891"/>
            <ac:spMk id="3" creationId="{B8928335-657B-4D57-8156-95C1282179D2}"/>
          </ac:spMkLst>
        </pc:spChg>
      </pc:sldChg>
      <pc:sldChg chg="addSp">
        <pc:chgData name="Kaltrina Rexhahmetaj" userId="S::kaltrina.rexhahmetaj@bvh.org::c314e318-93e0-4c36-9995-6aa0f00e0010" providerId="AD" clId="Web-{BE0B3A27-98F3-EF3F-7A17-3E4D8247F448}" dt="2020-03-17T22:11:14.149" v="33"/>
        <pc:sldMkLst>
          <pc:docMk/>
          <pc:sldMk cId="1263951352" sldId="892"/>
        </pc:sldMkLst>
        <pc:spChg chg="add">
          <ac:chgData name="Kaltrina Rexhahmetaj" userId="S::kaltrina.rexhahmetaj@bvh.org::c314e318-93e0-4c36-9995-6aa0f00e0010" providerId="AD" clId="Web-{BE0B3A27-98F3-EF3F-7A17-3E4D8247F448}" dt="2020-03-17T22:11:14.149" v="33"/>
          <ac:spMkLst>
            <pc:docMk/>
            <pc:sldMk cId="1263951352" sldId="892"/>
            <ac:spMk id="3" creationId="{460B7B66-B85C-41D7-BFEA-C3F8E24DBAD5}"/>
          </ac:spMkLst>
        </pc:spChg>
      </pc:sldChg>
      <pc:sldChg chg="addSp">
        <pc:chgData name="Kaltrina Rexhahmetaj" userId="S::kaltrina.rexhahmetaj@bvh.org::c314e318-93e0-4c36-9995-6aa0f00e0010" providerId="AD" clId="Web-{BE0B3A27-98F3-EF3F-7A17-3E4D8247F448}" dt="2020-03-17T22:11:17.477" v="34"/>
        <pc:sldMkLst>
          <pc:docMk/>
          <pc:sldMk cId="3301492345" sldId="893"/>
        </pc:sldMkLst>
        <pc:spChg chg="add">
          <ac:chgData name="Kaltrina Rexhahmetaj" userId="S::kaltrina.rexhahmetaj@bvh.org::c314e318-93e0-4c36-9995-6aa0f00e0010" providerId="AD" clId="Web-{BE0B3A27-98F3-EF3F-7A17-3E4D8247F448}" dt="2020-03-17T22:11:17.477" v="34"/>
          <ac:spMkLst>
            <pc:docMk/>
            <pc:sldMk cId="3301492345" sldId="893"/>
            <ac:spMk id="3" creationId="{98BD01E9-375A-439B-AFAE-AD4AA4B980E5}"/>
          </ac:spMkLst>
        </pc:spChg>
      </pc:sldChg>
      <pc:sldChg chg="addSp">
        <pc:chgData name="Kaltrina Rexhahmetaj" userId="S::kaltrina.rexhahmetaj@bvh.org::c314e318-93e0-4c36-9995-6aa0f00e0010" providerId="AD" clId="Web-{BE0B3A27-98F3-EF3F-7A17-3E4D8247F448}" dt="2020-03-17T22:11:20.821" v="35"/>
        <pc:sldMkLst>
          <pc:docMk/>
          <pc:sldMk cId="4228590265" sldId="894"/>
        </pc:sldMkLst>
        <pc:spChg chg="add">
          <ac:chgData name="Kaltrina Rexhahmetaj" userId="S::kaltrina.rexhahmetaj@bvh.org::c314e318-93e0-4c36-9995-6aa0f00e0010" providerId="AD" clId="Web-{BE0B3A27-98F3-EF3F-7A17-3E4D8247F448}" dt="2020-03-17T22:11:20.821" v="35"/>
          <ac:spMkLst>
            <pc:docMk/>
            <pc:sldMk cId="4228590265" sldId="894"/>
            <ac:spMk id="3" creationId="{667B49B1-74ED-4B6A-B256-1CAC889D7C6A}"/>
          </ac:spMkLst>
        </pc:spChg>
      </pc:sldChg>
      <pc:sldChg chg="addSp">
        <pc:chgData name="Kaltrina Rexhahmetaj" userId="S::kaltrina.rexhahmetaj@bvh.org::c314e318-93e0-4c36-9995-6aa0f00e0010" providerId="AD" clId="Web-{BE0B3A27-98F3-EF3F-7A17-3E4D8247F448}" dt="2020-03-17T22:11:28.822" v="36"/>
        <pc:sldMkLst>
          <pc:docMk/>
          <pc:sldMk cId="3314816067" sldId="896"/>
        </pc:sldMkLst>
        <pc:spChg chg="add">
          <ac:chgData name="Kaltrina Rexhahmetaj" userId="S::kaltrina.rexhahmetaj@bvh.org::c314e318-93e0-4c36-9995-6aa0f00e0010" providerId="AD" clId="Web-{BE0B3A27-98F3-EF3F-7A17-3E4D8247F448}" dt="2020-03-17T22:11:28.822" v="36"/>
          <ac:spMkLst>
            <pc:docMk/>
            <pc:sldMk cId="3314816067" sldId="896"/>
            <ac:spMk id="3" creationId="{D92AE55E-8AE5-48F6-BD13-925A117FA3F2}"/>
          </ac:spMkLst>
        </pc:spChg>
      </pc:sldChg>
      <pc:sldChg chg="addSp">
        <pc:chgData name="Kaltrina Rexhahmetaj" userId="S::kaltrina.rexhahmetaj@bvh.org::c314e318-93e0-4c36-9995-6aa0f00e0010" providerId="AD" clId="Web-{BE0B3A27-98F3-EF3F-7A17-3E4D8247F448}" dt="2020-03-17T22:11:32.635" v="37"/>
        <pc:sldMkLst>
          <pc:docMk/>
          <pc:sldMk cId="3635046754" sldId="897"/>
        </pc:sldMkLst>
        <pc:spChg chg="add">
          <ac:chgData name="Kaltrina Rexhahmetaj" userId="S::kaltrina.rexhahmetaj@bvh.org::c314e318-93e0-4c36-9995-6aa0f00e0010" providerId="AD" clId="Web-{BE0B3A27-98F3-EF3F-7A17-3E4D8247F448}" dt="2020-03-17T22:11:32.635" v="37"/>
          <ac:spMkLst>
            <pc:docMk/>
            <pc:sldMk cId="3635046754" sldId="897"/>
            <ac:spMk id="3" creationId="{C56DE2AF-AA1C-4870-98ED-8B7FF05FFD37}"/>
          </ac:spMkLst>
        </pc:spChg>
      </pc:sldChg>
      <pc:sldChg chg="addSp">
        <pc:chgData name="Kaltrina Rexhahmetaj" userId="S::kaltrina.rexhahmetaj@bvh.org::c314e318-93e0-4c36-9995-6aa0f00e0010" providerId="AD" clId="Web-{BE0B3A27-98F3-EF3F-7A17-3E4D8247F448}" dt="2020-03-17T22:11:36.088" v="38"/>
        <pc:sldMkLst>
          <pc:docMk/>
          <pc:sldMk cId="2363276976" sldId="898"/>
        </pc:sldMkLst>
        <pc:spChg chg="add">
          <ac:chgData name="Kaltrina Rexhahmetaj" userId="S::kaltrina.rexhahmetaj@bvh.org::c314e318-93e0-4c36-9995-6aa0f00e0010" providerId="AD" clId="Web-{BE0B3A27-98F3-EF3F-7A17-3E4D8247F448}" dt="2020-03-17T22:11:36.088" v="38"/>
          <ac:spMkLst>
            <pc:docMk/>
            <pc:sldMk cId="2363276976" sldId="898"/>
            <ac:spMk id="3" creationId="{F778B61B-9C36-4B3E-83C6-EA339E81751D}"/>
          </ac:spMkLst>
        </pc:spChg>
      </pc:sldChg>
      <pc:sldChg chg="addSp">
        <pc:chgData name="Kaltrina Rexhahmetaj" userId="S::kaltrina.rexhahmetaj@bvh.org::c314e318-93e0-4c36-9995-6aa0f00e0010" providerId="AD" clId="Web-{BE0B3A27-98F3-EF3F-7A17-3E4D8247F448}" dt="2020-03-17T22:11:38.432" v="39"/>
        <pc:sldMkLst>
          <pc:docMk/>
          <pc:sldMk cId="608714497" sldId="899"/>
        </pc:sldMkLst>
        <pc:spChg chg="add">
          <ac:chgData name="Kaltrina Rexhahmetaj" userId="S::kaltrina.rexhahmetaj@bvh.org::c314e318-93e0-4c36-9995-6aa0f00e0010" providerId="AD" clId="Web-{BE0B3A27-98F3-EF3F-7A17-3E4D8247F448}" dt="2020-03-17T22:11:38.432" v="39"/>
          <ac:spMkLst>
            <pc:docMk/>
            <pc:sldMk cId="608714497" sldId="899"/>
            <ac:spMk id="3" creationId="{5B3123CE-A477-4D24-A8DD-2C379FC7F464}"/>
          </ac:spMkLst>
        </pc:spChg>
      </pc:sldChg>
      <pc:sldChg chg="addSp">
        <pc:chgData name="Kaltrina Rexhahmetaj" userId="S::kaltrina.rexhahmetaj@bvh.org::c314e318-93e0-4c36-9995-6aa0f00e0010" providerId="AD" clId="Web-{BE0B3A27-98F3-EF3F-7A17-3E4D8247F448}" dt="2020-03-17T22:11:41.354" v="40"/>
        <pc:sldMkLst>
          <pc:docMk/>
          <pc:sldMk cId="1647329173" sldId="900"/>
        </pc:sldMkLst>
        <pc:spChg chg="add">
          <ac:chgData name="Kaltrina Rexhahmetaj" userId="S::kaltrina.rexhahmetaj@bvh.org::c314e318-93e0-4c36-9995-6aa0f00e0010" providerId="AD" clId="Web-{BE0B3A27-98F3-EF3F-7A17-3E4D8247F448}" dt="2020-03-17T22:11:41.354" v="40"/>
          <ac:spMkLst>
            <pc:docMk/>
            <pc:sldMk cId="1647329173" sldId="900"/>
            <ac:spMk id="3" creationId="{A5197AAA-2982-4FDF-BEF7-D72BB35155AB}"/>
          </ac:spMkLst>
        </pc:spChg>
      </pc:sldChg>
      <pc:sldChg chg="addSp">
        <pc:chgData name="Kaltrina Rexhahmetaj" userId="S::kaltrina.rexhahmetaj@bvh.org::c314e318-93e0-4c36-9995-6aa0f00e0010" providerId="AD" clId="Web-{BE0B3A27-98F3-EF3F-7A17-3E4D8247F448}" dt="2020-03-17T22:11:44.542" v="41"/>
        <pc:sldMkLst>
          <pc:docMk/>
          <pc:sldMk cId="1653980222" sldId="901"/>
        </pc:sldMkLst>
        <pc:spChg chg="add">
          <ac:chgData name="Kaltrina Rexhahmetaj" userId="S::kaltrina.rexhahmetaj@bvh.org::c314e318-93e0-4c36-9995-6aa0f00e0010" providerId="AD" clId="Web-{BE0B3A27-98F3-EF3F-7A17-3E4D8247F448}" dt="2020-03-17T22:11:44.542" v="41"/>
          <ac:spMkLst>
            <pc:docMk/>
            <pc:sldMk cId="1653980222" sldId="901"/>
            <ac:spMk id="3" creationId="{2B899BC5-682A-4E85-BA72-DAE9EA4EE7E4}"/>
          </ac:spMkLst>
        </pc:spChg>
      </pc:sldChg>
      <pc:sldChg chg="addSp">
        <pc:chgData name="Kaltrina Rexhahmetaj" userId="S::kaltrina.rexhahmetaj@bvh.org::c314e318-93e0-4c36-9995-6aa0f00e0010" providerId="AD" clId="Web-{BE0B3A27-98F3-EF3F-7A17-3E4D8247F448}" dt="2020-03-17T22:11:49.105" v="42"/>
        <pc:sldMkLst>
          <pc:docMk/>
          <pc:sldMk cId="1313817088" sldId="902"/>
        </pc:sldMkLst>
        <pc:spChg chg="add">
          <ac:chgData name="Kaltrina Rexhahmetaj" userId="S::kaltrina.rexhahmetaj@bvh.org::c314e318-93e0-4c36-9995-6aa0f00e0010" providerId="AD" clId="Web-{BE0B3A27-98F3-EF3F-7A17-3E4D8247F448}" dt="2020-03-17T22:11:49.105" v="42"/>
          <ac:spMkLst>
            <pc:docMk/>
            <pc:sldMk cId="1313817088" sldId="902"/>
            <ac:spMk id="3" creationId="{9251569C-82A0-494A-8F8B-3564EFB8FD54}"/>
          </ac:spMkLst>
        </pc:spChg>
      </pc:sldChg>
      <pc:sldChg chg="addSp">
        <pc:chgData name="Kaltrina Rexhahmetaj" userId="S::kaltrina.rexhahmetaj@bvh.org::c314e318-93e0-4c36-9995-6aa0f00e0010" providerId="AD" clId="Web-{BE0B3A27-98F3-EF3F-7A17-3E4D8247F448}" dt="2020-03-17T22:12:07.372" v="43"/>
        <pc:sldMkLst>
          <pc:docMk/>
          <pc:sldMk cId="4023879026" sldId="903"/>
        </pc:sldMkLst>
        <pc:spChg chg="add">
          <ac:chgData name="Kaltrina Rexhahmetaj" userId="S::kaltrina.rexhahmetaj@bvh.org::c314e318-93e0-4c36-9995-6aa0f00e0010" providerId="AD" clId="Web-{BE0B3A27-98F3-EF3F-7A17-3E4D8247F448}" dt="2020-03-17T22:12:07.372" v="43"/>
          <ac:spMkLst>
            <pc:docMk/>
            <pc:sldMk cId="4023879026" sldId="903"/>
            <ac:spMk id="3" creationId="{D1D74DCA-D2F7-4298-AD9A-199EE4B69C58}"/>
          </ac:spMkLst>
        </pc:spChg>
      </pc:sldChg>
      <pc:sldChg chg="addSp">
        <pc:chgData name="Kaltrina Rexhahmetaj" userId="S::kaltrina.rexhahmetaj@bvh.org::c314e318-93e0-4c36-9995-6aa0f00e0010" providerId="AD" clId="Web-{BE0B3A27-98F3-EF3F-7A17-3E4D8247F448}" dt="2020-03-17T22:12:13.732" v="44"/>
        <pc:sldMkLst>
          <pc:docMk/>
          <pc:sldMk cId="2925448637" sldId="904"/>
        </pc:sldMkLst>
        <pc:spChg chg="add">
          <ac:chgData name="Kaltrina Rexhahmetaj" userId="S::kaltrina.rexhahmetaj@bvh.org::c314e318-93e0-4c36-9995-6aa0f00e0010" providerId="AD" clId="Web-{BE0B3A27-98F3-EF3F-7A17-3E4D8247F448}" dt="2020-03-17T22:12:13.732" v="44"/>
          <ac:spMkLst>
            <pc:docMk/>
            <pc:sldMk cId="2925448637" sldId="904"/>
            <ac:spMk id="3" creationId="{94B1B47D-7102-407B-8120-565F2690D56C}"/>
          </ac:spMkLst>
        </pc:spChg>
      </pc:sldChg>
      <pc:sldChg chg="addSp">
        <pc:chgData name="Kaltrina Rexhahmetaj" userId="S::kaltrina.rexhahmetaj@bvh.org::c314e318-93e0-4c36-9995-6aa0f00e0010" providerId="AD" clId="Web-{BE0B3A27-98F3-EF3F-7A17-3E4D8247F448}" dt="2020-03-17T22:12:16.170" v="45"/>
        <pc:sldMkLst>
          <pc:docMk/>
          <pc:sldMk cId="2678682897" sldId="905"/>
        </pc:sldMkLst>
        <pc:spChg chg="add">
          <ac:chgData name="Kaltrina Rexhahmetaj" userId="S::kaltrina.rexhahmetaj@bvh.org::c314e318-93e0-4c36-9995-6aa0f00e0010" providerId="AD" clId="Web-{BE0B3A27-98F3-EF3F-7A17-3E4D8247F448}" dt="2020-03-17T22:12:16.170" v="45"/>
          <ac:spMkLst>
            <pc:docMk/>
            <pc:sldMk cId="2678682897" sldId="905"/>
            <ac:spMk id="3" creationId="{88450A32-10A6-4E89-B0D6-8A92CDFF0438}"/>
          </ac:spMkLst>
        </pc:spChg>
      </pc:sldChg>
      <pc:sldChg chg="addSp">
        <pc:chgData name="Kaltrina Rexhahmetaj" userId="S::kaltrina.rexhahmetaj@bvh.org::c314e318-93e0-4c36-9995-6aa0f00e0010" providerId="AD" clId="Web-{BE0B3A27-98F3-EF3F-7A17-3E4D8247F448}" dt="2020-03-17T22:12:19.592" v="46"/>
        <pc:sldMkLst>
          <pc:docMk/>
          <pc:sldMk cId="944422674" sldId="908"/>
        </pc:sldMkLst>
        <pc:spChg chg="add">
          <ac:chgData name="Kaltrina Rexhahmetaj" userId="S::kaltrina.rexhahmetaj@bvh.org::c314e318-93e0-4c36-9995-6aa0f00e0010" providerId="AD" clId="Web-{BE0B3A27-98F3-EF3F-7A17-3E4D8247F448}" dt="2020-03-17T22:12:19.592" v="46"/>
          <ac:spMkLst>
            <pc:docMk/>
            <pc:sldMk cId="944422674" sldId="908"/>
            <ac:spMk id="3" creationId="{33AAA7BB-48A7-40FA-A953-4B8EE911C6BE}"/>
          </ac:spMkLst>
        </pc:spChg>
      </pc:sldChg>
      <pc:sldChg chg="addSp">
        <pc:chgData name="Kaltrina Rexhahmetaj" userId="S::kaltrina.rexhahmetaj@bvh.org::c314e318-93e0-4c36-9995-6aa0f00e0010" providerId="AD" clId="Web-{BE0B3A27-98F3-EF3F-7A17-3E4D8247F448}" dt="2020-03-17T22:12:23.139" v="47"/>
        <pc:sldMkLst>
          <pc:docMk/>
          <pc:sldMk cId="1032095997" sldId="912"/>
        </pc:sldMkLst>
        <pc:spChg chg="add">
          <ac:chgData name="Kaltrina Rexhahmetaj" userId="S::kaltrina.rexhahmetaj@bvh.org::c314e318-93e0-4c36-9995-6aa0f00e0010" providerId="AD" clId="Web-{BE0B3A27-98F3-EF3F-7A17-3E4D8247F448}" dt="2020-03-17T22:12:23.139" v="47"/>
          <ac:spMkLst>
            <pc:docMk/>
            <pc:sldMk cId="1032095997" sldId="912"/>
            <ac:spMk id="3" creationId="{094FE6C2-ACC3-4D2A-808C-46419666340E}"/>
          </ac:spMkLst>
        </pc:spChg>
      </pc:sldChg>
      <pc:sldChg chg="addSp">
        <pc:chgData name="Kaltrina Rexhahmetaj" userId="S::kaltrina.rexhahmetaj@bvh.org::c314e318-93e0-4c36-9995-6aa0f00e0010" providerId="AD" clId="Web-{BE0B3A27-98F3-EF3F-7A17-3E4D8247F448}" dt="2020-03-17T22:12:26.796" v="48"/>
        <pc:sldMkLst>
          <pc:docMk/>
          <pc:sldMk cId="1416042266" sldId="913"/>
        </pc:sldMkLst>
        <pc:spChg chg="add">
          <ac:chgData name="Kaltrina Rexhahmetaj" userId="S::kaltrina.rexhahmetaj@bvh.org::c314e318-93e0-4c36-9995-6aa0f00e0010" providerId="AD" clId="Web-{BE0B3A27-98F3-EF3F-7A17-3E4D8247F448}" dt="2020-03-17T22:12:26.796" v="48"/>
          <ac:spMkLst>
            <pc:docMk/>
            <pc:sldMk cId="1416042266" sldId="913"/>
            <ac:spMk id="3" creationId="{8339F065-D796-410A-8E08-3148BC287A02}"/>
          </ac:spMkLst>
        </pc:spChg>
      </pc:sldChg>
      <pc:sldChg chg="addSp">
        <pc:chgData name="Kaltrina Rexhahmetaj" userId="S::kaltrina.rexhahmetaj@bvh.org::c314e318-93e0-4c36-9995-6aa0f00e0010" providerId="AD" clId="Web-{BE0B3A27-98F3-EF3F-7A17-3E4D8247F448}" dt="2020-03-17T22:12:29.530" v="49"/>
        <pc:sldMkLst>
          <pc:docMk/>
          <pc:sldMk cId="960763035" sldId="914"/>
        </pc:sldMkLst>
        <pc:spChg chg="add">
          <ac:chgData name="Kaltrina Rexhahmetaj" userId="S::kaltrina.rexhahmetaj@bvh.org::c314e318-93e0-4c36-9995-6aa0f00e0010" providerId="AD" clId="Web-{BE0B3A27-98F3-EF3F-7A17-3E4D8247F448}" dt="2020-03-17T22:12:29.530" v="49"/>
          <ac:spMkLst>
            <pc:docMk/>
            <pc:sldMk cId="960763035" sldId="914"/>
            <ac:spMk id="3" creationId="{14478BF6-BAED-496D-9AB6-8FC0966BA170}"/>
          </ac:spMkLst>
        </pc:spChg>
      </pc:sldChg>
      <pc:sldChg chg="addSp">
        <pc:chgData name="Kaltrina Rexhahmetaj" userId="S::kaltrina.rexhahmetaj@bvh.org::c314e318-93e0-4c36-9995-6aa0f00e0010" providerId="AD" clId="Web-{BE0B3A27-98F3-EF3F-7A17-3E4D8247F448}" dt="2020-03-17T22:12:33.359" v="50"/>
        <pc:sldMkLst>
          <pc:docMk/>
          <pc:sldMk cId="475954212" sldId="915"/>
        </pc:sldMkLst>
        <pc:spChg chg="add">
          <ac:chgData name="Kaltrina Rexhahmetaj" userId="S::kaltrina.rexhahmetaj@bvh.org::c314e318-93e0-4c36-9995-6aa0f00e0010" providerId="AD" clId="Web-{BE0B3A27-98F3-EF3F-7A17-3E4D8247F448}" dt="2020-03-17T22:12:33.359" v="50"/>
          <ac:spMkLst>
            <pc:docMk/>
            <pc:sldMk cId="475954212" sldId="915"/>
            <ac:spMk id="3" creationId="{FED8932D-50EB-4E4F-9195-12AC6FB02FD5}"/>
          </ac:spMkLst>
        </pc:spChg>
      </pc:sldChg>
      <pc:sldChg chg="addSp">
        <pc:chgData name="Kaltrina Rexhahmetaj" userId="S::kaltrina.rexhahmetaj@bvh.org::c314e318-93e0-4c36-9995-6aa0f00e0010" providerId="AD" clId="Web-{BE0B3A27-98F3-EF3F-7A17-3E4D8247F448}" dt="2020-03-17T22:12:35.531" v="51"/>
        <pc:sldMkLst>
          <pc:docMk/>
          <pc:sldMk cId="3548357243" sldId="916"/>
        </pc:sldMkLst>
        <pc:spChg chg="add">
          <ac:chgData name="Kaltrina Rexhahmetaj" userId="S::kaltrina.rexhahmetaj@bvh.org::c314e318-93e0-4c36-9995-6aa0f00e0010" providerId="AD" clId="Web-{BE0B3A27-98F3-EF3F-7A17-3E4D8247F448}" dt="2020-03-17T22:12:35.531" v="51"/>
          <ac:spMkLst>
            <pc:docMk/>
            <pc:sldMk cId="3548357243" sldId="916"/>
            <ac:spMk id="3" creationId="{592FDF55-C5F5-4B7E-BB91-2FE8EDEA42B2}"/>
          </ac:spMkLst>
        </pc:spChg>
      </pc:sldChg>
      <pc:sldChg chg="addSp">
        <pc:chgData name="Kaltrina Rexhahmetaj" userId="S::kaltrina.rexhahmetaj@bvh.org::c314e318-93e0-4c36-9995-6aa0f00e0010" providerId="AD" clId="Web-{BE0B3A27-98F3-EF3F-7A17-3E4D8247F448}" dt="2020-03-17T22:12:38.187" v="52"/>
        <pc:sldMkLst>
          <pc:docMk/>
          <pc:sldMk cId="4165753246" sldId="917"/>
        </pc:sldMkLst>
        <pc:spChg chg="add">
          <ac:chgData name="Kaltrina Rexhahmetaj" userId="S::kaltrina.rexhahmetaj@bvh.org::c314e318-93e0-4c36-9995-6aa0f00e0010" providerId="AD" clId="Web-{BE0B3A27-98F3-EF3F-7A17-3E4D8247F448}" dt="2020-03-17T22:12:38.187" v="52"/>
          <ac:spMkLst>
            <pc:docMk/>
            <pc:sldMk cId="4165753246" sldId="917"/>
            <ac:spMk id="3" creationId="{42A64B24-18F7-431C-9123-95467E8EE9B6}"/>
          </ac:spMkLst>
        </pc:spChg>
      </pc:sldChg>
      <pc:sldChg chg="addSp">
        <pc:chgData name="Kaltrina Rexhahmetaj" userId="S::kaltrina.rexhahmetaj@bvh.org::c314e318-93e0-4c36-9995-6aa0f00e0010" providerId="AD" clId="Web-{BE0B3A27-98F3-EF3F-7A17-3E4D8247F448}" dt="2020-03-17T22:12:41.469" v="53"/>
        <pc:sldMkLst>
          <pc:docMk/>
          <pc:sldMk cId="1183293559" sldId="918"/>
        </pc:sldMkLst>
        <pc:spChg chg="add">
          <ac:chgData name="Kaltrina Rexhahmetaj" userId="S::kaltrina.rexhahmetaj@bvh.org::c314e318-93e0-4c36-9995-6aa0f00e0010" providerId="AD" clId="Web-{BE0B3A27-98F3-EF3F-7A17-3E4D8247F448}" dt="2020-03-17T22:12:41.469" v="53"/>
          <ac:spMkLst>
            <pc:docMk/>
            <pc:sldMk cId="1183293559" sldId="918"/>
            <ac:spMk id="3" creationId="{07330BBE-D93F-45DA-98D1-A4AFBB0601D5}"/>
          </ac:spMkLst>
        </pc:spChg>
      </pc:sldChg>
      <pc:sldChg chg="addSp">
        <pc:chgData name="Kaltrina Rexhahmetaj" userId="S::kaltrina.rexhahmetaj@bvh.org::c314e318-93e0-4c36-9995-6aa0f00e0010" providerId="AD" clId="Web-{BE0B3A27-98F3-EF3F-7A17-3E4D8247F448}" dt="2020-03-17T22:12:44.375" v="54"/>
        <pc:sldMkLst>
          <pc:docMk/>
          <pc:sldMk cId="1877371856" sldId="919"/>
        </pc:sldMkLst>
        <pc:spChg chg="add">
          <ac:chgData name="Kaltrina Rexhahmetaj" userId="S::kaltrina.rexhahmetaj@bvh.org::c314e318-93e0-4c36-9995-6aa0f00e0010" providerId="AD" clId="Web-{BE0B3A27-98F3-EF3F-7A17-3E4D8247F448}" dt="2020-03-17T22:12:44.375" v="54"/>
          <ac:spMkLst>
            <pc:docMk/>
            <pc:sldMk cId="1877371856" sldId="919"/>
            <ac:spMk id="3" creationId="{AB09E047-34EF-471E-BA50-2460952FF9AB}"/>
          </ac:spMkLst>
        </pc:spChg>
      </pc:sldChg>
      <pc:sldChg chg="addSp">
        <pc:chgData name="Kaltrina Rexhahmetaj" userId="S::kaltrina.rexhahmetaj@bvh.org::c314e318-93e0-4c36-9995-6aa0f00e0010" providerId="AD" clId="Web-{BE0B3A27-98F3-EF3F-7A17-3E4D8247F448}" dt="2020-03-17T22:12:46.407" v="55"/>
        <pc:sldMkLst>
          <pc:docMk/>
          <pc:sldMk cId="2107367095" sldId="920"/>
        </pc:sldMkLst>
        <pc:spChg chg="add">
          <ac:chgData name="Kaltrina Rexhahmetaj" userId="S::kaltrina.rexhahmetaj@bvh.org::c314e318-93e0-4c36-9995-6aa0f00e0010" providerId="AD" clId="Web-{BE0B3A27-98F3-EF3F-7A17-3E4D8247F448}" dt="2020-03-17T22:12:46.407" v="55"/>
          <ac:spMkLst>
            <pc:docMk/>
            <pc:sldMk cId="2107367095" sldId="920"/>
            <ac:spMk id="3" creationId="{22BCE027-F055-41ED-811E-F34EF62AC209}"/>
          </ac:spMkLst>
        </pc:spChg>
      </pc:sldChg>
      <pc:sldChg chg="addSp">
        <pc:chgData name="Kaltrina Rexhahmetaj" userId="S::kaltrina.rexhahmetaj@bvh.org::c314e318-93e0-4c36-9995-6aa0f00e0010" providerId="AD" clId="Web-{BE0B3A27-98F3-EF3F-7A17-3E4D8247F448}" dt="2020-03-17T22:12:49.985" v="56"/>
        <pc:sldMkLst>
          <pc:docMk/>
          <pc:sldMk cId="1785120459" sldId="921"/>
        </pc:sldMkLst>
        <pc:spChg chg="add">
          <ac:chgData name="Kaltrina Rexhahmetaj" userId="S::kaltrina.rexhahmetaj@bvh.org::c314e318-93e0-4c36-9995-6aa0f00e0010" providerId="AD" clId="Web-{BE0B3A27-98F3-EF3F-7A17-3E4D8247F448}" dt="2020-03-17T22:12:49.985" v="56"/>
          <ac:spMkLst>
            <pc:docMk/>
            <pc:sldMk cId="1785120459" sldId="921"/>
            <ac:spMk id="3" creationId="{493E220F-2F55-4874-BD26-1D1CD38346CE}"/>
          </ac:spMkLst>
        </pc:spChg>
      </pc:sldChg>
      <pc:sldChg chg="addSp">
        <pc:chgData name="Kaltrina Rexhahmetaj" userId="S::kaltrina.rexhahmetaj@bvh.org::c314e318-93e0-4c36-9995-6aa0f00e0010" providerId="AD" clId="Web-{BE0B3A27-98F3-EF3F-7A17-3E4D8247F448}" dt="2020-03-17T22:12:55.705" v="57"/>
        <pc:sldMkLst>
          <pc:docMk/>
          <pc:sldMk cId="2919741917" sldId="922"/>
        </pc:sldMkLst>
        <pc:spChg chg="add">
          <ac:chgData name="Kaltrina Rexhahmetaj" userId="S::kaltrina.rexhahmetaj@bvh.org::c314e318-93e0-4c36-9995-6aa0f00e0010" providerId="AD" clId="Web-{BE0B3A27-98F3-EF3F-7A17-3E4D8247F448}" dt="2020-03-17T22:12:55.705" v="57"/>
          <ac:spMkLst>
            <pc:docMk/>
            <pc:sldMk cId="2919741917" sldId="922"/>
            <ac:spMk id="3" creationId="{508FAEBA-4BEB-43BC-82C9-EC6D618AE9F3}"/>
          </ac:spMkLst>
        </pc:spChg>
      </pc:sldChg>
      <pc:sldChg chg="addSp">
        <pc:chgData name="Kaltrina Rexhahmetaj" userId="S::kaltrina.rexhahmetaj@bvh.org::c314e318-93e0-4c36-9995-6aa0f00e0010" providerId="AD" clId="Web-{BE0B3A27-98F3-EF3F-7A17-3E4D8247F448}" dt="2020-03-17T22:12:59.299" v="58"/>
        <pc:sldMkLst>
          <pc:docMk/>
          <pc:sldMk cId="470721327" sldId="923"/>
        </pc:sldMkLst>
        <pc:spChg chg="add">
          <ac:chgData name="Kaltrina Rexhahmetaj" userId="S::kaltrina.rexhahmetaj@bvh.org::c314e318-93e0-4c36-9995-6aa0f00e0010" providerId="AD" clId="Web-{BE0B3A27-98F3-EF3F-7A17-3E4D8247F448}" dt="2020-03-17T22:12:59.299" v="58"/>
          <ac:spMkLst>
            <pc:docMk/>
            <pc:sldMk cId="470721327" sldId="923"/>
            <ac:spMk id="3" creationId="{6C15BB7B-E26D-4B36-961C-CE8A27D051E5}"/>
          </ac:spMkLst>
        </pc:spChg>
      </pc:sldChg>
      <pc:sldChg chg="addSp">
        <pc:chgData name="Kaltrina Rexhahmetaj" userId="S::kaltrina.rexhahmetaj@bvh.org::c314e318-93e0-4c36-9995-6aa0f00e0010" providerId="AD" clId="Web-{BE0B3A27-98F3-EF3F-7A17-3E4D8247F448}" dt="2020-03-17T22:13:02.127" v="59"/>
        <pc:sldMkLst>
          <pc:docMk/>
          <pc:sldMk cId="3586903408" sldId="925"/>
        </pc:sldMkLst>
        <pc:spChg chg="add">
          <ac:chgData name="Kaltrina Rexhahmetaj" userId="S::kaltrina.rexhahmetaj@bvh.org::c314e318-93e0-4c36-9995-6aa0f00e0010" providerId="AD" clId="Web-{BE0B3A27-98F3-EF3F-7A17-3E4D8247F448}" dt="2020-03-17T22:13:02.127" v="59"/>
          <ac:spMkLst>
            <pc:docMk/>
            <pc:sldMk cId="3586903408" sldId="925"/>
            <ac:spMk id="3" creationId="{BECA59D9-4CFE-401F-AEB7-046B49EDA165}"/>
          </ac:spMkLst>
        </pc:spChg>
      </pc:sldChg>
      <pc:sldChg chg="addSp">
        <pc:chgData name="Kaltrina Rexhahmetaj" userId="S::kaltrina.rexhahmetaj@bvh.org::c314e318-93e0-4c36-9995-6aa0f00e0010" providerId="AD" clId="Web-{BE0B3A27-98F3-EF3F-7A17-3E4D8247F448}" dt="2020-03-17T22:13:05.158" v="60"/>
        <pc:sldMkLst>
          <pc:docMk/>
          <pc:sldMk cId="2944517633" sldId="926"/>
        </pc:sldMkLst>
        <pc:spChg chg="add">
          <ac:chgData name="Kaltrina Rexhahmetaj" userId="S::kaltrina.rexhahmetaj@bvh.org::c314e318-93e0-4c36-9995-6aa0f00e0010" providerId="AD" clId="Web-{BE0B3A27-98F3-EF3F-7A17-3E4D8247F448}" dt="2020-03-17T22:13:05.158" v="60"/>
          <ac:spMkLst>
            <pc:docMk/>
            <pc:sldMk cId="2944517633" sldId="926"/>
            <ac:spMk id="3" creationId="{2FBA2E7E-63F7-4060-9DEB-A17FD787169B}"/>
          </ac:spMkLst>
        </pc:spChg>
      </pc:sldChg>
    </pc:docChg>
  </pc:docChgLst>
  <pc:docChgLst>
    <pc:chgData name="Kaltrina Rexhahmetaj" userId="S::kaltrina.rexhahmetaj@bvh.org::c314e318-93e0-4c36-9995-6aa0f00e0010" providerId="AD" clId="Web-{5F1E348E-7353-61D8-C6BD-B8780B2D8DD1}"/>
    <pc:docChg chg="addSld delSld modSld sldOrd">
      <pc:chgData name="Kaltrina Rexhahmetaj" userId="S::kaltrina.rexhahmetaj@bvh.org::c314e318-93e0-4c36-9995-6aa0f00e0010" providerId="AD" clId="Web-{5F1E348E-7353-61D8-C6BD-B8780B2D8DD1}" dt="2020-03-17T18:27:46.314" v="1019"/>
      <pc:docMkLst>
        <pc:docMk/>
      </pc:docMkLst>
      <pc:sldChg chg="modSp">
        <pc:chgData name="Kaltrina Rexhahmetaj" userId="S::kaltrina.rexhahmetaj@bvh.org::c314e318-93e0-4c36-9995-6aa0f00e0010" providerId="AD" clId="Web-{5F1E348E-7353-61D8-C6BD-B8780B2D8DD1}" dt="2020-03-17T16:13:44.629" v="29" actId="20577"/>
        <pc:sldMkLst>
          <pc:docMk/>
          <pc:sldMk cId="1239452097" sldId="260"/>
        </pc:sldMkLst>
        <pc:spChg chg="mod">
          <ac:chgData name="Kaltrina Rexhahmetaj" userId="S::kaltrina.rexhahmetaj@bvh.org::c314e318-93e0-4c36-9995-6aa0f00e0010" providerId="AD" clId="Web-{5F1E348E-7353-61D8-C6BD-B8780B2D8DD1}" dt="2020-03-17T16:13:44.629" v="29" actId="20577"/>
          <ac:spMkLst>
            <pc:docMk/>
            <pc:sldMk cId="1239452097" sldId="260"/>
            <ac:spMk id="3" creationId="{F40D7B0B-F7D4-412D-BED4-50B9DDF1482D}"/>
          </ac:spMkLst>
        </pc:spChg>
      </pc:sldChg>
      <pc:sldChg chg="del">
        <pc:chgData name="Kaltrina Rexhahmetaj" userId="S::kaltrina.rexhahmetaj@bvh.org::c314e318-93e0-4c36-9995-6aa0f00e0010" providerId="AD" clId="Web-{5F1E348E-7353-61D8-C6BD-B8780B2D8DD1}" dt="2020-03-17T16:12:40.911" v="1"/>
        <pc:sldMkLst>
          <pc:docMk/>
          <pc:sldMk cId="2107488981" sldId="835"/>
        </pc:sldMkLst>
      </pc:sldChg>
      <pc:sldChg chg="del">
        <pc:chgData name="Kaltrina Rexhahmetaj" userId="S::kaltrina.rexhahmetaj@bvh.org::c314e318-93e0-4c36-9995-6aa0f00e0010" providerId="AD" clId="Web-{5F1E348E-7353-61D8-C6BD-B8780B2D8DD1}" dt="2020-03-17T16:12:43.645" v="2"/>
        <pc:sldMkLst>
          <pc:docMk/>
          <pc:sldMk cId="2896176462" sldId="836"/>
        </pc:sldMkLst>
      </pc:sldChg>
      <pc:sldChg chg="del">
        <pc:chgData name="Kaltrina Rexhahmetaj" userId="S::kaltrina.rexhahmetaj@bvh.org::c314e318-93e0-4c36-9995-6aa0f00e0010" providerId="AD" clId="Web-{5F1E348E-7353-61D8-C6BD-B8780B2D8DD1}" dt="2020-03-17T16:12:38.254" v="0"/>
        <pc:sldMkLst>
          <pc:docMk/>
          <pc:sldMk cId="348943443" sldId="837"/>
        </pc:sldMkLst>
      </pc:sldChg>
      <pc:sldChg chg="del">
        <pc:chgData name="Kaltrina Rexhahmetaj" userId="S::kaltrina.rexhahmetaj@bvh.org::c314e318-93e0-4c36-9995-6aa0f00e0010" providerId="AD" clId="Web-{5F1E348E-7353-61D8-C6BD-B8780B2D8DD1}" dt="2020-03-17T16:12:45.395" v="3"/>
        <pc:sldMkLst>
          <pc:docMk/>
          <pc:sldMk cId="4124083833" sldId="838"/>
        </pc:sldMkLst>
      </pc:sldChg>
      <pc:sldChg chg="del">
        <pc:chgData name="Kaltrina Rexhahmetaj" userId="S::kaltrina.rexhahmetaj@bvh.org::c314e318-93e0-4c36-9995-6aa0f00e0010" providerId="AD" clId="Web-{5F1E348E-7353-61D8-C6BD-B8780B2D8DD1}" dt="2020-03-17T16:12:47.723" v="4"/>
        <pc:sldMkLst>
          <pc:docMk/>
          <pc:sldMk cId="1188746387" sldId="839"/>
        </pc:sldMkLst>
      </pc:sldChg>
      <pc:sldChg chg="del">
        <pc:chgData name="Kaltrina Rexhahmetaj" userId="S::kaltrina.rexhahmetaj@bvh.org::c314e318-93e0-4c36-9995-6aa0f00e0010" providerId="AD" clId="Web-{5F1E348E-7353-61D8-C6BD-B8780B2D8DD1}" dt="2020-03-17T16:12:49.504" v="5"/>
        <pc:sldMkLst>
          <pc:docMk/>
          <pc:sldMk cId="3753498083" sldId="840"/>
        </pc:sldMkLst>
      </pc:sldChg>
      <pc:sldChg chg="del">
        <pc:chgData name="Kaltrina Rexhahmetaj" userId="S::kaltrina.rexhahmetaj@bvh.org::c314e318-93e0-4c36-9995-6aa0f00e0010" providerId="AD" clId="Web-{5F1E348E-7353-61D8-C6BD-B8780B2D8DD1}" dt="2020-03-17T16:12:51.193" v="6"/>
        <pc:sldMkLst>
          <pc:docMk/>
          <pc:sldMk cId="3309219108" sldId="841"/>
        </pc:sldMkLst>
      </pc:sldChg>
      <pc:sldChg chg="del">
        <pc:chgData name="Kaltrina Rexhahmetaj" userId="S::kaltrina.rexhahmetaj@bvh.org::c314e318-93e0-4c36-9995-6aa0f00e0010" providerId="AD" clId="Web-{5F1E348E-7353-61D8-C6BD-B8780B2D8DD1}" dt="2020-03-17T16:12:52.973" v="7"/>
        <pc:sldMkLst>
          <pc:docMk/>
          <pc:sldMk cId="1183669013" sldId="842"/>
        </pc:sldMkLst>
      </pc:sldChg>
      <pc:sldChg chg="del">
        <pc:chgData name="Kaltrina Rexhahmetaj" userId="S::kaltrina.rexhahmetaj@bvh.org::c314e318-93e0-4c36-9995-6aa0f00e0010" providerId="AD" clId="Web-{5F1E348E-7353-61D8-C6BD-B8780B2D8DD1}" dt="2020-03-17T16:12:57.301" v="9"/>
        <pc:sldMkLst>
          <pc:docMk/>
          <pc:sldMk cId="3168408825" sldId="843"/>
        </pc:sldMkLst>
      </pc:sldChg>
      <pc:sldChg chg="del">
        <pc:chgData name="Kaltrina Rexhahmetaj" userId="S::kaltrina.rexhahmetaj@bvh.org::c314e318-93e0-4c36-9995-6aa0f00e0010" providerId="AD" clId="Web-{5F1E348E-7353-61D8-C6BD-B8780B2D8DD1}" dt="2020-03-17T16:13:00.035" v="10"/>
        <pc:sldMkLst>
          <pc:docMk/>
          <pc:sldMk cId="2334863715" sldId="844"/>
        </pc:sldMkLst>
      </pc:sldChg>
      <pc:sldChg chg="del">
        <pc:chgData name="Kaltrina Rexhahmetaj" userId="S::kaltrina.rexhahmetaj@bvh.org::c314e318-93e0-4c36-9995-6aa0f00e0010" providerId="AD" clId="Web-{5F1E348E-7353-61D8-C6BD-B8780B2D8DD1}" dt="2020-03-17T16:13:01.927" v="11"/>
        <pc:sldMkLst>
          <pc:docMk/>
          <pc:sldMk cId="3889590939" sldId="845"/>
        </pc:sldMkLst>
      </pc:sldChg>
      <pc:sldChg chg="del">
        <pc:chgData name="Kaltrina Rexhahmetaj" userId="S::kaltrina.rexhahmetaj@bvh.org::c314e318-93e0-4c36-9995-6aa0f00e0010" providerId="AD" clId="Web-{5F1E348E-7353-61D8-C6BD-B8780B2D8DD1}" dt="2020-03-17T16:13:05.258" v="12"/>
        <pc:sldMkLst>
          <pc:docMk/>
          <pc:sldMk cId="532863689" sldId="846"/>
        </pc:sldMkLst>
      </pc:sldChg>
      <pc:sldChg chg="del">
        <pc:chgData name="Kaltrina Rexhahmetaj" userId="S::kaltrina.rexhahmetaj@bvh.org::c314e318-93e0-4c36-9995-6aa0f00e0010" providerId="AD" clId="Web-{5F1E348E-7353-61D8-C6BD-B8780B2D8DD1}" dt="2020-03-17T16:13:07.363" v="13"/>
        <pc:sldMkLst>
          <pc:docMk/>
          <pc:sldMk cId="2960381629" sldId="847"/>
        </pc:sldMkLst>
      </pc:sldChg>
      <pc:sldChg chg="del">
        <pc:chgData name="Kaltrina Rexhahmetaj" userId="S::kaltrina.rexhahmetaj@bvh.org::c314e318-93e0-4c36-9995-6aa0f00e0010" providerId="AD" clId="Web-{5F1E348E-7353-61D8-C6BD-B8780B2D8DD1}" dt="2020-03-17T16:13:09.363" v="14"/>
        <pc:sldMkLst>
          <pc:docMk/>
          <pc:sldMk cId="3483297752" sldId="848"/>
        </pc:sldMkLst>
      </pc:sldChg>
      <pc:sldChg chg="del">
        <pc:chgData name="Kaltrina Rexhahmetaj" userId="S::kaltrina.rexhahmetaj@bvh.org::c314e318-93e0-4c36-9995-6aa0f00e0010" providerId="AD" clId="Web-{5F1E348E-7353-61D8-C6BD-B8780B2D8DD1}" dt="2020-03-17T16:13:11.223" v="15"/>
        <pc:sldMkLst>
          <pc:docMk/>
          <pc:sldMk cId="2269213657" sldId="849"/>
        </pc:sldMkLst>
      </pc:sldChg>
      <pc:sldChg chg="del">
        <pc:chgData name="Kaltrina Rexhahmetaj" userId="S::kaltrina.rexhahmetaj@bvh.org::c314e318-93e0-4c36-9995-6aa0f00e0010" providerId="AD" clId="Web-{5F1E348E-7353-61D8-C6BD-B8780B2D8DD1}" dt="2020-03-17T16:12:54.692" v="8"/>
        <pc:sldMkLst>
          <pc:docMk/>
          <pc:sldMk cId="1710403314" sldId="850"/>
        </pc:sldMkLst>
      </pc:sldChg>
      <pc:sldChg chg="del">
        <pc:chgData name="Kaltrina Rexhahmetaj" userId="S::kaltrina.rexhahmetaj@bvh.org::c314e318-93e0-4c36-9995-6aa0f00e0010" providerId="AD" clId="Web-{5F1E348E-7353-61D8-C6BD-B8780B2D8DD1}" dt="2020-03-17T16:13:13.926" v="16"/>
        <pc:sldMkLst>
          <pc:docMk/>
          <pc:sldMk cId="1549389775" sldId="851"/>
        </pc:sldMkLst>
      </pc:sldChg>
      <pc:sldChg chg="del">
        <pc:chgData name="Kaltrina Rexhahmetaj" userId="S::kaltrina.rexhahmetaj@bvh.org::c314e318-93e0-4c36-9995-6aa0f00e0010" providerId="AD" clId="Web-{5F1E348E-7353-61D8-C6BD-B8780B2D8DD1}" dt="2020-03-17T16:13:15.754" v="17"/>
        <pc:sldMkLst>
          <pc:docMk/>
          <pc:sldMk cId="2111154789" sldId="852"/>
        </pc:sldMkLst>
      </pc:sldChg>
      <pc:sldChg chg="del">
        <pc:chgData name="Kaltrina Rexhahmetaj" userId="S::kaltrina.rexhahmetaj@bvh.org::c314e318-93e0-4c36-9995-6aa0f00e0010" providerId="AD" clId="Web-{5F1E348E-7353-61D8-C6BD-B8780B2D8DD1}" dt="2020-03-17T16:13:17.785" v="18"/>
        <pc:sldMkLst>
          <pc:docMk/>
          <pc:sldMk cId="3804584488" sldId="853"/>
        </pc:sldMkLst>
      </pc:sldChg>
      <pc:sldChg chg="del">
        <pc:chgData name="Kaltrina Rexhahmetaj" userId="S::kaltrina.rexhahmetaj@bvh.org::c314e318-93e0-4c36-9995-6aa0f00e0010" providerId="AD" clId="Web-{5F1E348E-7353-61D8-C6BD-B8780B2D8DD1}" dt="2020-03-17T16:13:22.379" v="20"/>
        <pc:sldMkLst>
          <pc:docMk/>
          <pc:sldMk cId="2904840712" sldId="854"/>
        </pc:sldMkLst>
      </pc:sldChg>
      <pc:sldChg chg="del">
        <pc:chgData name="Kaltrina Rexhahmetaj" userId="S::kaltrina.rexhahmetaj@bvh.org::c314e318-93e0-4c36-9995-6aa0f00e0010" providerId="AD" clId="Web-{5F1E348E-7353-61D8-C6BD-B8780B2D8DD1}" dt="2020-03-17T16:13:24.363" v="21"/>
        <pc:sldMkLst>
          <pc:docMk/>
          <pc:sldMk cId="2480113131" sldId="855"/>
        </pc:sldMkLst>
      </pc:sldChg>
      <pc:sldChg chg="del">
        <pc:chgData name="Kaltrina Rexhahmetaj" userId="S::kaltrina.rexhahmetaj@bvh.org::c314e318-93e0-4c36-9995-6aa0f00e0010" providerId="AD" clId="Web-{5F1E348E-7353-61D8-C6BD-B8780B2D8DD1}" dt="2020-03-17T16:13:26.129" v="22"/>
        <pc:sldMkLst>
          <pc:docMk/>
          <pc:sldMk cId="700760577" sldId="856"/>
        </pc:sldMkLst>
      </pc:sldChg>
      <pc:sldChg chg="del">
        <pc:chgData name="Kaltrina Rexhahmetaj" userId="S::kaltrina.rexhahmetaj@bvh.org::c314e318-93e0-4c36-9995-6aa0f00e0010" providerId="AD" clId="Web-{5F1E348E-7353-61D8-C6BD-B8780B2D8DD1}" dt="2020-03-17T16:13:27.879" v="23"/>
        <pc:sldMkLst>
          <pc:docMk/>
          <pc:sldMk cId="1768073633" sldId="857"/>
        </pc:sldMkLst>
      </pc:sldChg>
      <pc:sldChg chg="del">
        <pc:chgData name="Kaltrina Rexhahmetaj" userId="S::kaltrina.rexhahmetaj@bvh.org::c314e318-93e0-4c36-9995-6aa0f00e0010" providerId="AD" clId="Web-{5F1E348E-7353-61D8-C6BD-B8780B2D8DD1}" dt="2020-03-17T16:13:20.363" v="19"/>
        <pc:sldMkLst>
          <pc:docMk/>
          <pc:sldMk cId="587088078" sldId="858"/>
        </pc:sldMkLst>
      </pc:sldChg>
      <pc:sldChg chg="del">
        <pc:chgData name="Kaltrina Rexhahmetaj" userId="S::kaltrina.rexhahmetaj@bvh.org::c314e318-93e0-4c36-9995-6aa0f00e0010" providerId="AD" clId="Web-{5F1E348E-7353-61D8-C6BD-B8780B2D8DD1}" dt="2020-03-17T16:13:31.488" v="25"/>
        <pc:sldMkLst>
          <pc:docMk/>
          <pc:sldMk cId="109027747" sldId="859"/>
        </pc:sldMkLst>
      </pc:sldChg>
      <pc:sldChg chg="del">
        <pc:chgData name="Kaltrina Rexhahmetaj" userId="S::kaltrina.rexhahmetaj@bvh.org::c314e318-93e0-4c36-9995-6aa0f00e0010" providerId="AD" clId="Web-{5F1E348E-7353-61D8-C6BD-B8780B2D8DD1}" dt="2020-03-17T16:13:33.332" v="26"/>
        <pc:sldMkLst>
          <pc:docMk/>
          <pc:sldMk cId="2823823889" sldId="860"/>
        </pc:sldMkLst>
      </pc:sldChg>
      <pc:sldChg chg="del">
        <pc:chgData name="Kaltrina Rexhahmetaj" userId="S::kaltrina.rexhahmetaj@bvh.org::c314e318-93e0-4c36-9995-6aa0f00e0010" providerId="AD" clId="Web-{5F1E348E-7353-61D8-C6BD-B8780B2D8DD1}" dt="2020-03-17T16:13:29.738" v="24"/>
        <pc:sldMkLst>
          <pc:docMk/>
          <pc:sldMk cId="3012967931" sldId="861"/>
        </pc:sldMkLst>
      </pc:sldChg>
      <pc:sldChg chg="del">
        <pc:chgData name="Kaltrina Rexhahmetaj" userId="S::kaltrina.rexhahmetaj@bvh.org::c314e318-93e0-4c36-9995-6aa0f00e0010" providerId="AD" clId="Web-{5F1E348E-7353-61D8-C6BD-B8780B2D8DD1}" dt="2020-03-17T16:13:36.895" v="28"/>
        <pc:sldMkLst>
          <pc:docMk/>
          <pc:sldMk cId="1453777635" sldId="862"/>
        </pc:sldMkLst>
      </pc:sldChg>
      <pc:sldChg chg="del">
        <pc:chgData name="Kaltrina Rexhahmetaj" userId="S::kaltrina.rexhahmetaj@bvh.org::c314e318-93e0-4c36-9995-6aa0f00e0010" providerId="AD" clId="Web-{5F1E348E-7353-61D8-C6BD-B8780B2D8DD1}" dt="2020-03-17T16:13:35.098" v="27"/>
        <pc:sldMkLst>
          <pc:docMk/>
          <pc:sldMk cId="1469824285" sldId="863"/>
        </pc:sldMkLst>
      </pc:sldChg>
      <pc:sldChg chg="addSp delSp modSp modNotes">
        <pc:chgData name="Kaltrina Rexhahmetaj" userId="S::kaltrina.rexhahmetaj@bvh.org::c314e318-93e0-4c36-9995-6aa0f00e0010" providerId="AD" clId="Web-{5F1E348E-7353-61D8-C6BD-B8780B2D8DD1}" dt="2020-03-17T16:14:55.707" v="40"/>
        <pc:sldMkLst>
          <pc:docMk/>
          <pc:sldMk cId="4241842451" sldId="869"/>
        </pc:sldMkLst>
        <pc:spChg chg="mod">
          <ac:chgData name="Kaltrina Rexhahmetaj" userId="S::kaltrina.rexhahmetaj@bvh.org::c314e318-93e0-4c36-9995-6aa0f00e0010" providerId="AD" clId="Web-{5F1E348E-7353-61D8-C6BD-B8780B2D8DD1}" dt="2020-03-17T16:14:26.300" v="38" actId="20577"/>
          <ac:spMkLst>
            <pc:docMk/>
            <pc:sldMk cId="4241842451" sldId="869"/>
            <ac:spMk id="4" creationId="{69C750CA-9BFF-4BC2-BB76-AF3912ADFD1D}"/>
          </ac:spMkLst>
        </pc:spChg>
        <pc:spChg chg="add">
          <ac:chgData name="Kaltrina Rexhahmetaj" userId="S::kaltrina.rexhahmetaj@bvh.org::c314e318-93e0-4c36-9995-6aa0f00e0010" providerId="AD" clId="Web-{5F1E348E-7353-61D8-C6BD-B8780B2D8DD1}" dt="2020-03-17T16:13:57.910" v="30"/>
          <ac:spMkLst>
            <pc:docMk/>
            <pc:sldMk cId="4241842451" sldId="869"/>
            <ac:spMk id="9" creationId="{36E0EE0B-C9A1-488F-9C1D-65445F04B666}"/>
          </ac:spMkLst>
        </pc:spChg>
        <pc:spChg chg="add del">
          <ac:chgData name="Kaltrina Rexhahmetaj" userId="S::kaltrina.rexhahmetaj@bvh.org::c314e318-93e0-4c36-9995-6aa0f00e0010" providerId="AD" clId="Web-{5F1E348E-7353-61D8-C6BD-B8780B2D8DD1}" dt="2020-03-17T16:14:04.050" v="31"/>
          <ac:spMkLst>
            <pc:docMk/>
            <pc:sldMk cId="4241842451" sldId="869"/>
            <ac:spMk id="12" creationId="{4AC51CD2-3717-4EE4-88D8-6539EB71EFD6}"/>
          </ac:spMkLst>
        </pc:spChg>
        <pc:spChg chg="add del">
          <ac:chgData name="Kaltrina Rexhahmetaj" userId="S::kaltrina.rexhahmetaj@bvh.org::c314e318-93e0-4c36-9995-6aa0f00e0010" providerId="AD" clId="Web-{5F1E348E-7353-61D8-C6BD-B8780B2D8DD1}" dt="2020-03-17T16:14:08.269" v="32"/>
          <ac:spMkLst>
            <pc:docMk/>
            <pc:sldMk cId="4241842451" sldId="869"/>
            <ac:spMk id="13" creationId="{C0FBDAD0-AA23-4743-A9C7-CFE8C6AB06B1}"/>
          </ac:spMkLst>
        </pc:spChg>
        <pc:picChg chg="add">
          <ac:chgData name="Kaltrina Rexhahmetaj" userId="S::kaltrina.rexhahmetaj@bvh.org::c314e318-93e0-4c36-9995-6aa0f00e0010" providerId="AD" clId="Web-{5F1E348E-7353-61D8-C6BD-B8780B2D8DD1}" dt="2020-03-17T16:13:57.910" v="30"/>
          <ac:picMkLst>
            <pc:docMk/>
            <pc:sldMk cId="4241842451" sldId="869"/>
            <ac:picMk id="5" creationId="{41EAA640-F9CE-4D52-BE94-A66A39F2F875}"/>
          </ac:picMkLst>
        </pc:picChg>
        <pc:picChg chg="add">
          <ac:chgData name="Kaltrina Rexhahmetaj" userId="S::kaltrina.rexhahmetaj@bvh.org::c314e318-93e0-4c36-9995-6aa0f00e0010" providerId="AD" clId="Web-{5F1E348E-7353-61D8-C6BD-B8780B2D8DD1}" dt="2020-03-17T16:13:57.910" v="30"/>
          <ac:picMkLst>
            <pc:docMk/>
            <pc:sldMk cId="4241842451" sldId="869"/>
            <ac:picMk id="6" creationId="{F796D3E9-554A-4520-9DEA-E6B2B82B3AE0}"/>
          </ac:picMkLst>
        </pc:picChg>
        <pc:picChg chg="add">
          <ac:chgData name="Kaltrina Rexhahmetaj" userId="S::kaltrina.rexhahmetaj@bvh.org::c314e318-93e0-4c36-9995-6aa0f00e0010" providerId="AD" clId="Web-{5F1E348E-7353-61D8-C6BD-B8780B2D8DD1}" dt="2020-03-17T16:13:57.910" v="30"/>
          <ac:picMkLst>
            <pc:docMk/>
            <pc:sldMk cId="4241842451" sldId="869"/>
            <ac:picMk id="7" creationId="{EDA0D2C6-05C8-4344-87ED-D95989735AEE}"/>
          </ac:picMkLst>
        </pc:picChg>
        <pc:picChg chg="add">
          <ac:chgData name="Kaltrina Rexhahmetaj" userId="S::kaltrina.rexhahmetaj@bvh.org::c314e318-93e0-4c36-9995-6aa0f00e0010" providerId="AD" clId="Web-{5F1E348E-7353-61D8-C6BD-B8780B2D8DD1}" dt="2020-03-17T16:13:57.910" v="30"/>
          <ac:picMkLst>
            <pc:docMk/>
            <pc:sldMk cId="4241842451" sldId="869"/>
            <ac:picMk id="8" creationId="{79B1A8F6-B136-4F04-82FE-5BF4EEED13AC}"/>
          </ac:picMkLst>
        </pc:picChg>
        <pc:picChg chg="add">
          <ac:chgData name="Kaltrina Rexhahmetaj" userId="S::kaltrina.rexhahmetaj@bvh.org::c314e318-93e0-4c36-9995-6aa0f00e0010" providerId="AD" clId="Web-{5F1E348E-7353-61D8-C6BD-B8780B2D8DD1}" dt="2020-03-17T16:13:57.910" v="30"/>
          <ac:picMkLst>
            <pc:docMk/>
            <pc:sldMk cId="4241842451" sldId="869"/>
            <ac:picMk id="10" creationId="{666C3B30-92E2-4038-8496-C35C6BA4FB60}"/>
          </ac:picMkLst>
        </pc:picChg>
        <pc:picChg chg="add">
          <ac:chgData name="Kaltrina Rexhahmetaj" userId="S::kaltrina.rexhahmetaj@bvh.org::c314e318-93e0-4c36-9995-6aa0f00e0010" providerId="AD" clId="Web-{5F1E348E-7353-61D8-C6BD-B8780B2D8DD1}" dt="2020-03-17T16:13:57.910" v="30"/>
          <ac:picMkLst>
            <pc:docMk/>
            <pc:sldMk cId="4241842451" sldId="869"/>
            <ac:picMk id="11" creationId="{50172FA9-F634-40F2-BA49-12E7E01E54E9}"/>
          </ac:picMkLst>
        </pc:picChg>
      </pc:sldChg>
      <pc:sldChg chg="addSp delSp modSp add replId modNotes">
        <pc:chgData name="Kaltrina Rexhahmetaj" userId="S::kaltrina.rexhahmetaj@bvh.org::c314e318-93e0-4c36-9995-6aa0f00e0010" providerId="AD" clId="Web-{5F1E348E-7353-61D8-C6BD-B8780B2D8DD1}" dt="2020-03-17T16:18:46.017" v="119"/>
        <pc:sldMkLst>
          <pc:docMk/>
          <pc:sldMk cId="31838359" sldId="870"/>
        </pc:sldMkLst>
        <pc:spChg chg="del">
          <ac:chgData name="Kaltrina Rexhahmetaj" userId="S::kaltrina.rexhahmetaj@bvh.org::c314e318-93e0-4c36-9995-6aa0f00e0010" providerId="AD" clId="Web-{5F1E348E-7353-61D8-C6BD-B8780B2D8DD1}" dt="2020-03-17T16:15:01.925" v="49"/>
          <ac:spMkLst>
            <pc:docMk/>
            <pc:sldMk cId="31838359" sldId="870"/>
            <ac:spMk id="4" creationId="{69C750CA-9BFF-4BC2-BB76-AF3912ADFD1D}"/>
          </ac:spMkLst>
        </pc:spChg>
        <pc:spChg chg="del">
          <ac:chgData name="Kaltrina Rexhahmetaj" userId="S::kaltrina.rexhahmetaj@bvh.org::c314e318-93e0-4c36-9995-6aa0f00e0010" providerId="AD" clId="Web-{5F1E348E-7353-61D8-C6BD-B8780B2D8DD1}" dt="2020-03-17T16:15:01.737" v="44"/>
          <ac:spMkLst>
            <pc:docMk/>
            <pc:sldMk cId="31838359" sldId="870"/>
            <ac:spMk id="9" creationId="{36E0EE0B-C9A1-488F-9C1D-65445F04B666}"/>
          </ac:spMkLst>
        </pc:spChg>
        <pc:spChg chg="add mod">
          <ac:chgData name="Kaltrina Rexhahmetaj" userId="S::kaltrina.rexhahmetaj@bvh.org::c314e318-93e0-4c36-9995-6aa0f00e0010" providerId="AD" clId="Web-{5F1E348E-7353-61D8-C6BD-B8780B2D8DD1}" dt="2020-03-17T16:15:56.065" v="68"/>
          <ac:spMkLst>
            <pc:docMk/>
            <pc:sldMk cId="31838359" sldId="870"/>
            <ac:spMk id="12" creationId="{2D065721-6782-4E27-AA1D-6156F54272D0}"/>
          </ac:spMkLst>
        </pc:spChg>
        <pc:spChg chg="add">
          <ac:chgData name="Kaltrina Rexhahmetaj" userId="S::kaltrina.rexhahmetaj@bvh.org::c314e318-93e0-4c36-9995-6aa0f00e0010" providerId="AD" clId="Web-{5F1E348E-7353-61D8-C6BD-B8780B2D8DD1}" dt="2020-03-17T16:15:36.784" v="51"/>
          <ac:spMkLst>
            <pc:docMk/>
            <pc:sldMk cId="31838359" sldId="870"/>
            <ac:spMk id="13" creationId="{2470070B-A03A-40B8-9ABC-3E6887C3D0F2}"/>
          </ac:spMkLst>
        </pc:spChg>
        <pc:spChg chg="add">
          <ac:chgData name="Kaltrina Rexhahmetaj" userId="S::kaltrina.rexhahmetaj@bvh.org::c314e318-93e0-4c36-9995-6aa0f00e0010" providerId="AD" clId="Web-{5F1E348E-7353-61D8-C6BD-B8780B2D8DD1}" dt="2020-03-17T16:15:36.784" v="51"/>
          <ac:spMkLst>
            <pc:docMk/>
            <pc:sldMk cId="31838359" sldId="870"/>
            <ac:spMk id="14" creationId="{00F49631-F7FD-47FC-8411-A3F1DA01ACAF}"/>
          </ac:spMkLst>
        </pc:spChg>
        <pc:spChg chg="add del mod">
          <ac:chgData name="Kaltrina Rexhahmetaj" userId="S::kaltrina.rexhahmetaj@bvh.org::c314e318-93e0-4c36-9995-6aa0f00e0010" providerId="AD" clId="Web-{5F1E348E-7353-61D8-C6BD-B8780B2D8DD1}" dt="2020-03-17T16:18:46.017" v="119"/>
          <ac:spMkLst>
            <pc:docMk/>
            <pc:sldMk cId="31838359" sldId="870"/>
            <ac:spMk id="15" creationId="{76BFE17C-1132-4789-8DB4-1550187ADF39}"/>
          </ac:spMkLst>
        </pc:spChg>
        <pc:spChg chg="add del mod">
          <ac:chgData name="Kaltrina Rexhahmetaj" userId="S::kaltrina.rexhahmetaj@bvh.org::c314e318-93e0-4c36-9995-6aa0f00e0010" providerId="AD" clId="Web-{5F1E348E-7353-61D8-C6BD-B8780B2D8DD1}" dt="2020-03-17T16:15:42.815" v="53"/>
          <ac:spMkLst>
            <pc:docMk/>
            <pc:sldMk cId="31838359" sldId="870"/>
            <ac:spMk id="16" creationId="{C76B36BA-EF07-4E83-BBE4-BDAC938436D2}"/>
          </ac:spMkLst>
        </pc:spChg>
        <pc:picChg chg="del">
          <ac:chgData name="Kaltrina Rexhahmetaj" userId="S::kaltrina.rexhahmetaj@bvh.org::c314e318-93e0-4c36-9995-6aa0f00e0010" providerId="AD" clId="Web-{5F1E348E-7353-61D8-C6BD-B8780B2D8DD1}" dt="2020-03-17T16:15:01.753" v="48"/>
          <ac:picMkLst>
            <pc:docMk/>
            <pc:sldMk cId="31838359" sldId="870"/>
            <ac:picMk id="5" creationId="{41EAA640-F9CE-4D52-BE94-A66A39F2F875}"/>
          </ac:picMkLst>
        </pc:picChg>
        <pc:picChg chg="del">
          <ac:chgData name="Kaltrina Rexhahmetaj" userId="S::kaltrina.rexhahmetaj@bvh.org::c314e318-93e0-4c36-9995-6aa0f00e0010" providerId="AD" clId="Web-{5F1E348E-7353-61D8-C6BD-B8780B2D8DD1}" dt="2020-03-17T16:15:01.753" v="47"/>
          <ac:picMkLst>
            <pc:docMk/>
            <pc:sldMk cId="31838359" sldId="870"/>
            <ac:picMk id="6" creationId="{F796D3E9-554A-4520-9DEA-E6B2B82B3AE0}"/>
          </ac:picMkLst>
        </pc:picChg>
        <pc:picChg chg="del">
          <ac:chgData name="Kaltrina Rexhahmetaj" userId="S::kaltrina.rexhahmetaj@bvh.org::c314e318-93e0-4c36-9995-6aa0f00e0010" providerId="AD" clId="Web-{5F1E348E-7353-61D8-C6BD-B8780B2D8DD1}" dt="2020-03-17T16:15:01.737" v="46"/>
          <ac:picMkLst>
            <pc:docMk/>
            <pc:sldMk cId="31838359" sldId="870"/>
            <ac:picMk id="7" creationId="{EDA0D2C6-05C8-4344-87ED-D95989735AEE}"/>
          </ac:picMkLst>
        </pc:picChg>
        <pc:picChg chg="del">
          <ac:chgData name="Kaltrina Rexhahmetaj" userId="S::kaltrina.rexhahmetaj@bvh.org::c314e318-93e0-4c36-9995-6aa0f00e0010" providerId="AD" clId="Web-{5F1E348E-7353-61D8-C6BD-B8780B2D8DD1}" dt="2020-03-17T16:15:01.737" v="45"/>
          <ac:picMkLst>
            <pc:docMk/>
            <pc:sldMk cId="31838359" sldId="870"/>
            <ac:picMk id="8" creationId="{79B1A8F6-B136-4F04-82FE-5BF4EEED13AC}"/>
          </ac:picMkLst>
        </pc:picChg>
        <pc:picChg chg="del">
          <ac:chgData name="Kaltrina Rexhahmetaj" userId="S::kaltrina.rexhahmetaj@bvh.org::c314e318-93e0-4c36-9995-6aa0f00e0010" providerId="AD" clId="Web-{5F1E348E-7353-61D8-C6BD-B8780B2D8DD1}" dt="2020-03-17T16:15:01.737" v="43"/>
          <ac:picMkLst>
            <pc:docMk/>
            <pc:sldMk cId="31838359" sldId="870"/>
            <ac:picMk id="10" creationId="{666C3B30-92E2-4038-8496-C35C6BA4FB60}"/>
          </ac:picMkLst>
        </pc:picChg>
        <pc:picChg chg="del">
          <ac:chgData name="Kaltrina Rexhahmetaj" userId="S::kaltrina.rexhahmetaj@bvh.org::c314e318-93e0-4c36-9995-6aa0f00e0010" providerId="AD" clId="Web-{5F1E348E-7353-61D8-C6BD-B8780B2D8DD1}" dt="2020-03-17T16:15:01.737" v="42"/>
          <ac:picMkLst>
            <pc:docMk/>
            <pc:sldMk cId="31838359" sldId="870"/>
            <ac:picMk id="11" creationId="{50172FA9-F634-40F2-BA49-12E7E01E54E9}"/>
          </ac:picMkLst>
        </pc:picChg>
      </pc:sldChg>
      <pc:sldChg chg="addSp delSp modSp add replId modNotes">
        <pc:chgData name="Kaltrina Rexhahmetaj" userId="S::kaltrina.rexhahmetaj@bvh.org::c314e318-93e0-4c36-9995-6aa0f00e0010" providerId="AD" clId="Web-{5F1E348E-7353-61D8-C6BD-B8780B2D8DD1}" dt="2020-03-17T16:18:39.923" v="117"/>
        <pc:sldMkLst>
          <pc:docMk/>
          <pc:sldMk cId="2591056959" sldId="871"/>
        </pc:sldMkLst>
        <pc:spChg chg="add mod">
          <ac:chgData name="Kaltrina Rexhahmetaj" userId="S::kaltrina.rexhahmetaj@bvh.org::c314e318-93e0-4c36-9995-6aa0f00e0010" providerId="AD" clId="Web-{5F1E348E-7353-61D8-C6BD-B8780B2D8DD1}" dt="2020-03-17T16:16:54.940" v="84"/>
          <ac:spMkLst>
            <pc:docMk/>
            <pc:sldMk cId="2591056959" sldId="871"/>
            <ac:spMk id="4" creationId="{7E27F0E9-6B23-4376-9C55-FE473D16F4FB}"/>
          </ac:spMkLst>
        </pc:spChg>
        <pc:spChg chg="add">
          <ac:chgData name="Kaltrina Rexhahmetaj" userId="S::kaltrina.rexhahmetaj@bvh.org::c314e318-93e0-4c36-9995-6aa0f00e0010" providerId="AD" clId="Web-{5F1E348E-7353-61D8-C6BD-B8780B2D8DD1}" dt="2020-03-17T16:16:32.721" v="76"/>
          <ac:spMkLst>
            <pc:docMk/>
            <pc:sldMk cId="2591056959" sldId="871"/>
            <ac:spMk id="9" creationId="{9764243C-4E96-4393-9B3B-39734B6C6D35}"/>
          </ac:spMkLst>
        </pc:spChg>
        <pc:spChg chg="add">
          <ac:chgData name="Kaltrina Rexhahmetaj" userId="S::kaltrina.rexhahmetaj@bvh.org::c314e318-93e0-4c36-9995-6aa0f00e0010" providerId="AD" clId="Web-{5F1E348E-7353-61D8-C6BD-B8780B2D8DD1}" dt="2020-03-17T16:16:32.721" v="76"/>
          <ac:spMkLst>
            <pc:docMk/>
            <pc:sldMk cId="2591056959" sldId="871"/>
            <ac:spMk id="10" creationId="{02F8B331-216D-4CE7-B1C4-B83408550B94}"/>
          </ac:spMkLst>
        </pc:spChg>
        <pc:spChg chg="add">
          <ac:chgData name="Kaltrina Rexhahmetaj" userId="S::kaltrina.rexhahmetaj@bvh.org::c314e318-93e0-4c36-9995-6aa0f00e0010" providerId="AD" clId="Web-{5F1E348E-7353-61D8-C6BD-B8780B2D8DD1}" dt="2020-03-17T16:16:32.721" v="76"/>
          <ac:spMkLst>
            <pc:docMk/>
            <pc:sldMk cId="2591056959" sldId="871"/>
            <ac:spMk id="11" creationId="{69AEB81A-0162-4F94-ACC1-22D91E293028}"/>
          </ac:spMkLst>
        </pc:spChg>
        <pc:spChg chg="del">
          <ac:chgData name="Kaltrina Rexhahmetaj" userId="S::kaltrina.rexhahmetaj@bvh.org::c314e318-93e0-4c36-9995-6aa0f00e0010" providerId="AD" clId="Web-{5F1E348E-7353-61D8-C6BD-B8780B2D8DD1}" dt="2020-03-17T16:16:13.424" v="74"/>
          <ac:spMkLst>
            <pc:docMk/>
            <pc:sldMk cId="2591056959" sldId="871"/>
            <ac:spMk id="12" creationId="{2D065721-6782-4E27-AA1D-6156F54272D0}"/>
          </ac:spMkLst>
        </pc:spChg>
        <pc:spChg chg="del">
          <ac:chgData name="Kaltrina Rexhahmetaj" userId="S::kaltrina.rexhahmetaj@bvh.org::c314e318-93e0-4c36-9995-6aa0f00e0010" providerId="AD" clId="Web-{5F1E348E-7353-61D8-C6BD-B8780B2D8DD1}" dt="2020-03-17T16:16:13.252" v="73"/>
          <ac:spMkLst>
            <pc:docMk/>
            <pc:sldMk cId="2591056959" sldId="871"/>
            <ac:spMk id="13" creationId="{2470070B-A03A-40B8-9ABC-3E6887C3D0F2}"/>
          </ac:spMkLst>
        </pc:spChg>
        <pc:spChg chg="del">
          <ac:chgData name="Kaltrina Rexhahmetaj" userId="S::kaltrina.rexhahmetaj@bvh.org::c314e318-93e0-4c36-9995-6aa0f00e0010" providerId="AD" clId="Web-{5F1E348E-7353-61D8-C6BD-B8780B2D8DD1}" dt="2020-03-17T16:16:13.252" v="72"/>
          <ac:spMkLst>
            <pc:docMk/>
            <pc:sldMk cId="2591056959" sldId="871"/>
            <ac:spMk id="14" creationId="{00F49631-F7FD-47FC-8411-A3F1DA01ACAF}"/>
          </ac:spMkLst>
        </pc:spChg>
        <pc:spChg chg="del">
          <ac:chgData name="Kaltrina Rexhahmetaj" userId="S::kaltrina.rexhahmetaj@bvh.org::c314e318-93e0-4c36-9995-6aa0f00e0010" providerId="AD" clId="Web-{5F1E348E-7353-61D8-C6BD-B8780B2D8DD1}" dt="2020-03-17T16:16:13.252" v="71"/>
          <ac:spMkLst>
            <pc:docMk/>
            <pc:sldMk cId="2591056959" sldId="871"/>
            <ac:spMk id="15" creationId="{76BFE17C-1132-4789-8DB4-1550187ADF39}"/>
          </ac:spMkLst>
        </pc:spChg>
        <pc:spChg chg="add">
          <ac:chgData name="Kaltrina Rexhahmetaj" userId="S::kaltrina.rexhahmetaj@bvh.org::c314e318-93e0-4c36-9995-6aa0f00e0010" providerId="AD" clId="Web-{5F1E348E-7353-61D8-C6BD-B8780B2D8DD1}" dt="2020-03-17T16:16:32.721" v="76"/>
          <ac:spMkLst>
            <pc:docMk/>
            <pc:sldMk cId="2591056959" sldId="871"/>
            <ac:spMk id="16" creationId="{5CAEE9A3-74AA-42AB-830D-70FEC190C9E3}"/>
          </ac:spMkLst>
        </pc:spChg>
        <pc:spChg chg="add">
          <ac:chgData name="Kaltrina Rexhahmetaj" userId="S::kaltrina.rexhahmetaj@bvh.org::c314e318-93e0-4c36-9995-6aa0f00e0010" providerId="AD" clId="Web-{5F1E348E-7353-61D8-C6BD-B8780B2D8DD1}" dt="2020-03-17T16:16:32.721" v="76"/>
          <ac:spMkLst>
            <pc:docMk/>
            <pc:sldMk cId="2591056959" sldId="871"/>
            <ac:spMk id="17" creationId="{584A8040-6199-4877-9C45-2DA2E5DC190F}"/>
          </ac:spMkLst>
        </pc:spChg>
        <pc:spChg chg="add">
          <ac:chgData name="Kaltrina Rexhahmetaj" userId="S::kaltrina.rexhahmetaj@bvh.org::c314e318-93e0-4c36-9995-6aa0f00e0010" providerId="AD" clId="Web-{5F1E348E-7353-61D8-C6BD-B8780B2D8DD1}" dt="2020-03-17T16:16:32.721" v="76"/>
          <ac:spMkLst>
            <pc:docMk/>
            <pc:sldMk cId="2591056959" sldId="871"/>
            <ac:spMk id="18" creationId="{A5FA74BB-0A6F-441B-B2C2-BCB2CBC72EEE}"/>
          </ac:spMkLst>
        </pc:spChg>
        <pc:spChg chg="add del mod">
          <ac:chgData name="Kaltrina Rexhahmetaj" userId="S::kaltrina.rexhahmetaj@bvh.org::c314e318-93e0-4c36-9995-6aa0f00e0010" providerId="AD" clId="Web-{5F1E348E-7353-61D8-C6BD-B8780B2D8DD1}" dt="2020-03-17T16:18:39.923" v="117"/>
          <ac:spMkLst>
            <pc:docMk/>
            <pc:sldMk cId="2591056959" sldId="871"/>
            <ac:spMk id="19" creationId="{C5351771-FAEC-407E-962F-5727A0105A00}"/>
          </ac:spMkLst>
        </pc:spChg>
        <pc:spChg chg="add del mod">
          <ac:chgData name="Kaltrina Rexhahmetaj" userId="S::kaltrina.rexhahmetaj@bvh.org::c314e318-93e0-4c36-9995-6aa0f00e0010" providerId="AD" clId="Web-{5F1E348E-7353-61D8-C6BD-B8780B2D8DD1}" dt="2020-03-17T16:16:44.816" v="80"/>
          <ac:spMkLst>
            <pc:docMk/>
            <pc:sldMk cId="2591056959" sldId="871"/>
            <ac:spMk id="20" creationId="{FCB7104E-DDC5-4D9C-A0F1-2946CAFCB681}"/>
          </ac:spMkLst>
        </pc:spChg>
      </pc:sldChg>
      <pc:sldChg chg="addSp delSp modSp add replId modNotes">
        <pc:chgData name="Kaltrina Rexhahmetaj" userId="S::kaltrina.rexhahmetaj@bvh.org::c314e318-93e0-4c36-9995-6aa0f00e0010" providerId="AD" clId="Web-{5F1E348E-7353-61D8-C6BD-B8780B2D8DD1}" dt="2020-03-17T16:19:07.298" v="121"/>
        <pc:sldMkLst>
          <pc:docMk/>
          <pc:sldMk cId="3244190214" sldId="872"/>
        </pc:sldMkLst>
        <pc:spChg chg="del">
          <ac:chgData name="Kaltrina Rexhahmetaj" userId="S::kaltrina.rexhahmetaj@bvh.org::c314e318-93e0-4c36-9995-6aa0f00e0010" providerId="AD" clId="Web-{5F1E348E-7353-61D8-C6BD-B8780B2D8DD1}" dt="2020-03-17T16:17:09.533" v="93"/>
          <ac:spMkLst>
            <pc:docMk/>
            <pc:sldMk cId="3244190214" sldId="872"/>
            <ac:spMk id="4" creationId="{7E27F0E9-6B23-4376-9C55-FE473D16F4FB}"/>
          </ac:spMkLst>
        </pc:spChg>
        <pc:spChg chg="add mod">
          <ac:chgData name="Kaltrina Rexhahmetaj" userId="S::kaltrina.rexhahmetaj@bvh.org::c314e318-93e0-4c36-9995-6aa0f00e0010" providerId="AD" clId="Web-{5F1E348E-7353-61D8-C6BD-B8780B2D8DD1}" dt="2020-03-17T16:17:46.408" v="107"/>
          <ac:spMkLst>
            <pc:docMk/>
            <pc:sldMk cId="3244190214" sldId="872"/>
            <ac:spMk id="5" creationId="{BD687CBF-3132-4076-BC61-200BA073454D}"/>
          </ac:spMkLst>
        </pc:spChg>
        <pc:spChg chg="del">
          <ac:chgData name="Kaltrina Rexhahmetaj" userId="S::kaltrina.rexhahmetaj@bvh.org::c314e318-93e0-4c36-9995-6aa0f00e0010" providerId="AD" clId="Web-{5F1E348E-7353-61D8-C6BD-B8780B2D8DD1}" dt="2020-03-17T16:17:09.377" v="92"/>
          <ac:spMkLst>
            <pc:docMk/>
            <pc:sldMk cId="3244190214" sldId="872"/>
            <ac:spMk id="9" creationId="{9764243C-4E96-4393-9B3B-39734B6C6D35}"/>
          </ac:spMkLst>
        </pc:spChg>
        <pc:spChg chg="del">
          <ac:chgData name="Kaltrina Rexhahmetaj" userId="S::kaltrina.rexhahmetaj@bvh.org::c314e318-93e0-4c36-9995-6aa0f00e0010" providerId="AD" clId="Web-{5F1E348E-7353-61D8-C6BD-B8780B2D8DD1}" dt="2020-03-17T16:17:09.377" v="91"/>
          <ac:spMkLst>
            <pc:docMk/>
            <pc:sldMk cId="3244190214" sldId="872"/>
            <ac:spMk id="10" creationId="{02F8B331-216D-4CE7-B1C4-B83408550B94}"/>
          </ac:spMkLst>
        </pc:spChg>
        <pc:spChg chg="del">
          <ac:chgData name="Kaltrina Rexhahmetaj" userId="S::kaltrina.rexhahmetaj@bvh.org::c314e318-93e0-4c36-9995-6aa0f00e0010" providerId="AD" clId="Web-{5F1E348E-7353-61D8-C6BD-B8780B2D8DD1}" dt="2020-03-17T16:17:09.377" v="90"/>
          <ac:spMkLst>
            <pc:docMk/>
            <pc:sldMk cId="3244190214" sldId="872"/>
            <ac:spMk id="11" creationId="{69AEB81A-0162-4F94-ACC1-22D91E293028}"/>
          </ac:spMkLst>
        </pc:spChg>
        <pc:spChg chg="add del">
          <ac:chgData name="Kaltrina Rexhahmetaj" userId="S::kaltrina.rexhahmetaj@bvh.org::c314e318-93e0-4c36-9995-6aa0f00e0010" providerId="AD" clId="Web-{5F1E348E-7353-61D8-C6BD-B8780B2D8DD1}" dt="2020-03-17T16:17:29.517" v="95"/>
          <ac:spMkLst>
            <pc:docMk/>
            <pc:sldMk cId="3244190214" sldId="872"/>
            <ac:spMk id="13" creationId="{B1A77794-044D-4296-8726-8C4A67DD777C}"/>
          </ac:spMkLst>
        </pc:spChg>
        <pc:spChg chg="add del">
          <ac:chgData name="Kaltrina Rexhahmetaj" userId="S::kaltrina.rexhahmetaj@bvh.org::c314e318-93e0-4c36-9995-6aa0f00e0010" providerId="AD" clId="Web-{5F1E348E-7353-61D8-C6BD-B8780B2D8DD1}" dt="2020-03-17T16:17:29.517" v="95"/>
          <ac:spMkLst>
            <pc:docMk/>
            <pc:sldMk cId="3244190214" sldId="872"/>
            <ac:spMk id="14" creationId="{89992CDC-4DF6-4795-A9EA-DCF1E83795E9}"/>
          </ac:spMkLst>
        </pc:spChg>
        <pc:spChg chg="add del">
          <ac:chgData name="Kaltrina Rexhahmetaj" userId="S::kaltrina.rexhahmetaj@bvh.org::c314e318-93e0-4c36-9995-6aa0f00e0010" providerId="AD" clId="Web-{5F1E348E-7353-61D8-C6BD-B8780B2D8DD1}" dt="2020-03-17T16:17:29.517" v="95"/>
          <ac:spMkLst>
            <pc:docMk/>
            <pc:sldMk cId="3244190214" sldId="872"/>
            <ac:spMk id="15" creationId="{6E186D20-C563-43A6-B65D-030F9C1856C5}"/>
          </ac:spMkLst>
        </pc:spChg>
        <pc:spChg chg="del">
          <ac:chgData name="Kaltrina Rexhahmetaj" userId="S::kaltrina.rexhahmetaj@bvh.org::c314e318-93e0-4c36-9995-6aa0f00e0010" providerId="AD" clId="Web-{5F1E348E-7353-61D8-C6BD-B8780B2D8DD1}" dt="2020-03-17T16:17:09.377" v="89"/>
          <ac:spMkLst>
            <pc:docMk/>
            <pc:sldMk cId="3244190214" sldId="872"/>
            <ac:spMk id="16" creationId="{5CAEE9A3-74AA-42AB-830D-70FEC190C9E3}"/>
          </ac:spMkLst>
        </pc:spChg>
        <pc:spChg chg="del">
          <ac:chgData name="Kaltrina Rexhahmetaj" userId="S::kaltrina.rexhahmetaj@bvh.org::c314e318-93e0-4c36-9995-6aa0f00e0010" providerId="AD" clId="Web-{5F1E348E-7353-61D8-C6BD-B8780B2D8DD1}" dt="2020-03-17T16:17:09.377" v="88"/>
          <ac:spMkLst>
            <pc:docMk/>
            <pc:sldMk cId="3244190214" sldId="872"/>
            <ac:spMk id="17" creationId="{584A8040-6199-4877-9C45-2DA2E5DC190F}"/>
          </ac:spMkLst>
        </pc:spChg>
        <pc:spChg chg="del">
          <ac:chgData name="Kaltrina Rexhahmetaj" userId="S::kaltrina.rexhahmetaj@bvh.org::c314e318-93e0-4c36-9995-6aa0f00e0010" providerId="AD" clId="Web-{5F1E348E-7353-61D8-C6BD-B8780B2D8DD1}" dt="2020-03-17T16:17:09.377" v="87"/>
          <ac:spMkLst>
            <pc:docMk/>
            <pc:sldMk cId="3244190214" sldId="872"/>
            <ac:spMk id="18" creationId="{A5FA74BB-0A6F-441B-B2C2-BCB2CBC72EEE}"/>
          </ac:spMkLst>
        </pc:spChg>
        <pc:spChg chg="del">
          <ac:chgData name="Kaltrina Rexhahmetaj" userId="S::kaltrina.rexhahmetaj@bvh.org::c314e318-93e0-4c36-9995-6aa0f00e0010" providerId="AD" clId="Web-{5F1E348E-7353-61D8-C6BD-B8780B2D8DD1}" dt="2020-03-17T16:17:09.361" v="86"/>
          <ac:spMkLst>
            <pc:docMk/>
            <pc:sldMk cId="3244190214" sldId="872"/>
            <ac:spMk id="19" creationId="{C5351771-FAEC-407E-962F-5727A0105A00}"/>
          </ac:spMkLst>
        </pc:spChg>
        <pc:spChg chg="add del mod">
          <ac:chgData name="Kaltrina Rexhahmetaj" userId="S::kaltrina.rexhahmetaj@bvh.org::c314e318-93e0-4c36-9995-6aa0f00e0010" providerId="AD" clId="Web-{5F1E348E-7353-61D8-C6BD-B8780B2D8DD1}" dt="2020-03-17T16:18:26.970" v="114"/>
          <ac:spMkLst>
            <pc:docMk/>
            <pc:sldMk cId="3244190214" sldId="872"/>
            <ac:spMk id="20" creationId="{B1A77794-044D-4296-8726-8C4A67DD777C}"/>
          </ac:spMkLst>
        </pc:spChg>
        <pc:spChg chg="add del">
          <ac:chgData name="Kaltrina Rexhahmetaj" userId="S::kaltrina.rexhahmetaj@bvh.org::c314e318-93e0-4c36-9995-6aa0f00e0010" providerId="AD" clId="Web-{5F1E348E-7353-61D8-C6BD-B8780B2D8DD1}" dt="2020-03-17T16:18:33.111" v="115"/>
          <ac:spMkLst>
            <pc:docMk/>
            <pc:sldMk cId="3244190214" sldId="872"/>
            <ac:spMk id="21" creationId="{89992CDC-4DF6-4795-A9EA-DCF1E83795E9}"/>
          </ac:spMkLst>
        </pc:spChg>
        <pc:spChg chg="add del mod">
          <ac:chgData name="Kaltrina Rexhahmetaj" userId="S::kaltrina.rexhahmetaj@bvh.org::c314e318-93e0-4c36-9995-6aa0f00e0010" providerId="AD" clId="Web-{5F1E348E-7353-61D8-C6BD-B8780B2D8DD1}" dt="2020-03-17T16:18:02.001" v="110"/>
          <ac:spMkLst>
            <pc:docMk/>
            <pc:sldMk cId="3244190214" sldId="872"/>
            <ac:spMk id="22" creationId="{6E186D20-C563-43A6-B65D-030F9C1856C5}"/>
          </ac:spMkLst>
        </pc:spChg>
        <pc:graphicFrameChg chg="add">
          <ac:chgData name="Kaltrina Rexhahmetaj" userId="S::kaltrina.rexhahmetaj@bvh.org::c314e318-93e0-4c36-9995-6aa0f00e0010" providerId="AD" clId="Web-{5F1E348E-7353-61D8-C6BD-B8780B2D8DD1}" dt="2020-03-17T16:18:19.704" v="112"/>
          <ac:graphicFrameMkLst>
            <pc:docMk/>
            <pc:sldMk cId="3244190214" sldId="872"/>
            <ac:graphicFrameMk id="6" creationId="{20DC8367-FFE4-4CF2-8D1C-EF905EC7DE11}"/>
          </ac:graphicFrameMkLst>
        </pc:graphicFrameChg>
      </pc:sldChg>
      <pc:sldChg chg="addSp delSp modSp add replId modNotes">
        <pc:chgData name="Kaltrina Rexhahmetaj" userId="S::kaltrina.rexhahmetaj@bvh.org::c314e318-93e0-4c36-9995-6aa0f00e0010" providerId="AD" clId="Web-{5F1E348E-7353-61D8-C6BD-B8780B2D8DD1}" dt="2020-03-17T16:20:17.938" v="143"/>
        <pc:sldMkLst>
          <pc:docMk/>
          <pc:sldMk cId="874206581" sldId="873"/>
        </pc:sldMkLst>
        <pc:spChg chg="add mod">
          <ac:chgData name="Kaltrina Rexhahmetaj" userId="S::kaltrina.rexhahmetaj@bvh.org::c314e318-93e0-4c36-9995-6aa0f00e0010" providerId="AD" clId="Web-{5F1E348E-7353-61D8-C6BD-B8780B2D8DD1}" dt="2020-03-17T16:19:56.407" v="139"/>
          <ac:spMkLst>
            <pc:docMk/>
            <pc:sldMk cId="874206581" sldId="873"/>
            <ac:spMk id="4" creationId="{8A8C5DEA-3A01-4001-9C68-E537EA453ED8}"/>
          </ac:spMkLst>
        </pc:spChg>
        <pc:spChg chg="del">
          <ac:chgData name="Kaltrina Rexhahmetaj" userId="S::kaltrina.rexhahmetaj@bvh.org::c314e318-93e0-4c36-9995-6aa0f00e0010" providerId="AD" clId="Web-{5F1E348E-7353-61D8-C6BD-B8780B2D8DD1}" dt="2020-03-17T16:19:17.391" v="125"/>
          <ac:spMkLst>
            <pc:docMk/>
            <pc:sldMk cId="874206581" sldId="873"/>
            <ac:spMk id="5" creationId="{BD687CBF-3132-4076-BC61-200BA073454D}"/>
          </ac:spMkLst>
        </pc:spChg>
        <pc:spChg chg="add">
          <ac:chgData name="Kaltrina Rexhahmetaj" userId="S::kaltrina.rexhahmetaj@bvh.org::c314e318-93e0-4c36-9995-6aa0f00e0010" providerId="AD" clId="Web-{5F1E348E-7353-61D8-C6BD-B8780B2D8DD1}" dt="2020-03-17T16:19:32.705" v="127"/>
          <ac:spMkLst>
            <pc:docMk/>
            <pc:sldMk cId="874206581" sldId="873"/>
            <ac:spMk id="7" creationId="{50884CEE-F327-4C31-965D-8C37299858D9}"/>
          </ac:spMkLst>
        </pc:spChg>
        <pc:spChg chg="add">
          <ac:chgData name="Kaltrina Rexhahmetaj" userId="S::kaltrina.rexhahmetaj@bvh.org::c314e318-93e0-4c36-9995-6aa0f00e0010" providerId="AD" clId="Web-{5F1E348E-7353-61D8-C6BD-B8780B2D8DD1}" dt="2020-03-17T16:19:32.705" v="127"/>
          <ac:spMkLst>
            <pc:docMk/>
            <pc:sldMk cId="874206581" sldId="873"/>
            <ac:spMk id="8" creationId="{3C9C4F06-F86C-44C8-BAF4-9DF75A43422A}"/>
          </ac:spMkLst>
        </pc:spChg>
        <pc:spChg chg="add">
          <ac:chgData name="Kaltrina Rexhahmetaj" userId="S::kaltrina.rexhahmetaj@bvh.org::c314e318-93e0-4c36-9995-6aa0f00e0010" providerId="AD" clId="Web-{5F1E348E-7353-61D8-C6BD-B8780B2D8DD1}" dt="2020-03-17T16:19:32.705" v="127"/>
          <ac:spMkLst>
            <pc:docMk/>
            <pc:sldMk cId="874206581" sldId="873"/>
            <ac:spMk id="9" creationId="{60D09A01-01D5-47A0-BFF0-A7328A4BA8D3}"/>
          </ac:spMkLst>
        </pc:spChg>
        <pc:spChg chg="add">
          <ac:chgData name="Kaltrina Rexhahmetaj" userId="S::kaltrina.rexhahmetaj@bvh.org::c314e318-93e0-4c36-9995-6aa0f00e0010" providerId="AD" clId="Web-{5F1E348E-7353-61D8-C6BD-B8780B2D8DD1}" dt="2020-03-17T16:19:32.705" v="127"/>
          <ac:spMkLst>
            <pc:docMk/>
            <pc:sldMk cId="874206581" sldId="873"/>
            <ac:spMk id="10" creationId="{C7F80F94-8F0B-4ECB-8280-D49B6A003E9A}"/>
          </ac:spMkLst>
        </pc:spChg>
        <pc:spChg chg="add">
          <ac:chgData name="Kaltrina Rexhahmetaj" userId="S::kaltrina.rexhahmetaj@bvh.org::c314e318-93e0-4c36-9995-6aa0f00e0010" providerId="AD" clId="Web-{5F1E348E-7353-61D8-C6BD-B8780B2D8DD1}" dt="2020-03-17T16:19:32.705" v="127"/>
          <ac:spMkLst>
            <pc:docMk/>
            <pc:sldMk cId="874206581" sldId="873"/>
            <ac:spMk id="11" creationId="{DF9BCCA2-568D-42AF-B09E-24119F570A52}"/>
          </ac:spMkLst>
        </pc:spChg>
        <pc:spChg chg="add">
          <ac:chgData name="Kaltrina Rexhahmetaj" userId="S::kaltrina.rexhahmetaj@bvh.org::c314e318-93e0-4c36-9995-6aa0f00e0010" providerId="AD" clId="Web-{5F1E348E-7353-61D8-C6BD-B8780B2D8DD1}" dt="2020-03-17T16:19:32.705" v="127"/>
          <ac:spMkLst>
            <pc:docMk/>
            <pc:sldMk cId="874206581" sldId="873"/>
            <ac:spMk id="12" creationId="{70CA4454-6E1E-440E-9807-0ED3CB04F229}"/>
          </ac:spMkLst>
        </pc:spChg>
        <pc:spChg chg="add">
          <ac:chgData name="Kaltrina Rexhahmetaj" userId="S::kaltrina.rexhahmetaj@bvh.org::c314e318-93e0-4c36-9995-6aa0f00e0010" providerId="AD" clId="Web-{5F1E348E-7353-61D8-C6BD-B8780B2D8DD1}" dt="2020-03-17T16:19:32.705" v="127"/>
          <ac:spMkLst>
            <pc:docMk/>
            <pc:sldMk cId="874206581" sldId="873"/>
            <ac:spMk id="13" creationId="{35A52F02-3FCD-4B50-B80F-E30F8F876B98}"/>
          </ac:spMkLst>
        </pc:spChg>
        <pc:spChg chg="add">
          <ac:chgData name="Kaltrina Rexhahmetaj" userId="S::kaltrina.rexhahmetaj@bvh.org::c314e318-93e0-4c36-9995-6aa0f00e0010" providerId="AD" clId="Web-{5F1E348E-7353-61D8-C6BD-B8780B2D8DD1}" dt="2020-03-17T16:19:32.705" v="127"/>
          <ac:spMkLst>
            <pc:docMk/>
            <pc:sldMk cId="874206581" sldId="873"/>
            <ac:spMk id="14" creationId="{EABBBFA8-FAE4-4823-A737-9217F4946FAF}"/>
          </ac:spMkLst>
        </pc:spChg>
        <pc:spChg chg="add">
          <ac:chgData name="Kaltrina Rexhahmetaj" userId="S::kaltrina.rexhahmetaj@bvh.org::c314e318-93e0-4c36-9995-6aa0f00e0010" providerId="AD" clId="Web-{5F1E348E-7353-61D8-C6BD-B8780B2D8DD1}" dt="2020-03-17T16:19:32.705" v="127"/>
          <ac:spMkLst>
            <pc:docMk/>
            <pc:sldMk cId="874206581" sldId="873"/>
            <ac:spMk id="15" creationId="{C8360184-6E9D-4A47-8A6E-2AB52B5A0946}"/>
          </ac:spMkLst>
        </pc:spChg>
        <pc:spChg chg="add">
          <ac:chgData name="Kaltrina Rexhahmetaj" userId="S::kaltrina.rexhahmetaj@bvh.org::c314e318-93e0-4c36-9995-6aa0f00e0010" providerId="AD" clId="Web-{5F1E348E-7353-61D8-C6BD-B8780B2D8DD1}" dt="2020-03-17T16:19:32.705" v="127"/>
          <ac:spMkLst>
            <pc:docMk/>
            <pc:sldMk cId="874206581" sldId="873"/>
            <ac:spMk id="16" creationId="{94939A48-2278-4ED1-A76E-285DA190682E}"/>
          </ac:spMkLst>
        </pc:spChg>
        <pc:spChg chg="add">
          <ac:chgData name="Kaltrina Rexhahmetaj" userId="S::kaltrina.rexhahmetaj@bvh.org::c314e318-93e0-4c36-9995-6aa0f00e0010" providerId="AD" clId="Web-{5F1E348E-7353-61D8-C6BD-B8780B2D8DD1}" dt="2020-03-17T16:19:32.705" v="127"/>
          <ac:spMkLst>
            <pc:docMk/>
            <pc:sldMk cId="874206581" sldId="873"/>
            <ac:spMk id="17" creationId="{CC718503-EA8A-4D9D-A27A-4D0ABC1DB03B}"/>
          </ac:spMkLst>
        </pc:spChg>
        <pc:spChg chg="add">
          <ac:chgData name="Kaltrina Rexhahmetaj" userId="S::kaltrina.rexhahmetaj@bvh.org::c314e318-93e0-4c36-9995-6aa0f00e0010" providerId="AD" clId="Web-{5F1E348E-7353-61D8-C6BD-B8780B2D8DD1}" dt="2020-03-17T16:19:32.705" v="127"/>
          <ac:spMkLst>
            <pc:docMk/>
            <pc:sldMk cId="874206581" sldId="873"/>
            <ac:spMk id="18" creationId="{825E0AB3-C967-42E9-9AC7-E2DF9DB52964}"/>
          </ac:spMkLst>
        </pc:spChg>
        <pc:spChg chg="add">
          <ac:chgData name="Kaltrina Rexhahmetaj" userId="S::kaltrina.rexhahmetaj@bvh.org::c314e318-93e0-4c36-9995-6aa0f00e0010" providerId="AD" clId="Web-{5F1E348E-7353-61D8-C6BD-B8780B2D8DD1}" dt="2020-03-17T16:19:32.705" v="127"/>
          <ac:spMkLst>
            <pc:docMk/>
            <pc:sldMk cId="874206581" sldId="873"/>
            <ac:spMk id="19" creationId="{4C2D21E7-117F-480C-86F2-B159941FA0EC}"/>
          </ac:spMkLst>
        </pc:spChg>
        <pc:spChg chg="add del mod">
          <ac:chgData name="Kaltrina Rexhahmetaj" userId="S::kaltrina.rexhahmetaj@bvh.org::c314e318-93e0-4c36-9995-6aa0f00e0010" providerId="AD" clId="Web-{5F1E348E-7353-61D8-C6BD-B8780B2D8DD1}" dt="2020-03-17T16:20:03.235" v="141"/>
          <ac:spMkLst>
            <pc:docMk/>
            <pc:sldMk cId="874206581" sldId="873"/>
            <ac:spMk id="20" creationId="{FB9E8E00-DACD-4A81-A35E-FD9CDD046899}"/>
          </ac:spMkLst>
        </pc:spChg>
        <pc:spChg chg="add del mod">
          <ac:chgData name="Kaltrina Rexhahmetaj" userId="S::kaltrina.rexhahmetaj@bvh.org::c314e318-93e0-4c36-9995-6aa0f00e0010" providerId="AD" clId="Web-{5F1E348E-7353-61D8-C6BD-B8780B2D8DD1}" dt="2020-03-17T16:19:41.797" v="129"/>
          <ac:spMkLst>
            <pc:docMk/>
            <pc:sldMk cId="874206581" sldId="873"/>
            <ac:spMk id="21" creationId="{AE5DF6E9-2950-4391-B52A-387481549ED6}"/>
          </ac:spMkLst>
        </pc:spChg>
        <pc:graphicFrameChg chg="del">
          <ac:chgData name="Kaltrina Rexhahmetaj" userId="S::kaltrina.rexhahmetaj@bvh.org::c314e318-93e0-4c36-9995-6aa0f00e0010" providerId="AD" clId="Web-{5F1E348E-7353-61D8-C6BD-B8780B2D8DD1}" dt="2020-03-17T16:19:17.236" v="124"/>
          <ac:graphicFrameMkLst>
            <pc:docMk/>
            <pc:sldMk cId="874206581" sldId="873"/>
            <ac:graphicFrameMk id="6" creationId="{20DC8367-FFE4-4CF2-8D1C-EF905EC7DE11}"/>
          </ac:graphicFrameMkLst>
        </pc:graphicFrameChg>
      </pc:sldChg>
      <pc:sldChg chg="add del">
        <pc:chgData name="Kaltrina Rexhahmetaj" userId="S::kaltrina.rexhahmetaj@bvh.org::c314e318-93e0-4c36-9995-6aa0f00e0010" providerId="AD" clId="Web-{5F1E348E-7353-61D8-C6BD-B8780B2D8DD1}" dt="2020-03-17T16:19:09.360" v="122"/>
        <pc:sldMkLst>
          <pc:docMk/>
          <pc:sldMk cId="2696793354" sldId="873"/>
        </pc:sldMkLst>
      </pc:sldChg>
      <pc:sldChg chg="addSp delSp modSp add replId modNotes">
        <pc:chgData name="Kaltrina Rexhahmetaj" userId="S::kaltrina.rexhahmetaj@bvh.org::c314e318-93e0-4c36-9995-6aa0f00e0010" providerId="AD" clId="Web-{5F1E348E-7353-61D8-C6BD-B8780B2D8DD1}" dt="2020-03-17T16:21:01.687" v="179"/>
        <pc:sldMkLst>
          <pc:docMk/>
          <pc:sldMk cId="1341924466" sldId="874"/>
        </pc:sldMkLst>
        <pc:spChg chg="del">
          <ac:chgData name="Kaltrina Rexhahmetaj" userId="S::kaltrina.rexhahmetaj@bvh.org::c314e318-93e0-4c36-9995-6aa0f00e0010" providerId="AD" clId="Web-{5F1E348E-7353-61D8-C6BD-B8780B2D8DD1}" dt="2020-03-17T16:20:23.516" v="158"/>
          <ac:spMkLst>
            <pc:docMk/>
            <pc:sldMk cId="1341924466" sldId="874"/>
            <ac:spMk id="4" creationId="{8A8C5DEA-3A01-4001-9C68-E537EA453ED8}"/>
          </ac:spMkLst>
        </pc:spChg>
        <pc:spChg chg="add mod">
          <ac:chgData name="Kaltrina Rexhahmetaj" userId="S::kaltrina.rexhahmetaj@bvh.org::c314e318-93e0-4c36-9995-6aa0f00e0010" providerId="AD" clId="Web-{5F1E348E-7353-61D8-C6BD-B8780B2D8DD1}" dt="2020-03-17T16:20:49.688" v="177"/>
          <ac:spMkLst>
            <pc:docMk/>
            <pc:sldMk cId="1341924466" sldId="874"/>
            <ac:spMk id="5" creationId="{6DFC274B-42F6-4901-A4B8-4ADD9979DCC4}"/>
          </ac:spMkLst>
        </pc:spChg>
        <pc:spChg chg="del">
          <ac:chgData name="Kaltrina Rexhahmetaj" userId="S::kaltrina.rexhahmetaj@bvh.org::c314e318-93e0-4c36-9995-6aa0f00e0010" providerId="AD" clId="Web-{5F1E348E-7353-61D8-C6BD-B8780B2D8DD1}" dt="2020-03-17T16:20:23.360" v="157"/>
          <ac:spMkLst>
            <pc:docMk/>
            <pc:sldMk cId="1341924466" sldId="874"/>
            <ac:spMk id="7" creationId="{50884CEE-F327-4C31-965D-8C37299858D9}"/>
          </ac:spMkLst>
        </pc:spChg>
        <pc:spChg chg="del">
          <ac:chgData name="Kaltrina Rexhahmetaj" userId="S::kaltrina.rexhahmetaj@bvh.org::c314e318-93e0-4c36-9995-6aa0f00e0010" providerId="AD" clId="Web-{5F1E348E-7353-61D8-C6BD-B8780B2D8DD1}" dt="2020-03-17T16:20:23.360" v="156"/>
          <ac:spMkLst>
            <pc:docMk/>
            <pc:sldMk cId="1341924466" sldId="874"/>
            <ac:spMk id="8" creationId="{3C9C4F06-F86C-44C8-BAF4-9DF75A43422A}"/>
          </ac:spMkLst>
        </pc:spChg>
        <pc:spChg chg="del">
          <ac:chgData name="Kaltrina Rexhahmetaj" userId="S::kaltrina.rexhahmetaj@bvh.org::c314e318-93e0-4c36-9995-6aa0f00e0010" providerId="AD" clId="Web-{5F1E348E-7353-61D8-C6BD-B8780B2D8DD1}" dt="2020-03-17T16:20:23.360" v="155"/>
          <ac:spMkLst>
            <pc:docMk/>
            <pc:sldMk cId="1341924466" sldId="874"/>
            <ac:spMk id="9" creationId="{60D09A01-01D5-47A0-BFF0-A7328A4BA8D3}"/>
          </ac:spMkLst>
        </pc:spChg>
        <pc:spChg chg="del">
          <ac:chgData name="Kaltrina Rexhahmetaj" userId="S::kaltrina.rexhahmetaj@bvh.org::c314e318-93e0-4c36-9995-6aa0f00e0010" providerId="AD" clId="Web-{5F1E348E-7353-61D8-C6BD-B8780B2D8DD1}" dt="2020-03-17T16:20:23.360" v="154"/>
          <ac:spMkLst>
            <pc:docMk/>
            <pc:sldMk cId="1341924466" sldId="874"/>
            <ac:spMk id="10" creationId="{C7F80F94-8F0B-4ECB-8280-D49B6A003E9A}"/>
          </ac:spMkLst>
        </pc:spChg>
        <pc:spChg chg="del">
          <ac:chgData name="Kaltrina Rexhahmetaj" userId="S::kaltrina.rexhahmetaj@bvh.org::c314e318-93e0-4c36-9995-6aa0f00e0010" providerId="AD" clId="Web-{5F1E348E-7353-61D8-C6BD-B8780B2D8DD1}" dt="2020-03-17T16:20:23.360" v="153"/>
          <ac:spMkLst>
            <pc:docMk/>
            <pc:sldMk cId="1341924466" sldId="874"/>
            <ac:spMk id="11" creationId="{DF9BCCA2-568D-42AF-B09E-24119F570A52}"/>
          </ac:spMkLst>
        </pc:spChg>
        <pc:spChg chg="del">
          <ac:chgData name="Kaltrina Rexhahmetaj" userId="S::kaltrina.rexhahmetaj@bvh.org::c314e318-93e0-4c36-9995-6aa0f00e0010" providerId="AD" clId="Web-{5F1E348E-7353-61D8-C6BD-B8780B2D8DD1}" dt="2020-03-17T16:20:23.344" v="152"/>
          <ac:spMkLst>
            <pc:docMk/>
            <pc:sldMk cId="1341924466" sldId="874"/>
            <ac:spMk id="12" creationId="{70CA4454-6E1E-440E-9807-0ED3CB04F229}"/>
          </ac:spMkLst>
        </pc:spChg>
        <pc:spChg chg="del">
          <ac:chgData name="Kaltrina Rexhahmetaj" userId="S::kaltrina.rexhahmetaj@bvh.org::c314e318-93e0-4c36-9995-6aa0f00e0010" providerId="AD" clId="Web-{5F1E348E-7353-61D8-C6BD-B8780B2D8DD1}" dt="2020-03-17T16:20:23.344" v="151"/>
          <ac:spMkLst>
            <pc:docMk/>
            <pc:sldMk cId="1341924466" sldId="874"/>
            <ac:spMk id="13" creationId="{35A52F02-3FCD-4B50-B80F-E30F8F876B98}"/>
          </ac:spMkLst>
        </pc:spChg>
        <pc:spChg chg="del">
          <ac:chgData name="Kaltrina Rexhahmetaj" userId="S::kaltrina.rexhahmetaj@bvh.org::c314e318-93e0-4c36-9995-6aa0f00e0010" providerId="AD" clId="Web-{5F1E348E-7353-61D8-C6BD-B8780B2D8DD1}" dt="2020-03-17T16:20:23.344" v="150"/>
          <ac:spMkLst>
            <pc:docMk/>
            <pc:sldMk cId="1341924466" sldId="874"/>
            <ac:spMk id="14" creationId="{EABBBFA8-FAE4-4823-A737-9217F4946FAF}"/>
          </ac:spMkLst>
        </pc:spChg>
        <pc:spChg chg="del">
          <ac:chgData name="Kaltrina Rexhahmetaj" userId="S::kaltrina.rexhahmetaj@bvh.org::c314e318-93e0-4c36-9995-6aa0f00e0010" providerId="AD" clId="Web-{5F1E348E-7353-61D8-C6BD-B8780B2D8DD1}" dt="2020-03-17T16:20:23.344" v="149"/>
          <ac:spMkLst>
            <pc:docMk/>
            <pc:sldMk cId="1341924466" sldId="874"/>
            <ac:spMk id="15" creationId="{C8360184-6E9D-4A47-8A6E-2AB52B5A0946}"/>
          </ac:spMkLst>
        </pc:spChg>
        <pc:spChg chg="del">
          <ac:chgData name="Kaltrina Rexhahmetaj" userId="S::kaltrina.rexhahmetaj@bvh.org::c314e318-93e0-4c36-9995-6aa0f00e0010" providerId="AD" clId="Web-{5F1E348E-7353-61D8-C6BD-B8780B2D8DD1}" dt="2020-03-17T16:20:23.344" v="148"/>
          <ac:spMkLst>
            <pc:docMk/>
            <pc:sldMk cId="1341924466" sldId="874"/>
            <ac:spMk id="16" creationId="{94939A48-2278-4ED1-A76E-285DA190682E}"/>
          </ac:spMkLst>
        </pc:spChg>
        <pc:spChg chg="del">
          <ac:chgData name="Kaltrina Rexhahmetaj" userId="S::kaltrina.rexhahmetaj@bvh.org::c314e318-93e0-4c36-9995-6aa0f00e0010" providerId="AD" clId="Web-{5F1E348E-7353-61D8-C6BD-B8780B2D8DD1}" dt="2020-03-17T16:20:23.344" v="147"/>
          <ac:spMkLst>
            <pc:docMk/>
            <pc:sldMk cId="1341924466" sldId="874"/>
            <ac:spMk id="17" creationId="{CC718503-EA8A-4D9D-A27A-4D0ABC1DB03B}"/>
          </ac:spMkLst>
        </pc:spChg>
        <pc:spChg chg="del">
          <ac:chgData name="Kaltrina Rexhahmetaj" userId="S::kaltrina.rexhahmetaj@bvh.org::c314e318-93e0-4c36-9995-6aa0f00e0010" providerId="AD" clId="Web-{5F1E348E-7353-61D8-C6BD-B8780B2D8DD1}" dt="2020-03-17T16:20:23.344" v="146"/>
          <ac:spMkLst>
            <pc:docMk/>
            <pc:sldMk cId="1341924466" sldId="874"/>
            <ac:spMk id="18" creationId="{825E0AB3-C967-42E9-9AC7-E2DF9DB52964}"/>
          </ac:spMkLst>
        </pc:spChg>
        <pc:spChg chg="del">
          <ac:chgData name="Kaltrina Rexhahmetaj" userId="S::kaltrina.rexhahmetaj@bvh.org::c314e318-93e0-4c36-9995-6aa0f00e0010" providerId="AD" clId="Web-{5F1E348E-7353-61D8-C6BD-B8780B2D8DD1}" dt="2020-03-17T16:20:23.344" v="145"/>
          <ac:spMkLst>
            <pc:docMk/>
            <pc:sldMk cId="1341924466" sldId="874"/>
            <ac:spMk id="19" creationId="{4C2D21E7-117F-480C-86F2-B159941FA0EC}"/>
          </ac:spMkLst>
        </pc:spChg>
        <pc:spChg chg="add">
          <ac:chgData name="Kaltrina Rexhahmetaj" userId="S::kaltrina.rexhahmetaj@bvh.org::c314e318-93e0-4c36-9995-6aa0f00e0010" providerId="AD" clId="Web-{5F1E348E-7353-61D8-C6BD-B8780B2D8DD1}" dt="2020-03-17T16:20:35.344" v="160"/>
          <ac:spMkLst>
            <pc:docMk/>
            <pc:sldMk cId="1341924466" sldId="874"/>
            <ac:spMk id="20" creationId="{8C126EF7-7F52-4275-B88D-AE49AF370C70}"/>
          </ac:spMkLst>
        </pc:spChg>
        <pc:spChg chg="add">
          <ac:chgData name="Kaltrina Rexhahmetaj" userId="S::kaltrina.rexhahmetaj@bvh.org::c314e318-93e0-4c36-9995-6aa0f00e0010" providerId="AD" clId="Web-{5F1E348E-7353-61D8-C6BD-B8780B2D8DD1}" dt="2020-03-17T16:20:35.344" v="160"/>
          <ac:spMkLst>
            <pc:docMk/>
            <pc:sldMk cId="1341924466" sldId="874"/>
            <ac:spMk id="21" creationId="{F08B8ECD-6C76-4652-90AA-C127263A088D}"/>
          </ac:spMkLst>
        </pc:spChg>
        <pc:spChg chg="add">
          <ac:chgData name="Kaltrina Rexhahmetaj" userId="S::kaltrina.rexhahmetaj@bvh.org::c314e318-93e0-4c36-9995-6aa0f00e0010" providerId="AD" clId="Web-{5F1E348E-7353-61D8-C6BD-B8780B2D8DD1}" dt="2020-03-17T16:20:35.344" v="160"/>
          <ac:spMkLst>
            <pc:docMk/>
            <pc:sldMk cId="1341924466" sldId="874"/>
            <ac:spMk id="23" creationId="{F3396A2A-D4BC-482B-9371-EB7F6781457E}"/>
          </ac:spMkLst>
        </pc:spChg>
        <pc:spChg chg="add">
          <ac:chgData name="Kaltrina Rexhahmetaj" userId="S::kaltrina.rexhahmetaj@bvh.org::c314e318-93e0-4c36-9995-6aa0f00e0010" providerId="AD" clId="Web-{5F1E348E-7353-61D8-C6BD-B8780B2D8DD1}" dt="2020-03-17T16:20:35.344" v="160"/>
          <ac:spMkLst>
            <pc:docMk/>
            <pc:sldMk cId="1341924466" sldId="874"/>
            <ac:spMk id="24" creationId="{063EBC0E-8C10-4EA8-B46F-A0FE727DB13E}"/>
          </ac:spMkLst>
        </pc:spChg>
        <pc:spChg chg="add del mod">
          <ac:chgData name="Kaltrina Rexhahmetaj" userId="S::kaltrina.rexhahmetaj@bvh.org::c314e318-93e0-4c36-9995-6aa0f00e0010" providerId="AD" clId="Web-{5F1E348E-7353-61D8-C6BD-B8780B2D8DD1}" dt="2020-03-17T16:21:01.687" v="179"/>
          <ac:spMkLst>
            <pc:docMk/>
            <pc:sldMk cId="1341924466" sldId="874"/>
            <ac:spMk id="25" creationId="{9F62AA38-3F04-4933-BC60-72D5179DC2F6}"/>
          </ac:spMkLst>
        </pc:spChg>
        <pc:spChg chg="add del mod">
          <ac:chgData name="Kaltrina Rexhahmetaj" userId="S::kaltrina.rexhahmetaj@bvh.org::c314e318-93e0-4c36-9995-6aa0f00e0010" providerId="AD" clId="Web-{5F1E348E-7353-61D8-C6BD-B8780B2D8DD1}" dt="2020-03-17T16:20:40.594" v="162"/>
          <ac:spMkLst>
            <pc:docMk/>
            <pc:sldMk cId="1341924466" sldId="874"/>
            <ac:spMk id="26" creationId="{8BB73448-39BC-4C44-A46B-D0F95855BF91}"/>
          </ac:spMkLst>
        </pc:spChg>
        <pc:picChg chg="add">
          <ac:chgData name="Kaltrina Rexhahmetaj" userId="S::kaltrina.rexhahmetaj@bvh.org::c314e318-93e0-4c36-9995-6aa0f00e0010" providerId="AD" clId="Web-{5F1E348E-7353-61D8-C6BD-B8780B2D8DD1}" dt="2020-03-17T16:20:35.344" v="160"/>
          <ac:picMkLst>
            <pc:docMk/>
            <pc:sldMk cId="1341924466" sldId="874"/>
            <ac:picMk id="22" creationId="{6A5313F9-3898-4774-9055-20F36B0943E3}"/>
          </ac:picMkLst>
        </pc:picChg>
      </pc:sldChg>
      <pc:sldChg chg="addSp delSp modSp add replId modNotes">
        <pc:chgData name="Kaltrina Rexhahmetaj" userId="S::kaltrina.rexhahmetaj@bvh.org::c314e318-93e0-4c36-9995-6aa0f00e0010" providerId="AD" clId="Web-{5F1E348E-7353-61D8-C6BD-B8780B2D8DD1}" dt="2020-03-17T16:21:57.296" v="203"/>
        <pc:sldMkLst>
          <pc:docMk/>
          <pc:sldMk cId="3640243740" sldId="875"/>
        </pc:sldMkLst>
        <pc:spChg chg="add mod">
          <ac:chgData name="Kaltrina Rexhahmetaj" userId="S::kaltrina.rexhahmetaj@bvh.org::c314e318-93e0-4c36-9995-6aa0f00e0010" providerId="AD" clId="Web-{5F1E348E-7353-61D8-C6BD-B8780B2D8DD1}" dt="2020-03-17T16:21:40.593" v="201"/>
          <ac:spMkLst>
            <pc:docMk/>
            <pc:sldMk cId="3640243740" sldId="875"/>
            <ac:spMk id="4" creationId="{73548640-D99F-42A6-A407-19692EC81EFF}"/>
          </ac:spMkLst>
        </pc:spChg>
        <pc:spChg chg="del">
          <ac:chgData name="Kaltrina Rexhahmetaj" userId="S::kaltrina.rexhahmetaj@bvh.org::c314e318-93e0-4c36-9995-6aa0f00e0010" providerId="AD" clId="Web-{5F1E348E-7353-61D8-C6BD-B8780B2D8DD1}" dt="2020-03-17T16:21:10.281" v="186"/>
          <ac:spMkLst>
            <pc:docMk/>
            <pc:sldMk cId="3640243740" sldId="875"/>
            <ac:spMk id="5" creationId="{6DFC274B-42F6-4901-A4B8-4ADD9979DCC4}"/>
          </ac:spMkLst>
        </pc:spChg>
        <pc:spChg chg="add">
          <ac:chgData name="Kaltrina Rexhahmetaj" userId="S::kaltrina.rexhahmetaj@bvh.org::c314e318-93e0-4c36-9995-6aa0f00e0010" providerId="AD" clId="Web-{5F1E348E-7353-61D8-C6BD-B8780B2D8DD1}" dt="2020-03-17T16:21:22.437" v="187"/>
          <ac:spMkLst>
            <pc:docMk/>
            <pc:sldMk cId="3640243740" sldId="875"/>
            <ac:spMk id="13" creationId="{3C5D282A-2C64-4B0E-91F5-4F786096DDEE}"/>
          </ac:spMkLst>
        </pc:spChg>
        <pc:spChg chg="add">
          <ac:chgData name="Kaltrina Rexhahmetaj" userId="S::kaltrina.rexhahmetaj@bvh.org::c314e318-93e0-4c36-9995-6aa0f00e0010" providerId="AD" clId="Web-{5F1E348E-7353-61D8-C6BD-B8780B2D8DD1}" dt="2020-03-17T16:21:22.437" v="187"/>
          <ac:spMkLst>
            <pc:docMk/>
            <pc:sldMk cId="3640243740" sldId="875"/>
            <ac:spMk id="14" creationId="{7D900445-B423-40C1-A381-3424F09A211E}"/>
          </ac:spMkLst>
        </pc:spChg>
        <pc:spChg chg="add">
          <ac:chgData name="Kaltrina Rexhahmetaj" userId="S::kaltrina.rexhahmetaj@bvh.org::c314e318-93e0-4c36-9995-6aa0f00e0010" providerId="AD" clId="Web-{5F1E348E-7353-61D8-C6BD-B8780B2D8DD1}" dt="2020-03-17T16:21:22.437" v="187"/>
          <ac:spMkLst>
            <pc:docMk/>
            <pc:sldMk cId="3640243740" sldId="875"/>
            <ac:spMk id="15" creationId="{416A5CB8-B996-4593-9762-78E6130B6C81}"/>
          </ac:spMkLst>
        </pc:spChg>
        <pc:spChg chg="add">
          <ac:chgData name="Kaltrina Rexhahmetaj" userId="S::kaltrina.rexhahmetaj@bvh.org::c314e318-93e0-4c36-9995-6aa0f00e0010" providerId="AD" clId="Web-{5F1E348E-7353-61D8-C6BD-B8780B2D8DD1}" dt="2020-03-17T16:21:22.437" v="187"/>
          <ac:spMkLst>
            <pc:docMk/>
            <pc:sldMk cId="3640243740" sldId="875"/>
            <ac:spMk id="16" creationId="{18F16B7E-DFD6-4915-B93A-F87F02725167}"/>
          </ac:spMkLst>
        </pc:spChg>
        <pc:spChg chg="add del">
          <ac:chgData name="Kaltrina Rexhahmetaj" userId="S::kaltrina.rexhahmetaj@bvh.org::c314e318-93e0-4c36-9995-6aa0f00e0010" providerId="AD" clId="Web-{5F1E348E-7353-61D8-C6BD-B8780B2D8DD1}" dt="2020-03-17T16:21:38.062" v="200"/>
          <ac:spMkLst>
            <pc:docMk/>
            <pc:sldMk cId="3640243740" sldId="875"/>
            <ac:spMk id="17" creationId="{D76567B3-CD9D-407B-BE90-E3ADB98B431A}"/>
          </ac:spMkLst>
        </pc:spChg>
        <pc:spChg chg="del">
          <ac:chgData name="Kaltrina Rexhahmetaj" userId="S::kaltrina.rexhahmetaj@bvh.org::c314e318-93e0-4c36-9995-6aa0f00e0010" providerId="AD" clId="Web-{5F1E348E-7353-61D8-C6BD-B8780B2D8DD1}" dt="2020-03-17T16:21:10.110" v="185"/>
          <ac:spMkLst>
            <pc:docMk/>
            <pc:sldMk cId="3640243740" sldId="875"/>
            <ac:spMk id="20" creationId="{8C126EF7-7F52-4275-B88D-AE49AF370C70}"/>
          </ac:spMkLst>
        </pc:spChg>
        <pc:spChg chg="del">
          <ac:chgData name="Kaltrina Rexhahmetaj" userId="S::kaltrina.rexhahmetaj@bvh.org::c314e318-93e0-4c36-9995-6aa0f00e0010" providerId="AD" clId="Web-{5F1E348E-7353-61D8-C6BD-B8780B2D8DD1}" dt="2020-03-17T16:21:10.110" v="184"/>
          <ac:spMkLst>
            <pc:docMk/>
            <pc:sldMk cId="3640243740" sldId="875"/>
            <ac:spMk id="21" creationId="{F08B8ECD-6C76-4652-90AA-C127263A088D}"/>
          </ac:spMkLst>
        </pc:spChg>
        <pc:spChg chg="del">
          <ac:chgData name="Kaltrina Rexhahmetaj" userId="S::kaltrina.rexhahmetaj@bvh.org::c314e318-93e0-4c36-9995-6aa0f00e0010" providerId="AD" clId="Web-{5F1E348E-7353-61D8-C6BD-B8780B2D8DD1}" dt="2020-03-17T16:21:10.110" v="182"/>
          <ac:spMkLst>
            <pc:docMk/>
            <pc:sldMk cId="3640243740" sldId="875"/>
            <ac:spMk id="23" creationId="{F3396A2A-D4BC-482B-9371-EB7F6781457E}"/>
          </ac:spMkLst>
        </pc:spChg>
        <pc:spChg chg="del">
          <ac:chgData name="Kaltrina Rexhahmetaj" userId="S::kaltrina.rexhahmetaj@bvh.org::c314e318-93e0-4c36-9995-6aa0f00e0010" providerId="AD" clId="Web-{5F1E348E-7353-61D8-C6BD-B8780B2D8DD1}" dt="2020-03-17T16:21:10.094" v="181"/>
          <ac:spMkLst>
            <pc:docMk/>
            <pc:sldMk cId="3640243740" sldId="875"/>
            <ac:spMk id="24" creationId="{063EBC0E-8C10-4EA8-B46F-A0FE727DB13E}"/>
          </ac:spMkLst>
        </pc:spChg>
        <pc:picChg chg="add">
          <ac:chgData name="Kaltrina Rexhahmetaj" userId="S::kaltrina.rexhahmetaj@bvh.org::c314e318-93e0-4c36-9995-6aa0f00e0010" providerId="AD" clId="Web-{5F1E348E-7353-61D8-C6BD-B8780B2D8DD1}" dt="2020-03-17T16:21:22.437" v="187"/>
          <ac:picMkLst>
            <pc:docMk/>
            <pc:sldMk cId="3640243740" sldId="875"/>
            <ac:picMk id="11" creationId="{5EE21283-7364-4A98-A5A4-5A076C60ED00}"/>
          </ac:picMkLst>
        </pc:picChg>
        <pc:picChg chg="add">
          <ac:chgData name="Kaltrina Rexhahmetaj" userId="S::kaltrina.rexhahmetaj@bvh.org::c314e318-93e0-4c36-9995-6aa0f00e0010" providerId="AD" clId="Web-{5F1E348E-7353-61D8-C6BD-B8780B2D8DD1}" dt="2020-03-17T16:21:22.437" v="187"/>
          <ac:picMkLst>
            <pc:docMk/>
            <pc:sldMk cId="3640243740" sldId="875"/>
            <ac:picMk id="12" creationId="{35686562-1B8B-4E75-B411-2A79CE1A2A81}"/>
          </ac:picMkLst>
        </pc:picChg>
        <pc:picChg chg="del">
          <ac:chgData name="Kaltrina Rexhahmetaj" userId="S::kaltrina.rexhahmetaj@bvh.org::c314e318-93e0-4c36-9995-6aa0f00e0010" providerId="AD" clId="Web-{5F1E348E-7353-61D8-C6BD-B8780B2D8DD1}" dt="2020-03-17T16:21:10.110" v="183"/>
          <ac:picMkLst>
            <pc:docMk/>
            <pc:sldMk cId="3640243740" sldId="875"/>
            <ac:picMk id="22" creationId="{6A5313F9-3898-4774-9055-20F36B0943E3}"/>
          </ac:picMkLst>
        </pc:picChg>
      </pc:sldChg>
      <pc:sldChg chg="addSp delSp modSp add replId modNotes">
        <pc:chgData name="Kaltrina Rexhahmetaj" userId="S::kaltrina.rexhahmetaj@bvh.org::c314e318-93e0-4c36-9995-6aa0f00e0010" providerId="AD" clId="Web-{5F1E348E-7353-61D8-C6BD-B8780B2D8DD1}" dt="2020-03-17T16:23:42.327" v="257"/>
        <pc:sldMkLst>
          <pc:docMk/>
          <pc:sldMk cId="3480010175" sldId="876"/>
        </pc:sldMkLst>
        <pc:spChg chg="del">
          <ac:chgData name="Kaltrina Rexhahmetaj" userId="S::kaltrina.rexhahmetaj@bvh.org::c314e318-93e0-4c36-9995-6aa0f00e0010" providerId="AD" clId="Web-{5F1E348E-7353-61D8-C6BD-B8780B2D8DD1}" dt="2020-03-17T16:22:03.624" v="211"/>
          <ac:spMkLst>
            <pc:docMk/>
            <pc:sldMk cId="3480010175" sldId="876"/>
            <ac:spMk id="4" creationId="{73548640-D99F-42A6-A407-19692EC81EFF}"/>
          </ac:spMkLst>
        </pc:spChg>
        <pc:spChg chg="add del mod">
          <ac:chgData name="Kaltrina Rexhahmetaj" userId="S::kaltrina.rexhahmetaj@bvh.org::c314e318-93e0-4c36-9995-6aa0f00e0010" providerId="AD" clId="Web-{5F1E348E-7353-61D8-C6BD-B8780B2D8DD1}" dt="2020-03-17T16:22:58.858" v="224"/>
          <ac:spMkLst>
            <pc:docMk/>
            <pc:sldMk cId="3480010175" sldId="876"/>
            <ac:spMk id="5" creationId="{F49376D1-46E9-4CDB-9593-8D29ACF3D529}"/>
          </ac:spMkLst>
        </pc:spChg>
        <pc:spChg chg="del">
          <ac:chgData name="Kaltrina Rexhahmetaj" userId="S::kaltrina.rexhahmetaj@bvh.org::c314e318-93e0-4c36-9995-6aa0f00e0010" providerId="AD" clId="Web-{5F1E348E-7353-61D8-C6BD-B8780B2D8DD1}" dt="2020-03-17T16:22:03.468" v="208"/>
          <ac:spMkLst>
            <pc:docMk/>
            <pc:sldMk cId="3480010175" sldId="876"/>
            <ac:spMk id="13" creationId="{3C5D282A-2C64-4B0E-91F5-4F786096DDEE}"/>
          </ac:spMkLst>
        </pc:spChg>
        <pc:spChg chg="del">
          <ac:chgData name="Kaltrina Rexhahmetaj" userId="S::kaltrina.rexhahmetaj@bvh.org::c314e318-93e0-4c36-9995-6aa0f00e0010" providerId="AD" clId="Web-{5F1E348E-7353-61D8-C6BD-B8780B2D8DD1}" dt="2020-03-17T16:22:03.468" v="207"/>
          <ac:spMkLst>
            <pc:docMk/>
            <pc:sldMk cId="3480010175" sldId="876"/>
            <ac:spMk id="14" creationId="{7D900445-B423-40C1-A381-3424F09A211E}"/>
          </ac:spMkLst>
        </pc:spChg>
        <pc:spChg chg="del">
          <ac:chgData name="Kaltrina Rexhahmetaj" userId="S::kaltrina.rexhahmetaj@bvh.org::c314e318-93e0-4c36-9995-6aa0f00e0010" providerId="AD" clId="Web-{5F1E348E-7353-61D8-C6BD-B8780B2D8DD1}" dt="2020-03-17T16:22:03.468" v="206"/>
          <ac:spMkLst>
            <pc:docMk/>
            <pc:sldMk cId="3480010175" sldId="876"/>
            <ac:spMk id="15" creationId="{416A5CB8-B996-4593-9762-78E6130B6C81}"/>
          </ac:spMkLst>
        </pc:spChg>
        <pc:spChg chg="del">
          <ac:chgData name="Kaltrina Rexhahmetaj" userId="S::kaltrina.rexhahmetaj@bvh.org::c314e318-93e0-4c36-9995-6aa0f00e0010" providerId="AD" clId="Web-{5F1E348E-7353-61D8-C6BD-B8780B2D8DD1}" dt="2020-03-17T16:22:03.452" v="205"/>
          <ac:spMkLst>
            <pc:docMk/>
            <pc:sldMk cId="3480010175" sldId="876"/>
            <ac:spMk id="16" creationId="{18F16B7E-DFD6-4915-B93A-F87F02725167}"/>
          </ac:spMkLst>
        </pc:spChg>
        <pc:spChg chg="add">
          <ac:chgData name="Kaltrina Rexhahmetaj" userId="S::kaltrina.rexhahmetaj@bvh.org::c314e318-93e0-4c36-9995-6aa0f00e0010" providerId="AD" clId="Web-{5F1E348E-7353-61D8-C6BD-B8780B2D8DD1}" dt="2020-03-17T16:22:27.030" v="213"/>
          <ac:spMkLst>
            <pc:docMk/>
            <pc:sldMk cId="3480010175" sldId="876"/>
            <ac:spMk id="17" creationId="{F32EC9C5-92D4-4778-949B-6CE93AFC7892}"/>
          </ac:spMkLst>
        </pc:spChg>
        <pc:spChg chg="add">
          <ac:chgData name="Kaltrina Rexhahmetaj" userId="S::kaltrina.rexhahmetaj@bvh.org::c314e318-93e0-4c36-9995-6aa0f00e0010" providerId="AD" clId="Web-{5F1E348E-7353-61D8-C6BD-B8780B2D8DD1}" dt="2020-03-17T16:22:27.030" v="213"/>
          <ac:spMkLst>
            <pc:docMk/>
            <pc:sldMk cId="3480010175" sldId="876"/>
            <ac:spMk id="18" creationId="{9AA963EF-8927-4472-87B9-D1EE5B18F96B}"/>
          </ac:spMkLst>
        </pc:spChg>
        <pc:spChg chg="add">
          <ac:chgData name="Kaltrina Rexhahmetaj" userId="S::kaltrina.rexhahmetaj@bvh.org::c314e318-93e0-4c36-9995-6aa0f00e0010" providerId="AD" clId="Web-{5F1E348E-7353-61D8-C6BD-B8780B2D8DD1}" dt="2020-03-17T16:22:27.030" v="213"/>
          <ac:spMkLst>
            <pc:docMk/>
            <pc:sldMk cId="3480010175" sldId="876"/>
            <ac:spMk id="19" creationId="{84F0A89C-A38E-4B86-B367-FBB94ABAC3AE}"/>
          </ac:spMkLst>
        </pc:spChg>
        <pc:spChg chg="add">
          <ac:chgData name="Kaltrina Rexhahmetaj" userId="S::kaltrina.rexhahmetaj@bvh.org::c314e318-93e0-4c36-9995-6aa0f00e0010" providerId="AD" clId="Web-{5F1E348E-7353-61D8-C6BD-B8780B2D8DD1}" dt="2020-03-17T16:22:27.030" v="213"/>
          <ac:spMkLst>
            <pc:docMk/>
            <pc:sldMk cId="3480010175" sldId="876"/>
            <ac:spMk id="20" creationId="{5DE61FEC-5043-4C5F-998A-5196AE46A6C7}"/>
          </ac:spMkLst>
        </pc:spChg>
        <pc:spChg chg="add">
          <ac:chgData name="Kaltrina Rexhahmetaj" userId="S::kaltrina.rexhahmetaj@bvh.org::c314e318-93e0-4c36-9995-6aa0f00e0010" providerId="AD" clId="Web-{5F1E348E-7353-61D8-C6BD-B8780B2D8DD1}" dt="2020-03-17T16:22:27.030" v="213"/>
          <ac:spMkLst>
            <pc:docMk/>
            <pc:sldMk cId="3480010175" sldId="876"/>
            <ac:spMk id="21" creationId="{BA2E4DA5-1440-4F77-939E-60B7B8E387D4}"/>
          </ac:spMkLst>
        </pc:spChg>
        <pc:spChg chg="add">
          <ac:chgData name="Kaltrina Rexhahmetaj" userId="S::kaltrina.rexhahmetaj@bvh.org::c314e318-93e0-4c36-9995-6aa0f00e0010" providerId="AD" clId="Web-{5F1E348E-7353-61D8-C6BD-B8780B2D8DD1}" dt="2020-03-17T16:22:27.030" v="213"/>
          <ac:spMkLst>
            <pc:docMk/>
            <pc:sldMk cId="3480010175" sldId="876"/>
            <ac:spMk id="22" creationId="{52914629-AE05-4A6F-A274-48CFE3B052C8}"/>
          </ac:spMkLst>
        </pc:spChg>
        <pc:spChg chg="add">
          <ac:chgData name="Kaltrina Rexhahmetaj" userId="S::kaltrina.rexhahmetaj@bvh.org::c314e318-93e0-4c36-9995-6aa0f00e0010" providerId="AD" clId="Web-{5F1E348E-7353-61D8-C6BD-B8780B2D8DD1}" dt="2020-03-17T16:22:27.030" v="213"/>
          <ac:spMkLst>
            <pc:docMk/>
            <pc:sldMk cId="3480010175" sldId="876"/>
            <ac:spMk id="23" creationId="{BB504F23-F8C9-47B6-999B-9031A5D75DF0}"/>
          </ac:spMkLst>
        </pc:spChg>
        <pc:spChg chg="add">
          <ac:chgData name="Kaltrina Rexhahmetaj" userId="S::kaltrina.rexhahmetaj@bvh.org::c314e318-93e0-4c36-9995-6aa0f00e0010" providerId="AD" clId="Web-{5F1E348E-7353-61D8-C6BD-B8780B2D8DD1}" dt="2020-03-17T16:22:27.030" v="213"/>
          <ac:spMkLst>
            <pc:docMk/>
            <pc:sldMk cId="3480010175" sldId="876"/>
            <ac:spMk id="24" creationId="{13A410D6-A32D-4516-BAAF-E9DB7A58A6AA}"/>
          </ac:spMkLst>
        </pc:spChg>
        <pc:spChg chg="add">
          <ac:chgData name="Kaltrina Rexhahmetaj" userId="S::kaltrina.rexhahmetaj@bvh.org::c314e318-93e0-4c36-9995-6aa0f00e0010" providerId="AD" clId="Web-{5F1E348E-7353-61D8-C6BD-B8780B2D8DD1}" dt="2020-03-17T16:22:27.030" v="213"/>
          <ac:spMkLst>
            <pc:docMk/>
            <pc:sldMk cId="3480010175" sldId="876"/>
            <ac:spMk id="25" creationId="{37B105F2-B550-401F-AB5B-E0CB23054036}"/>
          </ac:spMkLst>
        </pc:spChg>
        <pc:spChg chg="add">
          <ac:chgData name="Kaltrina Rexhahmetaj" userId="S::kaltrina.rexhahmetaj@bvh.org::c314e318-93e0-4c36-9995-6aa0f00e0010" providerId="AD" clId="Web-{5F1E348E-7353-61D8-C6BD-B8780B2D8DD1}" dt="2020-03-17T16:22:27.030" v="213"/>
          <ac:spMkLst>
            <pc:docMk/>
            <pc:sldMk cId="3480010175" sldId="876"/>
            <ac:spMk id="26" creationId="{231F36FC-EFB1-401C-ABC7-C6BB04B0FFF7}"/>
          </ac:spMkLst>
        </pc:spChg>
        <pc:spChg chg="add">
          <ac:chgData name="Kaltrina Rexhahmetaj" userId="S::kaltrina.rexhahmetaj@bvh.org::c314e318-93e0-4c36-9995-6aa0f00e0010" providerId="AD" clId="Web-{5F1E348E-7353-61D8-C6BD-B8780B2D8DD1}" dt="2020-03-17T16:22:27.030" v="213"/>
          <ac:spMkLst>
            <pc:docMk/>
            <pc:sldMk cId="3480010175" sldId="876"/>
            <ac:spMk id="27" creationId="{4590FDA3-67E9-4CC2-B105-E603938E1F0C}"/>
          </ac:spMkLst>
        </pc:spChg>
        <pc:spChg chg="add">
          <ac:chgData name="Kaltrina Rexhahmetaj" userId="S::kaltrina.rexhahmetaj@bvh.org::c314e318-93e0-4c36-9995-6aa0f00e0010" providerId="AD" clId="Web-{5F1E348E-7353-61D8-C6BD-B8780B2D8DD1}" dt="2020-03-17T16:22:27.030" v="213"/>
          <ac:spMkLst>
            <pc:docMk/>
            <pc:sldMk cId="3480010175" sldId="876"/>
            <ac:spMk id="28" creationId="{47E3D8F6-EB2E-46AE-9DDF-418328B87B97}"/>
          </ac:spMkLst>
        </pc:spChg>
        <pc:spChg chg="add">
          <ac:chgData name="Kaltrina Rexhahmetaj" userId="S::kaltrina.rexhahmetaj@bvh.org::c314e318-93e0-4c36-9995-6aa0f00e0010" providerId="AD" clId="Web-{5F1E348E-7353-61D8-C6BD-B8780B2D8DD1}" dt="2020-03-17T16:22:27.030" v="213"/>
          <ac:spMkLst>
            <pc:docMk/>
            <pc:sldMk cId="3480010175" sldId="876"/>
            <ac:spMk id="29" creationId="{42B24784-45A1-482C-BAE9-92C75CE68E14}"/>
          </ac:spMkLst>
        </pc:spChg>
        <pc:spChg chg="add">
          <ac:chgData name="Kaltrina Rexhahmetaj" userId="S::kaltrina.rexhahmetaj@bvh.org::c314e318-93e0-4c36-9995-6aa0f00e0010" providerId="AD" clId="Web-{5F1E348E-7353-61D8-C6BD-B8780B2D8DD1}" dt="2020-03-17T16:22:27.030" v="213"/>
          <ac:spMkLst>
            <pc:docMk/>
            <pc:sldMk cId="3480010175" sldId="876"/>
            <ac:spMk id="30" creationId="{7A50E666-AB23-47D6-86FE-E649AE80429C}"/>
          </ac:spMkLst>
        </pc:spChg>
        <pc:spChg chg="add">
          <ac:chgData name="Kaltrina Rexhahmetaj" userId="S::kaltrina.rexhahmetaj@bvh.org::c314e318-93e0-4c36-9995-6aa0f00e0010" providerId="AD" clId="Web-{5F1E348E-7353-61D8-C6BD-B8780B2D8DD1}" dt="2020-03-17T16:22:27.030" v="213"/>
          <ac:spMkLst>
            <pc:docMk/>
            <pc:sldMk cId="3480010175" sldId="876"/>
            <ac:spMk id="31" creationId="{6601A4D1-4E6E-4094-8C1F-24AAE0267094}"/>
          </ac:spMkLst>
        </pc:spChg>
        <pc:spChg chg="add">
          <ac:chgData name="Kaltrina Rexhahmetaj" userId="S::kaltrina.rexhahmetaj@bvh.org::c314e318-93e0-4c36-9995-6aa0f00e0010" providerId="AD" clId="Web-{5F1E348E-7353-61D8-C6BD-B8780B2D8DD1}" dt="2020-03-17T16:22:27.030" v="213"/>
          <ac:spMkLst>
            <pc:docMk/>
            <pc:sldMk cId="3480010175" sldId="876"/>
            <ac:spMk id="32" creationId="{53DA053B-CB3F-4D44-ADBE-0B20A5409EDD}"/>
          </ac:spMkLst>
        </pc:spChg>
        <pc:spChg chg="add">
          <ac:chgData name="Kaltrina Rexhahmetaj" userId="S::kaltrina.rexhahmetaj@bvh.org::c314e318-93e0-4c36-9995-6aa0f00e0010" providerId="AD" clId="Web-{5F1E348E-7353-61D8-C6BD-B8780B2D8DD1}" dt="2020-03-17T16:22:27.030" v="213"/>
          <ac:spMkLst>
            <pc:docMk/>
            <pc:sldMk cId="3480010175" sldId="876"/>
            <ac:spMk id="33" creationId="{15C5960C-1395-412F-B622-333A8BE7880B}"/>
          </ac:spMkLst>
        </pc:spChg>
        <pc:spChg chg="add">
          <ac:chgData name="Kaltrina Rexhahmetaj" userId="S::kaltrina.rexhahmetaj@bvh.org::c314e318-93e0-4c36-9995-6aa0f00e0010" providerId="AD" clId="Web-{5F1E348E-7353-61D8-C6BD-B8780B2D8DD1}" dt="2020-03-17T16:22:27.030" v="213"/>
          <ac:spMkLst>
            <pc:docMk/>
            <pc:sldMk cId="3480010175" sldId="876"/>
            <ac:spMk id="34" creationId="{B1EB0FE3-1243-477C-B1F1-91DD3AF97DF9}"/>
          </ac:spMkLst>
        </pc:spChg>
        <pc:spChg chg="add">
          <ac:chgData name="Kaltrina Rexhahmetaj" userId="S::kaltrina.rexhahmetaj@bvh.org::c314e318-93e0-4c36-9995-6aa0f00e0010" providerId="AD" clId="Web-{5F1E348E-7353-61D8-C6BD-B8780B2D8DD1}" dt="2020-03-17T16:22:27.030" v="213"/>
          <ac:spMkLst>
            <pc:docMk/>
            <pc:sldMk cId="3480010175" sldId="876"/>
            <ac:spMk id="35" creationId="{730938FF-9971-4E70-9FF0-F0A2F0FE6B3E}"/>
          </ac:spMkLst>
        </pc:spChg>
        <pc:spChg chg="add">
          <ac:chgData name="Kaltrina Rexhahmetaj" userId="S::kaltrina.rexhahmetaj@bvh.org::c314e318-93e0-4c36-9995-6aa0f00e0010" providerId="AD" clId="Web-{5F1E348E-7353-61D8-C6BD-B8780B2D8DD1}" dt="2020-03-17T16:22:27.030" v="213"/>
          <ac:spMkLst>
            <pc:docMk/>
            <pc:sldMk cId="3480010175" sldId="876"/>
            <ac:spMk id="36" creationId="{4E8D751B-932D-4F05-9E63-900B8941713B}"/>
          </ac:spMkLst>
        </pc:spChg>
        <pc:spChg chg="add">
          <ac:chgData name="Kaltrina Rexhahmetaj" userId="S::kaltrina.rexhahmetaj@bvh.org::c314e318-93e0-4c36-9995-6aa0f00e0010" providerId="AD" clId="Web-{5F1E348E-7353-61D8-C6BD-B8780B2D8DD1}" dt="2020-03-17T16:22:27.030" v="213"/>
          <ac:spMkLst>
            <pc:docMk/>
            <pc:sldMk cId="3480010175" sldId="876"/>
            <ac:spMk id="37" creationId="{635D1D73-27B9-404A-A024-4E20EB0AAEA0}"/>
          </ac:spMkLst>
        </pc:spChg>
        <pc:spChg chg="add">
          <ac:chgData name="Kaltrina Rexhahmetaj" userId="S::kaltrina.rexhahmetaj@bvh.org::c314e318-93e0-4c36-9995-6aa0f00e0010" providerId="AD" clId="Web-{5F1E348E-7353-61D8-C6BD-B8780B2D8DD1}" dt="2020-03-17T16:22:27.030" v="213"/>
          <ac:spMkLst>
            <pc:docMk/>
            <pc:sldMk cId="3480010175" sldId="876"/>
            <ac:spMk id="38" creationId="{D33CD1A7-F147-4DA2-9C09-654C11441FB6}"/>
          </ac:spMkLst>
        </pc:spChg>
        <pc:spChg chg="add">
          <ac:chgData name="Kaltrina Rexhahmetaj" userId="S::kaltrina.rexhahmetaj@bvh.org::c314e318-93e0-4c36-9995-6aa0f00e0010" providerId="AD" clId="Web-{5F1E348E-7353-61D8-C6BD-B8780B2D8DD1}" dt="2020-03-17T16:22:27.030" v="213"/>
          <ac:spMkLst>
            <pc:docMk/>
            <pc:sldMk cId="3480010175" sldId="876"/>
            <ac:spMk id="39" creationId="{7E4C7D2E-A0CC-4C17-BC2B-3A6E0945C6E1}"/>
          </ac:spMkLst>
        </pc:spChg>
        <pc:spChg chg="add">
          <ac:chgData name="Kaltrina Rexhahmetaj" userId="S::kaltrina.rexhahmetaj@bvh.org::c314e318-93e0-4c36-9995-6aa0f00e0010" providerId="AD" clId="Web-{5F1E348E-7353-61D8-C6BD-B8780B2D8DD1}" dt="2020-03-17T16:22:27.030" v="213"/>
          <ac:spMkLst>
            <pc:docMk/>
            <pc:sldMk cId="3480010175" sldId="876"/>
            <ac:spMk id="40" creationId="{018ECB9A-BC61-48E6-8411-24C2C964D603}"/>
          </ac:spMkLst>
        </pc:spChg>
        <pc:spChg chg="add">
          <ac:chgData name="Kaltrina Rexhahmetaj" userId="S::kaltrina.rexhahmetaj@bvh.org::c314e318-93e0-4c36-9995-6aa0f00e0010" providerId="AD" clId="Web-{5F1E348E-7353-61D8-C6BD-B8780B2D8DD1}" dt="2020-03-17T16:22:27.030" v="213"/>
          <ac:spMkLst>
            <pc:docMk/>
            <pc:sldMk cId="3480010175" sldId="876"/>
            <ac:spMk id="41" creationId="{D323B6B0-D7A3-4A0F-A8B8-DF7FCDDC4546}"/>
          </ac:spMkLst>
        </pc:spChg>
        <pc:spChg chg="add">
          <ac:chgData name="Kaltrina Rexhahmetaj" userId="S::kaltrina.rexhahmetaj@bvh.org::c314e318-93e0-4c36-9995-6aa0f00e0010" providerId="AD" clId="Web-{5F1E348E-7353-61D8-C6BD-B8780B2D8DD1}" dt="2020-03-17T16:22:27.030" v="213"/>
          <ac:spMkLst>
            <pc:docMk/>
            <pc:sldMk cId="3480010175" sldId="876"/>
            <ac:spMk id="42" creationId="{5FF1F5F1-09CC-469B-9959-A347F5A053CC}"/>
          </ac:spMkLst>
        </pc:spChg>
        <pc:spChg chg="add del mod">
          <ac:chgData name="Kaltrina Rexhahmetaj" userId="S::kaltrina.rexhahmetaj@bvh.org::c314e318-93e0-4c36-9995-6aa0f00e0010" providerId="AD" clId="Web-{5F1E348E-7353-61D8-C6BD-B8780B2D8DD1}" dt="2020-03-17T16:23:42.327" v="257"/>
          <ac:spMkLst>
            <pc:docMk/>
            <pc:sldMk cId="3480010175" sldId="876"/>
            <ac:spMk id="43" creationId="{75AB9674-3493-48D2-BEB3-E999AEF6967D}"/>
          </ac:spMkLst>
        </pc:spChg>
        <pc:spChg chg="add del">
          <ac:chgData name="Kaltrina Rexhahmetaj" userId="S::kaltrina.rexhahmetaj@bvh.org::c314e318-93e0-4c36-9995-6aa0f00e0010" providerId="AD" clId="Web-{5F1E348E-7353-61D8-C6BD-B8780B2D8DD1}" dt="2020-03-17T16:22:48.233" v="216"/>
          <ac:spMkLst>
            <pc:docMk/>
            <pc:sldMk cId="3480010175" sldId="876"/>
            <ac:spMk id="44" creationId="{312D5211-BE1D-445D-BE4B-CED930C29110}"/>
          </ac:spMkLst>
        </pc:spChg>
        <pc:picChg chg="del">
          <ac:chgData name="Kaltrina Rexhahmetaj" userId="S::kaltrina.rexhahmetaj@bvh.org::c314e318-93e0-4c36-9995-6aa0f00e0010" providerId="AD" clId="Web-{5F1E348E-7353-61D8-C6BD-B8780B2D8DD1}" dt="2020-03-17T16:22:03.468" v="210"/>
          <ac:picMkLst>
            <pc:docMk/>
            <pc:sldMk cId="3480010175" sldId="876"/>
            <ac:picMk id="11" creationId="{5EE21283-7364-4A98-A5A4-5A076C60ED00}"/>
          </ac:picMkLst>
        </pc:picChg>
        <pc:picChg chg="del">
          <ac:chgData name="Kaltrina Rexhahmetaj" userId="S::kaltrina.rexhahmetaj@bvh.org::c314e318-93e0-4c36-9995-6aa0f00e0010" providerId="AD" clId="Web-{5F1E348E-7353-61D8-C6BD-B8780B2D8DD1}" dt="2020-03-17T16:22:03.468" v="209"/>
          <ac:picMkLst>
            <pc:docMk/>
            <pc:sldMk cId="3480010175" sldId="876"/>
            <ac:picMk id="12" creationId="{35686562-1B8B-4E75-B411-2A79CE1A2A81}"/>
          </ac:picMkLst>
        </pc:picChg>
      </pc:sldChg>
      <pc:sldChg chg="addSp delSp modSp add replId modNotes">
        <pc:chgData name="Kaltrina Rexhahmetaj" userId="S::kaltrina.rexhahmetaj@bvh.org::c314e318-93e0-4c36-9995-6aa0f00e0010" providerId="AD" clId="Web-{5F1E348E-7353-61D8-C6BD-B8780B2D8DD1}" dt="2020-03-17T16:25:35.263" v="311"/>
        <pc:sldMkLst>
          <pc:docMk/>
          <pc:sldMk cId="404766500" sldId="877"/>
        </pc:sldMkLst>
        <pc:spChg chg="add mod">
          <ac:chgData name="Kaltrina Rexhahmetaj" userId="S::kaltrina.rexhahmetaj@bvh.org::c314e318-93e0-4c36-9995-6aa0f00e0010" providerId="AD" clId="Web-{5F1E348E-7353-61D8-C6BD-B8780B2D8DD1}" dt="2020-03-17T16:24:04.608" v="268"/>
          <ac:spMkLst>
            <pc:docMk/>
            <pc:sldMk cId="404766500" sldId="877"/>
            <ac:spMk id="4" creationId="{4D2BCA23-003D-4CDF-80F7-98F40E62CF68}"/>
          </ac:spMkLst>
        </pc:spChg>
        <pc:spChg chg="del">
          <ac:chgData name="Kaltrina Rexhahmetaj" userId="S::kaltrina.rexhahmetaj@bvh.org::c314e318-93e0-4c36-9995-6aa0f00e0010" providerId="AD" clId="Web-{5F1E348E-7353-61D8-C6BD-B8780B2D8DD1}" dt="2020-03-17T16:23:19.358" v="254"/>
          <ac:spMkLst>
            <pc:docMk/>
            <pc:sldMk cId="404766500" sldId="877"/>
            <ac:spMk id="5" creationId="{F49376D1-46E9-4CDB-9593-8D29ACF3D529}"/>
          </ac:spMkLst>
        </pc:spChg>
        <pc:spChg chg="del">
          <ac:chgData name="Kaltrina Rexhahmetaj" userId="S::kaltrina.rexhahmetaj@bvh.org::c314e318-93e0-4c36-9995-6aa0f00e0010" providerId="AD" clId="Web-{5F1E348E-7353-61D8-C6BD-B8780B2D8DD1}" dt="2020-03-17T16:23:19.202" v="253"/>
          <ac:spMkLst>
            <pc:docMk/>
            <pc:sldMk cId="404766500" sldId="877"/>
            <ac:spMk id="17" creationId="{F32EC9C5-92D4-4778-949B-6CE93AFC7892}"/>
          </ac:spMkLst>
        </pc:spChg>
        <pc:spChg chg="del">
          <ac:chgData name="Kaltrina Rexhahmetaj" userId="S::kaltrina.rexhahmetaj@bvh.org::c314e318-93e0-4c36-9995-6aa0f00e0010" providerId="AD" clId="Web-{5F1E348E-7353-61D8-C6BD-B8780B2D8DD1}" dt="2020-03-17T16:23:19.202" v="252"/>
          <ac:spMkLst>
            <pc:docMk/>
            <pc:sldMk cId="404766500" sldId="877"/>
            <ac:spMk id="18" creationId="{9AA963EF-8927-4472-87B9-D1EE5B18F96B}"/>
          </ac:spMkLst>
        </pc:spChg>
        <pc:spChg chg="del">
          <ac:chgData name="Kaltrina Rexhahmetaj" userId="S::kaltrina.rexhahmetaj@bvh.org::c314e318-93e0-4c36-9995-6aa0f00e0010" providerId="AD" clId="Web-{5F1E348E-7353-61D8-C6BD-B8780B2D8DD1}" dt="2020-03-17T16:23:19.202" v="251"/>
          <ac:spMkLst>
            <pc:docMk/>
            <pc:sldMk cId="404766500" sldId="877"/>
            <ac:spMk id="19" creationId="{84F0A89C-A38E-4B86-B367-FBB94ABAC3AE}"/>
          </ac:spMkLst>
        </pc:spChg>
        <pc:spChg chg="del">
          <ac:chgData name="Kaltrina Rexhahmetaj" userId="S::kaltrina.rexhahmetaj@bvh.org::c314e318-93e0-4c36-9995-6aa0f00e0010" providerId="AD" clId="Web-{5F1E348E-7353-61D8-C6BD-B8780B2D8DD1}" dt="2020-03-17T16:23:19.202" v="250"/>
          <ac:spMkLst>
            <pc:docMk/>
            <pc:sldMk cId="404766500" sldId="877"/>
            <ac:spMk id="20" creationId="{5DE61FEC-5043-4C5F-998A-5196AE46A6C7}"/>
          </ac:spMkLst>
        </pc:spChg>
        <pc:spChg chg="del">
          <ac:chgData name="Kaltrina Rexhahmetaj" userId="S::kaltrina.rexhahmetaj@bvh.org::c314e318-93e0-4c36-9995-6aa0f00e0010" providerId="AD" clId="Web-{5F1E348E-7353-61D8-C6BD-B8780B2D8DD1}" dt="2020-03-17T16:23:19.186" v="249"/>
          <ac:spMkLst>
            <pc:docMk/>
            <pc:sldMk cId="404766500" sldId="877"/>
            <ac:spMk id="21" creationId="{BA2E4DA5-1440-4F77-939E-60B7B8E387D4}"/>
          </ac:spMkLst>
        </pc:spChg>
        <pc:spChg chg="del">
          <ac:chgData name="Kaltrina Rexhahmetaj" userId="S::kaltrina.rexhahmetaj@bvh.org::c314e318-93e0-4c36-9995-6aa0f00e0010" providerId="AD" clId="Web-{5F1E348E-7353-61D8-C6BD-B8780B2D8DD1}" dt="2020-03-17T16:23:19.186" v="248"/>
          <ac:spMkLst>
            <pc:docMk/>
            <pc:sldMk cId="404766500" sldId="877"/>
            <ac:spMk id="22" creationId="{52914629-AE05-4A6F-A274-48CFE3B052C8}"/>
          </ac:spMkLst>
        </pc:spChg>
        <pc:spChg chg="del">
          <ac:chgData name="Kaltrina Rexhahmetaj" userId="S::kaltrina.rexhahmetaj@bvh.org::c314e318-93e0-4c36-9995-6aa0f00e0010" providerId="AD" clId="Web-{5F1E348E-7353-61D8-C6BD-B8780B2D8DD1}" dt="2020-03-17T16:23:19.186" v="247"/>
          <ac:spMkLst>
            <pc:docMk/>
            <pc:sldMk cId="404766500" sldId="877"/>
            <ac:spMk id="23" creationId="{BB504F23-F8C9-47B6-999B-9031A5D75DF0}"/>
          </ac:spMkLst>
        </pc:spChg>
        <pc:spChg chg="del">
          <ac:chgData name="Kaltrina Rexhahmetaj" userId="S::kaltrina.rexhahmetaj@bvh.org::c314e318-93e0-4c36-9995-6aa0f00e0010" providerId="AD" clId="Web-{5F1E348E-7353-61D8-C6BD-B8780B2D8DD1}" dt="2020-03-17T16:23:19.186" v="246"/>
          <ac:spMkLst>
            <pc:docMk/>
            <pc:sldMk cId="404766500" sldId="877"/>
            <ac:spMk id="24" creationId="{13A410D6-A32D-4516-BAAF-E9DB7A58A6AA}"/>
          </ac:spMkLst>
        </pc:spChg>
        <pc:spChg chg="del">
          <ac:chgData name="Kaltrina Rexhahmetaj" userId="S::kaltrina.rexhahmetaj@bvh.org::c314e318-93e0-4c36-9995-6aa0f00e0010" providerId="AD" clId="Web-{5F1E348E-7353-61D8-C6BD-B8780B2D8DD1}" dt="2020-03-17T16:23:19.186" v="245"/>
          <ac:spMkLst>
            <pc:docMk/>
            <pc:sldMk cId="404766500" sldId="877"/>
            <ac:spMk id="25" creationId="{37B105F2-B550-401F-AB5B-E0CB23054036}"/>
          </ac:spMkLst>
        </pc:spChg>
        <pc:spChg chg="del">
          <ac:chgData name="Kaltrina Rexhahmetaj" userId="S::kaltrina.rexhahmetaj@bvh.org::c314e318-93e0-4c36-9995-6aa0f00e0010" providerId="AD" clId="Web-{5F1E348E-7353-61D8-C6BD-B8780B2D8DD1}" dt="2020-03-17T16:23:19.186" v="244"/>
          <ac:spMkLst>
            <pc:docMk/>
            <pc:sldMk cId="404766500" sldId="877"/>
            <ac:spMk id="26" creationId="{231F36FC-EFB1-401C-ABC7-C6BB04B0FFF7}"/>
          </ac:spMkLst>
        </pc:spChg>
        <pc:spChg chg="del">
          <ac:chgData name="Kaltrina Rexhahmetaj" userId="S::kaltrina.rexhahmetaj@bvh.org::c314e318-93e0-4c36-9995-6aa0f00e0010" providerId="AD" clId="Web-{5F1E348E-7353-61D8-C6BD-B8780B2D8DD1}" dt="2020-03-17T16:23:19.186" v="243"/>
          <ac:spMkLst>
            <pc:docMk/>
            <pc:sldMk cId="404766500" sldId="877"/>
            <ac:spMk id="27" creationId="{4590FDA3-67E9-4CC2-B105-E603938E1F0C}"/>
          </ac:spMkLst>
        </pc:spChg>
        <pc:spChg chg="del">
          <ac:chgData name="Kaltrina Rexhahmetaj" userId="S::kaltrina.rexhahmetaj@bvh.org::c314e318-93e0-4c36-9995-6aa0f00e0010" providerId="AD" clId="Web-{5F1E348E-7353-61D8-C6BD-B8780B2D8DD1}" dt="2020-03-17T16:23:19.186" v="242"/>
          <ac:spMkLst>
            <pc:docMk/>
            <pc:sldMk cId="404766500" sldId="877"/>
            <ac:spMk id="28" creationId="{47E3D8F6-EB2E-46AE-9DDF-418328B87B97}"/>
          </ac:spMkLst>
        </pc:spChg>
        <pc:spChg chg="del">
          <ac:chgData name="Kaltrina Rexhahmetaj" userId="S::kaltrina.rexhahmetaj@bvh.org::c314e318-93e0-4c36-9995-6aa0f00e0010" providerId="AD" clId="Web-{5F1E348E-7353-61D8-C6BD-B8780B2D8DD1}" dt="2020-03-17T16:23:19.186" v="241"/>
          <ac:spMkLst>
            <pc:docMk/>
            <pc:sldMk cId="404766500" sldId="877"/>
            <ac:spMk id="29" creationId="{42B24784-45A1-482C-BAE9-92C75CE68E14}"/>
          </ac:spMkLst>
        </pc:spChg>
        <pc:spChg chg="del">
          <ac:chgData name="Kaltrina Rexhahmetaj" userId="S::kaltrina.rexhahmetaj@bvh.org::c314e318-93e0-4c36-9995-6aa0f00e0010" providerId="AD" clId="Web-{5F1E348E-7353-61D8-C6BD-B8780B2D8DD1}" dt="2020-03-17T16:23:19.186" v="240"/>
          <ac:spMkLst>
            <pc:docMk/>
            <pc:sldMk cId="404766500" sldId="877"/>
            <ac:spMk id="30" creationId="{7A50E666-AB23-47D6-86FE-E649AE80429C}"/>
          </ac:spMkLst>
        </pc:spChg>
        <pc:spChg chg="del">
          <ac:chgData name="Kaltrina Rexhahmetaj" userId="S::kaltrina.rexhahmetaj@bvh.org::c314e318-93e0-4c36-9995-6aa0f00e0010" providerId="AD" clId="Web-{5F1E348E-7353-61D8-C6BD-B8780B2D8DD1}" dt="2020-03-17T16:23:19.186" v="239"/>
          <ac:spMkLst>
            <pc:docMk/>
            <pc:sldMk cId="404766500" sldId="877"/>
            <ac:spMk id="31" creationId="{6601A4D1-4E6E-4094-8C1F-24AAE0267094}"/>
          </ac:spMkLst>
        </pc:spChg>
        <pc:spChg chg="del">
          <ac:chgData name="Kaltrina Rexhahmetaj" userId="S::kaltrina.rexhahmetaj@bvh.org::c314e318-93e0-4c36-9995-6aa0f00e0010" providerId="AD" clId="Web-{5F1E348E-7353-61D8-C6BD-B8780B2D8DD1}" dt="2020-03-17T16:23:19.171" v="238"/>
          <ac:spMkLst>
            <pc:docMk/>
            <pc:sldMk cId="404766500" sldId="877"/>
            <ac:spMk id="32" creationId="{53DA053B-CB3F-4D44-ADBE-0B20A5409EDD}"/>
          </ac:spMkLst>
        </pc:spChg>
        <pc:spChg chg="del">
          <ac:chgData name="Kaltrina Rexhahmetaj" userId="S::kaltrina.rexhahmetaj@bvh.org::c314e318-93e0-4c36-9995-6aa0f00e0010" providerId="AD" clId="Web-{5F1E348E-7353-61D8-C6BD-B8780B2D8DD1}" dt="2020-03-17T16:23:19.171" v="237"/>
          <ac:spMkLst>
            <pc:docMk/>
            <pc:sldMk cId="404766500" sldId="877"/>
            <ac:spMk id="33" creationId="{15C5960C-1395-412F-B622-333A8BE7880B}"/>
          </ac:spMkLst>
        </pc:spChg>
        <pc:spChg chg="del">
          <ac:chgData name="Kaltrina Rexhahmetaj" userId="S::kaltrina.rexhahmetaj@bvh.org::c314e318-93e0-4c36-9995-6aa0f00e0010" providerId="AD" clId="Web-{5F1E348E-7353-61D8-C6BD-B8780B2D8DD1}" dt="2020-03-17T16:23:19.171" v="236"/>
          <ac:spMkLst>
            <pc:docMk/>
            <pc:sldMk cId="404766500" sldId="877"/>
            <ac:spMk id="34" creationId="{B1EB0FE3-1243-477C-B1F1-91DD3AF97DF9}"/>
          </ac:spMkLst>
        </pc:spChg>
        <pc:spChg chg="del">
          <ac:chgData name="Kaltrina Rexhahmetaj" userId="S::kaltrina.rexhahmetaj@bvh.org::c314e318-93e0-4c36-9995-6aa0f00e0010" providerId="AD" clId="Web-{5F1E348E-7353-61D8-C6BD-B8780B2D8DD1}" dt="2020-03-17T16:23:19.171" v="235"/>
          <ac:spMkLst>
            <pc:docMk/>
            <pc:sldMk cId="404766500" sldId="877"/>
            <ac:spMk id="35" creationId="{730938FF-9971-4E70-9FF0-F0A2F0FE6B3E}"/>
          </ac:spMkLst>
        </pc:spChg>
        <pc:spChg chg="del">
          <ac:chgData name="Kaltrina Rexhahmetaj" userId="S::kaltrina.rexhahmetaj@bvh.org::c314e318-93e0-4c36-9995-6aa0f00e0010" providerId="AD" clId="Web-{5F1E348E-7353-61D8-C6BD-B8780B2D8DD1}" dt="2020-03-17T16:23:19.171" v="234"/>
          <ac:spMkLst>
            <pc:docMk/>
            <pc:sldMk cId="404766500" sldId="877"/>
            <ac:spMk id="36" creationId="{4E8D751B-932D-4F05-9E63-900B8941713B}"/>
          </ac:spMkLst>
        </pc:spChg>
        <pc:spChg chg="del">
          <ac:chgData name="Kaltrina Rexhahmetaj" userId="S::kaltrina.rexhahmetaj@bvh.org::c314e318-93e0-4c36-9995-6aa0f00e0010" providerId="AD" clId="Web-{5F1E348E-7353-61D8-C6BD-B8780B2D8DD1}" dt="2020-03-17T16:23:19.171" v="233"/>
          <ac:spMkLst>
            <pc:docMk/>
            <pc:sldMk cId="404766500" sldId="877"/>
            <ac:spMk id="37" creationId="{635D1D73-27B9-404A-A024-4E20EB0AAEA0}"/>
          </ac:spMkLst>
        </pc:spChg>
        <pc:spChg chg="del">
          <ac:chgData name="Kaltrina Rexhahmetaj" userId="S::kaltrina.rexhahmetaj@bvh.org::c314e318-93e0-4c36-9995-6aa0f00e0010" providerId="AD" clId="Web-{5F1E348E-7353-61D8-C6BD-B8780B2D8DD1}" dt="2020-03-17T16:23:19.171" v="232"/>
          <ac:spMkLst>
            <pc:docMk/>
            <pc:sldMk cId="404766500" sldId="877"/>
            <ac:spMk id="38" creationId="{D33CD1A7-F147-4DA2-9C09-654C11441FB6}"/>
          </ac:spMkLst>
        </pc:spChg>
        <pc:spChg chg="del">
          <ac:chgData name="Kaltrina Rexhahmetaj" userId="S::kaltrina.rexhahmetaj@bvh.org::c314e318-93e0-4c36-9995-6aa0f00e0010" providerId="AD" clId="Web-{5F1E348E-7353-61D8-C6BD-B8780B2D8DD1}" dt="2020-03-17T16:23:19.171" v="231"/>
          <ac:spMkLst>
            <pc:docMk/>
            <pc:sldMk cId="404766500" sldId="877"/>
            <ac:spMk id="39" creationId="{7E4C7D2E-A0CC-4C17-BC2B-3A6E0945C6E1}"/>
          </ac:spMkLst>
        </pc:spChg>
        <pc:spChg chg="del">
          <ac:chgData name="Kaltrina Rexhahmetaj" userId="S::kaltrina.rexhahmetaj@bvh.org::c314e318-93e0-4c36-9995-6aa0f00e0010" providerId="AD" clId="Web-{5F1E348E-7353-61D8-C6BD-B8780B2D8DD1}" dt="2020-03-17T16:23:19.171" v="230"/>
          <ac:spMkLst>
            <pc:docMk/>
            <pc:sldMk cId="404766500" sldId="877"/>
            <ac:spMk id="40" creationId="{018ECB9A-BC61-48E6-8411-24C2C964D603}"/>
          </ac:spMkLst>
        </pc:spChg>
        <pc:spChg chg="del">
          <ac:chgData name="Kaltrina Rexhahmetaj" userId="S::kaltrina.rexhahmetaj@bvh.org::c314e318-93e0-4c36-9995-6aa0f00e0010" providerId="AD" clId="Web-{5F1E348E-7353-61D8-C6BD-B8780B2D8DD1}" dt="2020-03-17T16:23:19.171" v="229"/>
          <ac:spMkLst>
            <pc:docMk/>
            <pc:sldMk cId="404766500" sldId="877"/>
            <ac:spMk id="41" creationId="{D323B6B0-D7A3-4A0F-A8B8-DF7FCDDC4546}"/>
          </ac:spMkLst>
        </pc:spChg>
        <pc:spChg chg="del">
          <ac:chgData name="Kaltrina Rexhahmetaj" userId="S::kaltrina.rexhahmetaj@bvh.org::c314e318-93e0-4c36-9995-6aa0f00e0010" providerId="AD" clId="Web-{5F1E348E-7353-61D8-C6BD-B8780B2D8DD1}" dt="2020-03-17T16:23:19.171" v="228"/>
          <ac:spMkLst>
            <pc:docMk/>
            <pc:sldMk cId="404766500" sldId="877"/>
            <ac:spMk id="42" creationId="{5FF1F5F1-09CC-469B-9959-A347F5A053CC}"/>
          </ac:spMkLst>
        </pc:spChg>
        <pc:spChg chg="del">
          <ac:chgData name="Kaltrina Rexhahmetaj" userId="S::kaltrina.rexhahmetaj@bvh.org::c314e318-93e0-4c36-9995-6aa0f00e0010" providerId="AD" clId="Web-{5F1E348E-7353-61D8-C6BD-B8780B2D8DD1}" dt="2020-03-17T16:23:19.155" v="227"/>
          <ac:spMkLst>
            <pc:docMk/>
            <pc:sldMk cId="404766500" sldId="877"/>
            <ac:spMk id="43" creationId="{75AB9674-3493-48D2-BEB3-E999AEF6967D}"/>
          </ac:spMkLst>
        </pc:spChg>
        <pc:spChg chg="add">
          <ac:chgData name="Kaltrina Rexhahmetaj" userId="S::kaltrina.rexhahmetaj@bvh.org::c314e318-93e0-4c36-9995-6aa0f00e0010" providerId="AD" clId="Web-{5F1E348E-7353-61D8-C6BD-B8780B2D8DD1}" dt="2020-03-17T16:23:45.545" v="258"/>
          <ac:spMkLst>
            <pc:docMk/>
            <pc:sldMk cId="404766500" sldId="877"/>
            <ac:spMk id="45" creationId="{E092D5F2-AEF9-4E4E-8D92-6BC094027E4C}"/>
          </ac:spMkLst>
        </pc:spChg>
        <pc:spChg chg="add">
          <ac:chgData name="Kaltrina Rexhahmetaj" userId="S::kaltrina.rexhahmetaj@bvh.org::c314e318-93e0-4c36-9995-6aa0f00e0010" providerId="AD" clId="Web-{5F1E348E-7353-61D8-C6BD-B8780B2D8DD1}" dt="2020-03-17T16:23:45.545" v="258"/>
          <ac:spMkLst>
            <pc:docMk/>
            <pc:sldMk cId="404766500" sldId="877"/>
            <ac:spMk id="46" creationId="{AFA963CE-43CE-4769-9B04-E4CF85C41F57}"/>
          </ac:spMkLst>
        </pc:spChg>
        <pc:spChg chg="add">
          <ac:chgData name="Kaltrina Rexhahmetaj" userId="S::kaltrina.rexhahmetaj@bvh.org::c314e318-93e0-4c36-9995-6aa0f00e0010" providerId="AD" clId="Web-{5F1E348E-7353-61D8-C6BD-B8780B2D8DD1}" dt="2020-03-17T16:23:45.545" v="258"/>
          <ac:spMkLst>
            <pc:docMk/>
            <pc:sldMk cId="404766500" sldId="877"/>
            <ac:spMk id="47" creationId="{C70B2EC3-1868-4FDB-B19C-8A42AAB404EB}"/>
          </ac:spMkLst>
        </pc:spChg>
        <pc:spChg chg="add del mod">
          <ac:chgData name="Kaltrina Rexhahmetaj" userId="S::kaltrina.rexhahmetaj@bvh.org::c314e318-93e0-4c36-9995-6aa0f00e0010" providerId="AD" clId="Web-{5F1E348E-7353-61D8-C6BD-B8780B2D8DD1}" dt="2020-03-17T16:25:35.263" v="311"/>
          <ac:spMkLst>
            <pc:docMk/>
            <pc:sldMk cId="404766500" sldId="877"/>
            <ac:spMk id="48" creationId="{30B2999F-8484-4013-BA9F-42286972E6CE}"/>
          </ac:spMkLst>
        </pc:spChg>
        <pc:spChg chg="add del">
          <ac:chgData name="Kaltrina Rexhahmetaj" userId="S::kaltrina.rexhahmetaj@bvh.org::c314e318-93e0-4c36-9995-6aa0f00e0010" providerId="AD" clId="Web-{5F1E348E-7353-61D8-C6BD-B8780B2D8DD1}" dt="2020-03-17T16:24:02.170" v="267"/>
          <ac:spMkLst>
            <pc:docMk/>
            <pc:sldMk cId="404766500" sldId="877"/>
            <ac:spMk id="49" creationId="{DBB5983E-5225-4FF9-BB5C-43EED62AD1AC}"/>
          </ac:spMkLst>
        </pc:spChg>
        <pc:picChg chg="add">
          <ac:chgData name="Kaltrina Rexhahmetaj" userId="S::kaltrina.rexhahmetaj@bvh.org::c314e318-93e0-4c36-9995-6aa0f00e0010" providerId="AD" clId="Web-{5F1E348E-7353-61D8-C6BD-B8780B2D8DD1}" dt="2020-03-17T16:23:45.545" v="258"/>
          <ac:picMkLst>
            <pc:docMk/>
            <pc:sldMk cId="404766500" sldId="877"/>
            <ac:picMk id="44" creationId="{788D3C48-DAE5-4ED2-B3F1-DE0E510D25DC}"/>
          </ac:picMkLst>
        </pc:picChg>
      </pc:sldChg>
      <pc:sldChg chg="addSp delSp modSp add replId modNotes">
        <pc:chgData name="Kaltrina Rexhahmetaj" userId="S::kaltrina.rexhahmetaj@bvh.org::c314e318-93e0-4c36-9995-6aa0f00e0010" providerId="AD" clId="Web-{5F1E348E-7353-61D8-C6BD-B8780B2D8DD1}" dt="2020-03-17T16:25:41.857" v="312"/>
        <pc:sldMkLst>
          <pc:docMk/>
          <pc:sldMk cId="3409999980" sldId="878"/>
        </pc:sldMkLst>
        <pc:spChg chg="del">
          <ac:chgData name="Kaltrina Rexhahmetaj" userId="S::kaltrina.rexhahmetaj@bvh.org::c314e318-93e0-4c36-9995-6aa0f00e0010" providerId="AD" clId="Web-{5F1E348E-7353-61D8-C6BD-B8780B2D8DD1}" dt="2020-03-17T16:24:25.545" v="277"/>
          <ac:spMkLst>
            <pc:docMk/>
            <pc:sldMk cId="3409999980" sldId="878"/>
            <ac:spMk id="4" creationId="{4D2BCA23-003D-4CDF-80F7-98F40E62CF68}"/>
          </ac:spMkLst>
        </pc:spChg>
        <pc:spChg chg="add mod">
          <ac:chgData name="Kaltrina Rexhahmetaj" userId="S::kaltrina.rexhahmetaj@bvh.org::c314e318-93e0-4c36-9995-6aa0f00e0010" providerId="AD" clId="Web-{5F1E348E-7353-61D8-C6BD-B8780B2D8DD1}" dt="2020-03-17T16:25:11.482" v="296"/>
          <ac:spMkLst>
            <pc:docMk/>
            <pc:sldMk cId="3409999980" sldId="878"/>
            <ac:spMk id="5" creationId="{292BBE9B-C410-4B42-BD92-87F1E5761E50}"/>
          </ac:spMkLst>
        </pc:spChg>
        <pc:spChg chg="add">
          <ac:chgData name="Kaltrina Rexhahmetaj" userId="S::kaltrina.rexhahmetaj@bvh.org::c314e318-93e0-4c36-9995-6aa0f00e0010" providerId="AD" clId="Web-{5F1E348E-7353-61D8-C6BD-B8780B2D8DD1}" dt="2020-03-17T16:24:40.764" v="279"/>
          <ac:spMkLst>
            <pc:docMk/>
            <pc:sldMk cId="3409999980" sldId="878"/>
            <ac:spMk id="11" creationId="{3A1CCF47-18F3-472D-B7C1-D256970CD159}"/>
          </ac:spMkLst>
        </pc:spChg>
        <pc:spChg chg="add">
          <ac:chgData name="Kaltrina Rexhahmetaj" userId="S::kaltrina.rexhahmetaj@bvh.org::c314e318-93e0-4c36-9995-6aa0f00e0010" providerId="AD" clId="Web-{5F1E348E-7353-61D8-C6BD-B8780B2D8DD1}" dt="2020-03-17T16:24:40.764" v="279"/>
          <ac:spMkLst>
            <pc:docMk/>
            <pc:sldMk cId="3409999980" sldId="878"/>
            <ac:spMk id="12" creationId="{5B81DD0E-C8C3-46E6-930D-4A4EF9ED1BFE}"/>
          </ac:spMkLst>
        </pc:spChg>
        <pc:spChg chg="add">
          <ac:chgData name="Kaltrina Rexhahmetaj" userId="S::kaltrina.rexhahmetaj@bvh.org::c314e318-93e0-4c36-9995-6aa0f00e0010" providerId="AD" clId="Web-{5F1E348E-7353-61D8-C6BD-B8780B2D8DD1}" dt="2020-03-17T16:24:40.764" v="279"/>
          <ac:spMkLst>
            <pc:docMk/>
            <pc:sldMk cId="3409999980" sldId="878"/>
            <ac:spMk id="13" creationId="{A3D4C1DF-D330-4616-B53E-F70E64696B88}"/>
          </ac:spMkLst>
        </pc:spChg>
        <pc:spChg chg="add">
          <ac:chgData name="Kaltrina Rexhahmetaj" userId="S::kaltrina.rexhahmetaj@bvh.org::c314e318-93e0-4c36-9995-6aa0f00e0010" providerId="AD" clId="Web-{5F1E348E-7353-61D8-C6BD-B8780B2D8DD1}" dt="2020-03-17T16:24:40.764" v="279"/>
          <ac:spMkLst>
            <pc:docMk/>
            <pc:sldMk cId="3409999980" sldId="878"/>
            <ac:spMk id="14" creationId="{5269245B-2239-445D-8F82-B35C2D15C6DF}"/>
          </ac:spMkLst>
        </pc:spChg>
        <pc:spChg chg="add">
          <ac:chgData name="Kaltrina Rexhahmetaj" userId="S::kaltrina.rexhahmetaj@bvh.org::c314e318-93e0-4c36-9995-6aa0f00e0010" providerId="AD" clId="Web-{5F1E348E-7353-61D8-C6BD-B8780B2D8DD1}" dt="2020-03-17T16:24:40.764" v="279"/>
          <ac:spMkLst>
            <pc:docMk/>
            <pc:sldMk cId="3409999980" sldId="878"/>
            <ac:spMk id="15" creationId="{FBE15FF6-0080-4329-B52C-D3AB64B2FAB7}"/>
          </ac:spMkLst>
        </pc:spChg>
        <pc:spChg chg="add">
          <ac:chgData name="Kaltrina Rexhahmetaj" userId="S::kaltrina.rexhahmetaj@bvh.org::c314e318-93e0-4c36-9995-6aa0f00e0010" providerId="AD" clId="Web-{5F1E348E-7353-61D8-C6BD-B8780B2D8DD1}" dt="2020-03-17T16:24:40.764" v="279"/>
          <ac:spMkLst>
            <pc:docMk/>
            <pc:sldMk cId="3409999980" sldId="878"/>
            <ac:spMk id="16" creationId="{0146B248-86F4-4AA1-B147-A575DD1393A6}"/>
          </ac:spMkLst>
        </pc:spChg>
        <pc:spChg chg="add">
          <ac:chgData name="Kaltrina Rexhahmetaj" userId="S::kaltrina.rexhahmetaj@bvh.org::c314e318-93e0-4c36-9995-6aa0f00e0010" providerId="AD" clId="Web-{5F1E348E-7353-61D8-C6BD-B8780B2D8DD1}" dt="2020-03-17T16:24:40.764" v="279"/>
          <ac:spMkLst>
            <pc:docMk/>
            <pc:sldMk cId="3409999980" sldId="878"/>
            <ac:spMk id="17" creationId="{9F7F9061-56E6-463D-940A-F405B623526C}"/>
          </ac:spMkLst>
        </pc:spChg>
        <pc:spChg chg="add">
          <ac:chgData name="Kaltrina Rexhahmetaj" userId="S::kaltrina.rexhahmetaj@bvh.org::c314e318-93e0-4c36-9995-6aa0f00e0010" providerId="AD" clId="Web-{5F1E348E-7353-61D8-C6BD-B8780B2D8DD1}" dt="2020-03-17T16:24:40.764" v="279"/>
          <ac:spMkLst>
            <pc:docMk/>
            <pc:sldMk cId="3409999980" sldId="878"/>
            <ac:spMk id="18" creationId="{BEC642B5-19E0-4F61-BAEE-49284846B356}"/>
          </ac:spMkLst>
        </pc:spChg>
        <pc:spChg chg="add">
          <ac:chgData name="Kaltrina Rexhahmetaj" userId="S::kaltrina.rexhahmetaj@bvh.org::c314e318-93e0-4c36-9995-6aa0f00e0010" providerId="AD" clId="Web-{5F1E348E-7353-61D8-C6BD-B8780B2D8DD1}" dt="2020-03-17T16:24:40.764" v="279"/>
          <ac:spMkLst>
            <pc:docMk/>
            <pc:sldMk cId="3409999980" sldId="878"/>
            <ac:spMk id="19" creationId="{F82444D5-FDF9-46ED-A55E-19780E74BEFB}"/>
          </ac:spMkLst>
        </pc:spChg>
        <pc:spChg chg="add">
          <ac:chgData name="Kaltrina Rexhahmetaj" userId="S::kaltrina.rexhahmetaj@bvh.org::c314e318-93e0-4c36-9995-6aa0f00e0010" providerId="AD" clId="Web-{5F1E348E-7353-61D8-C6BD-B8780B2D8DD1}" dt="2020-03-17T16:24:40.764" v="279"/>
          <ac:spMkLst>
            <pc:docMk/>
            <pc:sldMk cId="3409999980" sldId="878"/>
            <ac:spMk id="20" creationId="{5F4570DE-D8D0-4F3B-BAAD-F9E961932ECF}"/>
          </ac:spMkLst>
        </pc:spChg>
        <pc:spChg chg="add del">
          <ac:chgData name="Kaltrina Rexhahmetaj" userId="S::kaltrina.rexhahmetaj@bvh.org::c314e318-93e0-4c36-9995-6aa0f00e0010" providerId="AD" clId="Web-{5F1E348E-7353-61D8-C6BD-B8780B2D8DD1}" dt="2020-03-17T16:25:41.857" v="312"/>
          <ac:spMkLst>
            <pc:docMk/>
            <pc:sldMk cId="3409999980" sldId="878"/>
            <ac:spMk id="21" creationId="{F72B797F-8CEE-4A42-8A3E-4DD2DB6D5CF4}"/>
          </ac:spMkLst>
        </pc:spChg>
        <pc:spChg chg="add del mod">
          <ac:chgData name="Kaltrina Rexhahmetaj" userId="S::kaltrina.rexhahmetaj@bvh.org::c314e318-93e0-4c36-9995-6aa0f00e0010" providerId="AD" clId="Web-{5F1E348E-7353-61D8-C6BD-B8780B2D8DD1}" dt="2020-03-17T16:25:08.185" v="295"/>
          <ac:spMkLst>
            <pc:docMk/>
            <pc:sldMk cId="3409999980" sldId="878"/>
            <ac:spMk id="22" creationId="{78A1E97C-3C4F-4700-BC8A-6D8293038D3F}"/>
          </ac:spMkLst>
        </pc:spChg>
        <pc:spChg chg="del">
          <ac:chgData name="Kaltrina Rexhahmetaj" userId="S::kaltrina.rexhahmetaj@bvh.org::c314e318-93e0-4c36-9995-6aa0f00e0010" providerId="AD" clId="Web-{5F1E348E-7353-61D8-C6BD-B8780B2D8DD1}" dt="2020-03-17T16:24:25.389" v="275"/>
          <ac:spMkLst>
            <pc:docMk/>
            <pc:sldMk cId="3409999980" sldId="878"/>
            <ac:spMk id="45" creationId="{E092D5F2-AEF9-4E4E-8D92-6BC094027E4C}"/>
          </ac:spMkLst>
        </pc:spChg>
        <pc:spChg chg="del">
          <ac:chgData name="Kaltrina Rexhahmetaj" userId="S::kaltrina.rexhahmetaj@bvh.org::c314e318-93e0-4c36-9995-6aa0f00e0010" providerId="AD" clId="Web-{5F1E348E-7353-61D8-C6BD-B8780B2D8DD1}" dt="2020-03-17T16:24:25.389" v="274"/>
          <ac:spMkLst>
            <pc:docMk/>
            <pc:sldMk cId="3409999980" sldId="878"/>
            <ac:spMk id="46" creationId="{AFA963CE-43CE-4769-9B04-E4CF85C41F57}"/>
          </ac:spMkLst>
        </pc:spChg>
        <pc:spChg chg="del">
          <ac:chgData name="Kaltrina Rexhahmetaj" userId="S::kaltrina.rexhahmetaj@bvh.org::c314e318-93e0-4c36-9995-6aa0f00e0010" providerId="AD" clId="Web-{5F1E348E-7353-61D8-C6BD-B8780B2D8DD1}" dt="2020-03-17T16:24:25.389" v="273"/>
          <ac:spMkLst>
            <pc:docMk/>
            <pc:sldMk cId="3409999980" sldId="878"/>
            <ac:spMk id="47" creationId="{C70B2EC3-1868-4FDB-B19C-8A42AAB404EB}"/>
          </ac:spMkLst>
        </pc:spChg>
        <pc:spChg chg="del">
          <ac:chgData name="Kaltrina Rexhahmetaj" userId="S::kaltrina.rexhahmetaj@bvh.org::c314e318-93e0-4c36-9995-6aa0f00e0010" providerId="AD" clId="Web-{5F1E348E-7353-61D8-C6BD-B8780B2D8DD1}" dt="2020-03-17T16:24:25.373" v="272"/>
          <ac:spMkLst>
            <pc:docMk/>
            <pc:sldMk cId="3409999980" sldId="878"/>
            <ac:spMk id="48" creationId="{30B2999F-8484-4013-BA9F-42286972E6CE}"/>
          </ac:spMkLst>
        </pc:spChg>
        <pc:picChg chg="del">
          <ac:chgData name="Kaltrina Rexhahmetaj" userId="S::kaltrina.rexhahmetaj@bvh.org::c314e318-93e0-4c36-9995-6aa0f00e0010" providerId="AD" clId="Web-{5F1E348E-7353-61D8-C6BD-B8780B2D8DD1}" dt="2020-03-17T16:24:25.389" v="276"/>
          <ac:picMkLst>
            <pc:docMk/>
            <pc:sldMk cId="3409999980" sldId="878"/>
            <ac:picMk id="44" creationId="{788D3C48-DAE5-4ED2-B3F1-DE0E510D25DC}"/>
          </ac:picMkLst>
        </pc:picChg>
      </pc:sldChg>
      <pc:sldChg chg="addSp delSp modSp add replId">
        <pc:chgData name="Kaltrina Rexhahmetaj" userId="S::kaltrina.rexhahmetaj@bvh.org::c314e318-93e0-4c36-9995-6aa0f00e0010" providerId="AD" clId="Web-{5F1E348E-7353-61D8-C6BD-B8780B2D8DD1}" dt="2020-03-17T16:26:39.497" v="332"/>
        <pc:sldMkLst>
          <pc:docMk/>
          <pc:sldMk cId="704886492" sldId="879"/>
        </pc:sldMkLst>
        <pc:spChg chg="add mod">
          <ac:chgData name="Kaltrina Rexhahmetaj" userId="S::kaltrina.rexhahmetaj@bvh.org::c314e318-93e0-4c36-9995-6aa0f00e0010" providerId="AD" clId="Web-{5F1E348E-7353-61D8-C6BD-B8780B2D8DD1}" dt="2020-03-17T16:26:24.138" v="329"/>
          <ac:spMkLst>
            <pc:docMk/>
            <pc:sldMk cId="704886492" sldId="879"/>
            <ac:spMk id="4" creationId="{D046E019-A5CB-4EE6-8D88-F706A72E0B70}"/>
          </ac:spMkLst>
        </pc:spChg>
        <pc:spChg chg="del">
          <ac:chgData name="Kaltrina Rexhahmetaj" userId="S::kaltrina.rexhahmetaj@bvh.org::c314e318-93e0-4c36-9995-6aa0f00e0010" providerId="AD" clId="Web-{5F1E348E-7353-61D8-C6BD-B8780B2D8DD1}" dt="2020-03-17T16:25:28.686" v="309"/>
          <ac:spMkLst>
            <pc:docMk/>
            <pc:sldMk cId="704886492" sldId="879"/>
            <ac:spMk id="5" creationId="{292BBE9B-C410-4B42-BD92-87F1E5761E50}"/>
          </ac:spMkLst>
        </pc:spChg>
        <pc:spChg chg="del">
          <ac:chgData name="Kaltrina Rexhahmetaj" userId="S::kaltrina.rexhahmetaj@bvh.org::c314e318-93e0-4c36-9995-6aa0f00e0010" providerId="AD" clId="Web-{5F1E348E-7353-61D8-C6BD-B8780B2D8DD1}" dt="2020-03-17T16:25:28.513" v="308"/>
          <ac:spMkLst>
            <pc:docMk/>
            <pc:sldMk cId="704886492" sldId="879"/>
            <ac:spMk id="11" creationId="{3A1CCF47-18F3-472D-B7C1-D256970CD159}"/>
          </ac:spMkLst>
        </pc:spChg>
        <pc:spChg chg="del">
          <ac:chgData name="Kaltrina Rexhahmetaj" userId="S::kaltrina.rexhahmetaj@bvh.org::c314e318-93e0-4c36-9995-6aa0f00e0010" providerId="AD" clId="Web-{5F1E348E-7353-61D8-C6BD-B8780B2D8DD1}" dt="2020-03-17T16:25:28.513" v="307"/>
          <ac:spMkLst>
            <pc:docMk/>
            <pc:sldMk cId="704886492" sldId="879"/>
            <ac:spMk id="12" creationId="{5B81DD0E-C8C3-46E6-930D-4A4EF9ED1BFE}"/>
          </ac:spMkLst>
        </pc:spChg>
        <pc:spChg chg="del">
          <ac:chgData name="Kaltrina Rexhahmetaj" userId="S::kaltrina.rexhahmetaj@bvh.org::c314e318-93e0-4c36-9995-6aa0f00e0010" providerId="AD" clId="Web-{5F1E348E-7353-61D8-C6BD-B8780B2D8DD1}" dt="2020-03-17T16:25:28.513" v="306"/>
          <ac:spMkLst>
            <pc:docMk/>
            <pc:sldMk cId="704886492" sldId="879"/>
            <ac:spMk id="13" creationId="{A3D4C1DF-D330-4616-B53E-F70E64696B88}"/>
          </ac:spMkLst>
        </pc:spChg>
        <pc:spChg chg="del">
          <ac:chgData name="Kaltrina Rexhahmetaj" userId="S::kaltrina.rexhahmetaj@bvh.org::c314e318-93e0-4c36-9995-6aa0f00e0010" providerId="AD" clId="Web-{5F1E348E-7353-61D8-C6BD-B8780B2D8DD1}" dt="2020-03-17T16:25:28.513" v="305"/>
          <ac:spMkLst>
            <pc:docMk/>
            <pc:sldMk cId="704886492" sldId="879"/>
            <ac:spMk id="14" creationId="{5269245B-2239-445D-8F82-B35C2D15C6DF}"/>
          </ac:spMkLst>
        </pc:spChg>
        <pc:spChg chg="del">
          <ac:chgData name="Kaltrina Rexhahmetaj" userId="S::kaltrina.rexhahmetaj@bvh.org::c314e318-93e0-4c36-9995-6aa0f00e0010" providerId="AD" clId="Web-{5F1E348E-7353-61D8-C6BD-B8780B2D8DD1}" dt="2020-03-17T16:25:28.513" v="304"/>
          <ac:spMkLst>
            <pc:docMk/>
            <pc:sldMk cId="704886492" sldId="879"/>
            <ac:spMk id="15" creationId="{FBE15FF6-0080-4329-B52C-D3AB64B2FAB7}"/>
          </ac:spMkLst>
        </pc:spChg>
        <pc:spChg chg="del">
          <ac:chgData name="Kaltrina Rexhahmetaj" userId="S::kaltrina.rexhahmetaj@bvh.org::c314e318-93e0-4c36-9995-6aa0f00e0010" providerId="AD" clId="Web-{5F1E348E-7353-61D8-C6BD-B8780B2D8DD1}" dt="2020-03-17T16:25:28.513" v="303"/>
          <ac:spMkLst>
            <pc:docMk/>
            <pc:sldMk cId="704886492" sldId="879"/>
            <ac:spMk id="16" creationId="{0146B248-86F4-4AA1-B147-A575DD1393A6}"/>
          </ac:spMkLst>
        </pc:spChg>
        <pc:spChg chg="del">
          <ac:chgData name="Kaltrina Rexhahmetaj" userId="S::kaltrina.rexhahmetaj@bvh.org::c314e318-93e0-4c36-9995-6aa0f00e0010" providerId="AD" clId="Web-{5F1E348E-7353-61D8-C6BD-B8780B2D8DD1}" dt="2020-03-17T16:25:28.513" v="302"/>
          <ac:spMkLst>
            <pc:docMk/>
            <pc:sldMk cId="704886492" sldId="879"/>
            <ac:spMk id="17" creationId="{9F7F9061-56E6-463D-940A-F405B623526C}"/>
          </ac:spMkLst>
        </pc:spChg>
        <pc:spChg chg="del">
          <ac:chgData name="Kaltrina Rexhahmetaj" userId="S::kaltrina.rexhahmetaj@bvh.org::c314e318-93e0-4c36-9995-6aa0f00e0010" providerId="AD" clId="Web-{5F1E348E-7353-61D8-C6BD-B8780B2D8DD1}" dt="2020-03-17T16:25:28.513" v="301"/>
          <ac:spMkLst>
            <pc:docMk/>
            <pc:sldMk cId="704886492" sldId="879"/>
            <ac:spMk id="18" creationId="{BEC642B5-19E0-4F61-BAEE-49284846B356}"/>
          </ac:spMkLst>
        </pc:spChg>
        <pc:spChg chg="del">
          <ac:chgData name="Kaltrina Rexhahmetaj" userId="S::kaltrina.rexhahmetaj@bvh.org::c314e318-93e0-4c36-9995-6aa0f00e0010" providerId="AD" clId="Web-{5F1E348E-7353-61D8-C6BD-B8780B2D8DD1}" dt="2020-03-17T16:25:28.513" v="300"/>
          <ac:spMkLst>
            <pc:docMk/>
            <pc:sldMk cId="704886492" sldId="879"/>
            <ac:spMk id="19" creationId="{F82444D5-FDF9-46ED-A55E-19780E74BEFB}"/>
          </ac:spMkLst>
        </pc:spChg>
        <pc:spChg chg="del">
          <ac:chgData name="Kaltrina Rexhahmetaj" userId="S::kaltrina.rexhahmetaj@bvh.org::c314e318-93e0-4c36-9995-6aa0f00e0010" providerId="AD" clId="Web-{5F1E348E-7353-61D8-C6BD-B8780B2D8DD1}" dt="2020-03-17T16:25:28.498" v="299"/>
          <ac:spMkLst>
            <pc:docMk/>
            <pc:sldMk cId="704886492" sldId="879"/>
            <ac:spMk id="20" creationId="{5F4570DE-D8D0-4F3B-BAAD-F9E961932ECF}"/>
          </ac:spMkLst>
        </pc:spChg>
        <pc:spChg chg="del">
          <ac:chgData name="Kaltrina Rexhahmetaj" userId="S::kaltrina.rexhahmetaj@bvh.org::c314e318-93e0-4c36-9995-6aa0f00e0010" providerId="AD" clId="Web-{5F1E348E-7353-61D8-C6BD-B8780B2D8DD1}" dt="2020-03-17T16:25:28.498" v="298"/>
          <ac:spMkLst>
            <pc:docMk/>
            <pc:sldMk cId="704886492" sldId="879"/>
            <ac:spMk id="21" creationId="{F72B797F-8CEE-4A42-8A3E-4DD2DB6D5CF4}"/>
          </ac:spMkLst>
        </pc:spChg>
        <pc:spChg chg="add">
          <ac:chgData name="Kaltrina Rexhahmetaj" userId="S::kaltrina.rexhahmetaj@bvh.org::c314e318-93e0-4c36-9995-6aa0f00e0010" providerId="AD" clId="Web-{5F1E348E-7353-61D8-C6BD-B8780B2D8DD1}" dt="2020-03-17T16:25:53.232" v="313"/>
          <ac:spMkLst>
            <pc:docMk/>
            <pc:sldMk cId="704886492" sldId="879"/>
            <ac:spMk id="22" creationId="{7F06C6D3-AF23-4920-AABB-B6260EB6E426}"/>
          </ac:spMkLst>
        </pc:spChg>
        <pc:spChg chg="add">
          <ac:chgData name="Kaltrina Rexhahmetaj" userId="S::kaltrina.rexhahmetaj@bvh.org::c314e318-93e0-4c36-9995-6aa0f00e0010" providerId="AD" clId="Web-{5F1E348E-7353-61D8-C6BD-B8780B2D8DD1}" dt="2020-03-17T16:25:53.232" v="313"/>
          <ac:spMkLst>
            <pc:docMk/>
            <pc:sldMk cId="704886492" sldId="879"/>
            <ac:spMk id="23" creationId="{3D7D28A1-2C94-4CCE-9FF7-535E9D88CD34}"/>
          </ac:spMkLst>
        </pc:spChg>
        <pc:spChg chg="add">
          <ac:chgData name="Kaltrina Rexhahmetaj" userId="S::kaltrina.rexhahmetaj@bvh.org::c314e318-93e0-4c36-9995-6aa0f00e0010" providerId="AD" clId="Web-{5F1E348E-7353-61D8-C6BD-B8780B2D8DD1}" dt="2020-03-17T16:25:53.232" v="313"/>
          <ac:spMkLst>
            <pc:docMk/>
            <pc:sldMk cId="704886492" sldId="879"/>
            <ac:spMk id="24" creationId="{3786BBD1-38C0-4CF5-92F6-2BB626A49E07}"/>
          </ac:spMkLst>
        </pc:spChg>
        <pc:spChg chg="add">
          <ac:chgData name="Kaltrina Rexhahmetaj" userId="S::kaltrina.rexhahmetaj@bvh.org::c314e318-93e0-4c36-9995-6aa0f00e0010" providerId="AD" clId="Web-{5F1E348E-7353-61D8-C6BD-B8780B2D8DD1}" dt="2020-03-17T16:25:53.232" v="313"/>
          <ac:spMkLst>
            <pc:docMk/>
            <pc:sldMk cId="704886492" sldId="879"/>
            <ac:spMk id="25" creationId="{D282FF00-1B6A-4336-94F6-A5A06DC5A3B1}"/>
          </ac:spMkLst>
        </pc:spChg>
        <pc:spChg chg="add">
          <ac:chgData name="Kaltrina Rexhahmetaj" userId="S::kaltrina.rexhahmetaj@bvh.org::c314e318-93e0-4c36-9995-6aa0f00e0010" providerId="AD" clId="Web-{5F1E348E-7353-61D8-C6BD-B8780B2D8DD1}" dt="2020-03-17T16:25:53.232" v="313"/>
          <ac:spMkLst>
            <pc:docMk/>
            <pc:sldMk cId="704886492" sldId="879"/>
            <ac:spMk id="26" creationId="{DC9B6C64-585A-4F90-A008-37D25FB162D4}"/>
          </ac:spMkLst>
        </pc:spChg>
        <pc:spChg chg="add">
          <ac:chgData name="Kaltrina Rexhahmetaj" userId="S::kaltrina.rexhahmetaj@bvh.org::c314e318-93e0-4c36-9995-6aa0f00e0010" providerId="AD" clId="Web-{5F1E348E-7353-61D8-C6BD-B8780B2D8DD1}" dt="2020-03-17T16:25:53.232" v="313"/>
          <ac:spMkLst>
            <pc:docMk/>
            <pc:sldMk cId="704886492" sldId="879"/>
            <ac:spMk id="27" creationId="{10F05F57-D9D4-4E82-B5E0-48CCD0597FCF}"/>
          </ac:spMkLst>
        </pc:spChg>
        <pc:spChg chg="add">
          <ac:chgData name="Kaltrina Rexhahmetaj" userId="S::kaltrina.rexhahmetaj@bvh.org::c314e318-93e0-4c36-9995-6aa0f00e0010" providerId="AD" clId="Web-{5F1E348E-7353-61D8-C6BD-B8780B2D8DD1}" dt="2020-03-17T16:25:53.232" v="313"/>
          <ac:spMkLst>
            <pc:docMk/>
            <pc:sldMk cId="704886492" sldId="879"/>
            <ac:spMk id="28" creationId="{1C2D65A9-774D-44DE-BCD8-4FB9C2C0CB3C}"/>
          </ac:spMkLst>
        </pc:spChg>
        <pc:spChg chg="add">
          <ac:chgData name="Kaltrina Rexhahmetaj" userId="S::kaltrina.rexhahmetaj@bvh.org::c314e318-93e0-4c36-9995-6aa0f00e0010" providerId="AD" clId="Web-{5F1E348E-7353-61D8-C6BD-B8780B2D8DD1}" dt="2020-03-17T16:25:53.232" v="313"/>
          <ac:spMkLst>
            <pc:docMk/>
            <pc:sldMk cId="704886492" sldId="879"/>
            <ac:spMk id="29" creationId="{ED380BEC-6BE0-4653-A30F-986D27834B7B}"/>
          </ac:spMkLst>
        </pc:spChg>
        <pc:spChg chg="add">
          <ac:chgData name="Kaltrina Rexhahmetaj" userId="S::kaltrina.rexhahmetaj@bvh.org::c314e318-93e0-4c36-9995-6aa0f00e0010" providerId="AD" clId="Web-{5F1E348E-7353-61D8-C6BD-B8780B2D8DD1}" dt="2020-03-17T16:25:53.232" v="313"/>
          <ac:spMkLst>
            <pc:docMk/>
            <pc:sldMk cId="704886492" sldId="879"/>
            <ac:spMk id="30" creationId="{666FE1F1-95B4-45F6-BA79-BD6412925ED2}"/>
          </ac:spMkLst>
        </pc:spChg>
        <pc:spChg chg="add">
          <ac:chgData name="Kaltrina Rexhahmetaj" userId="S::kaltrina.rexhahmetaj@bvh.org::c314e318-93e0-4c36-9995-6aa0f00e0010" providerId="AD" clId="Web-{5F1E348E-7353-61D8-C6BD-B8780B2D8DD1}" dt="2020-03-17T16:25:53.232" v="313"/>
          <ac:spMkLst>
            <pc:docMk/>
            <pc:sldMk cId="704886492" sldId="879"/>
            <ac:spMk id="31" creationId="{F491AD78-AD9A-46D8-9C6A-ED089E5F42BA}"/>
          </ac:spMkLst>
        </pc:spChg>
        <pc:spChg chg="add del mod">
          <ac:chgData name="Kaltrina Rexhahmetaj" userId="S::kaltrina.rexhahmetaj@bvh.org::c314e318-93e0-4c36-9995-6aa0f00e0010" providerId="AD" clId="Web-{5F1E348E-7353-61D8-C6BD-B8780B2D8DD1}" dt="2020-03-17T16:26:39.497" v="332"/>
          <ac:spMkLst>
            <pc:docMk/>
            <pc:sldMk cId="704886492" sldId="879"/>
            <ac:spMk id="32" creationId="{1A2F6C94-0D2F-4790-A7BF-24DA04FC4AF1}"/>
          </ac:spMkLst>
        </pc:spChg>
        <pc:spChg chg="add del">
          <ac:chgData name="Kaltrina Rexhahmetaj" userId="S::kaltrina.rexhahmetaj@bvh.org::c314e318-93e0-4c36-9995-6aa0f00e0010" providerId="AD" clId="Web-{5F1E348E-7353-61D8-C6BD-B8780B2D8DD1}" dt="2020-03-17T16:26:14.060" v="328"/>
          <ac:spMkLst>
            <pc:docMk/>
            <pc:sldMk cId="704886492" sldId="879"/>
            <ac:spMk id="33" creationId="{9D95A72B-5EAA-43D3-B2AB-B7DA187CE677}"/>
          </ac:spMkLst>
        </pc:spChg>
      </pc:sldChg>
      <pc:sldChg chg="addSp delSp modSp add replId">
        <pc:chgData name="Kaltrina Rexhahmetaj" userId="S::kaltrina.rexhahmetaj@bvh.org::c314e318-93e0-4c36-9995-6aa0f00e0010" providerId="AD" clId="Web-{5F1E348E-7353-61D8-C6BD-B8780B2D8DD1}" dt="2020-03-17T16:27:17.387" v="353"/>
        <pc:sldMkLst>
          <pc:docMk/>
          <pc:sldMk cId="985148072" sldId="880"/>
        </pc:sldMkLst>
        <pc:spChg chg="del">
          <ac:chgData name="Kaltrina Rexhahmetaj" userId="S::kaltrina.rexhahmetaj@bvh.org::c314e318-93e0-4c36-9995-6aa0f00e0010" providerId="AD" clId="Web-{5F1E348E-7353-61D8-C6BD-B8780B2D8DD1}" dt="2020-03-17T16:26:43.997" v="344"/>
          <ac:spMkLst>
            <pc:docMk/>
            <pc:sldMk cId="985148072" sldId="880"/>
            <ac:spMk id="4" creationId="{D046E019-A5CB-4EE6-8D88-F706A72E0B70}"/>
          </ac:spMkLst>
        </pc:spChg>
        <pc:spChg chg="add mod">
          <ac:chgData name="Kaltrina Rexhahmetaj" userId="S::kaltrina.rexhahmetaj@bvh.org::c314e318-93e0-4c36-9995-6aa0f00e0010" providerId="AD" clId="Web-{5F1E348E-7353-61D8-C6BD-B8780B2D8DD1}" dt="2020-03-17T16:27:09.403" v="351"/>
          <ac:spMkLst>
            <pc:docMk/>
            <pc:sldMk cId="985148072" sldId="880"/>
            <ac:spMk id="5" creationId="{CA12D5E1-D285-48C8-8956-FAA312E66E0C}"/>
          </ac:spMkLst>
        </pc:spChg>
        <pc:spChg chg="add del mod">
          <ac:chgData name="Kaltrina Rexhahmetaj" userId="S::kaltrina.rexhahmetaj@bvh.org::c314e318-93e0-4c36-9995-6aa0f00e0010" providerId="AD" clId="Web-{5F1E348E-7353-61D8-C6BD-B8780B2D8DD1}" dt="2020-03-17T16:27:17.387" v="353"/>
          <ac:spMkLst>
            <pc:docMk/>
            <pc:sldMk cId="985148072" sldId="880"/>
            <ac:spMk id="17" creationId="{343B312F-0678-4F86-991F-29FA8ACF89E3}"/>
          </ac:spMkLst>
        </pc:spChg>
        <pc:spChg chg="add del">
          <ac:chgData name="Kaltrina Rexhahmetaj" userId="S::kaltrina.rexhahmetaj@bvh.org::c314e318-93e0-4c36-9995-6aa0f00e0010" providerId="AD" clId="Web-{5F1E348E-7353-61D8-C6BD-B8780B2D8DD1}" dt="2020-03-17T16:27:06.309" v="350"/>
          <ac:spMkLst>
            <pc:docMk/>
            <pc:sldMk cId="985148072" sldId="880"/>
            <ac:spMk id="18" creationId="{1C9CB9A2-85E9-40E7-A348-2386312B94F8}"/>
          </ac:spMkLst>
        </pc:spChg>
        <pc:spChg chg="del">
          <ac:chgData name="Kaltrina Rexhahmetaj" userId="S::kaltrina.rexhahmetaj@bvh.org::c314e318-93e0-4c36-9995-6aa0f00e0010" providerId="AD" clId="Web-{5F1E348E-7353-61D8-C6BD-B8780B2D8DD1}" dt="2020-03-17T16:26:43.825" v="343"/>
          <ac:spMkLst>
            <pc:docMk/>
            <pc:sldMk cId="985148072" sldId="880"/>
            <ac:spMk id="22" creationId="{7F06C6D3-AF23-4920-AABB-B6260EB6E426}"/>
          </ac:spMkLst>
        </pc:spChg>
        <pc:spChg chg="del">
          <ac:chgData name="Kaltrina Rexhahmetaj" userId="S::kaltrina.rexhahmetaj@bvh.org::c314e318-93e0-4c36-9995-6aa0f00e0010" providerId="AD" clId="Web-{5F1E348E-7353-61D8-C6BD-B8780B2D8DD1}" dt="2020-03-17T16:26:43.825" v="342"/>
          <ac:spMkLst>
            <pc:docMk/>
            <pc:sldMk cId="985148072" sldId="880"/>
            <ac:spMk id="23" creationId="{3D7D28A1-2C94-4CCE-9FF7-535E9D88CD34}"/>
          </ac:spMkLst>
        </pc:spChg>
        <pc:spChg chg="del">
          <ac:chgData name="Kaltrina Rexhahmetaj" userId="S::kaltrina.rexhahmetaj@bvh.org::c314e318-93e0-4c36-9995-6aa0f00e0010" providerId="AD" clId="Web-{5F1E348E-7353-61D8-C6BD-B8780B2D8DD1}" dt="2020-03-17T16:26:43.825" v="341"/>
          <ac:spMkLst>
            <pc:docMk/>
            <pc:sldMk cId="985148072" sldId="880"/>
            <ac:spMk id="24" creationId="{3786BBD1-38C0-4CF5-92F6-2BB626A49E07}"/>
          </ac:spMkLst>
        </pc:spChg>
        <pc:spChg chg="del">
          <ac:chgData name="Kaltrina Rexhahmetaj" userId="S::kaltrina.rexhahmetaj@bvh.org::c314e318-93e0-4c36-9995-6aa0f00e0010" providerId="AD" clId="Web-{5F1E348E-7353-61D8-C6BD-B8780B2D8DD1}" dt="2020-03-17T16:26:43.825" v="340"/>
          <ac:spMkLst>
            <pc:docMk/>
            <pc:sldMk cId="985148072" sldId="880"/>
            <ac:spMk id="25" creationId="{D282FF00-1B6A-4336-94F6-A5A06DC5A3B1}"/>
          </ac:spMkLst>
        </pc:spChg>
        <pc:spChg chg="del">
          <ac:chgData name="Kaltrina Rexhahmetaj" userId="S::kaltrina.rexhahmetaj@bvh.org::c314e318-93e0-4c36-9995-6aa0f00e0010" providerId="AD" clId="Web-{5F1E348E-7353-61D8-C6BD-B8780B2D8DD1}" dt="2020-03-17T16:26:43.825" v="339"/>
          <ac:spMkLst>
            <pc:docMk/>
            <pc:sldMk cId="985148072" sldId="880"/>
            <ac:spMk id="26" creationId="{DC9B6C64-585A-4F90-A008-37D25FB162D4}"/>
          </ac:spMkLst>
        </pc:spChg>
        <pc:spChg chg="del">
          <ac:chgData name="Kaltrina Rexhahmetaj" userId="S::kaltrina.rexhahmetaj@bvh.org::c314e318-93e0-4c36-9995-6aa0f00e0010" providerId="AD" clId="Web-{5F1E348E-7353-61D8-C6BD-B8780B2D8DD1}" dt="2020-03-17T16:26:43.825" v="338"/>
          <ac:spMkLst>
            <pc:docMk/>
            <pc:sldMk cId="985148072" sldId="880"/>
            <ac:spMk id="27" creationId="{10F05F57-D9D4-4E82-B5E0-48CCD0597FCF}"/>
          </ac:spMkLst>
        </pc:spChg>
        <pc:spChg chg="del">
          <ac:chgData name="Kaltrina Rexhahmetaj" userId="S::kaltrina.rexhahmetaj@bvh.org::c314e318-93e0-4c36-9995-6aa0f00e0010" providerId="AD" clId="Web-{5F1E348E-7353-61D8-C6BD-B8780B2D8DD1}" dt="2020-03-17T16:26:43.825" v="337"/>
          <ac:spMkLst>
            <pc:docMk/>
            <pc:sldMk cId="985148072" sldId="880"/>
            <ac:spMk id="28" creationId="{1C2D65A9-774D-44DE-BCD8-4FB9C2C0CB3C}"/>
          </ac:spMkLst>
        </pc:spChg>
        <pc:spChg chg="del">
          <ac:chgData name="Kaltrina Rexhahmetaj" userId="S::kaltrina.rexhahmetaj@bvh.org::c314e318-93e0-4c36-9995-6aa0f00e0010" providerId="AD" clId="Web-{5F1E348E-7353-61D8-C6BD-B8780B2D8DD1}" dt="2020-03-17T16:26:43.825" v="336"/>
          <ac:spMkLst>
            <pc:docMk/>
            <pc:sldMk cId="985148072" sldId="880"/>
            <ac:spMk id="29" creationId="{ED380BEC-6BE0-4653-A30F-986D27834B7B}"/>
          </ac:spMkLst>
        </pc:spChg>
        <pc:spChg chg="del">
          <ac:chgData name="Kaltrina Rexhahmetaj" userId="S::kaltrina.rexhahmetaj@bvh.org::c314e318-93e0-4c36-9995-6aa0f00e0010" providerId="AD" clId="Web-{5F1E348E-7353-61D8-C6BD-B8780B2D8DD1}" dt="2020-03-17T16:26:43.809" v="335"/>
          <ac:spMkLst>
            <pc:docMk/>
            <pc:sldMk cId="985148072" sldId="880"/>
            <ac:spMk id="30" creationId="{666FE1F1-95B4-45F6-BA79-BD6412925ED2}"/>
          </ac:spMkLst>
        </pc:spChg>
        <pc:spChg chg="del">
          <ac:chgData name="Kaltrina Rexhahmetaj" userId="S::kaltrina.rexhahmetaj@bvh.org::c314e318-93e0-4c36-9995-6aa0f00e0010" providerId="AD" clId="Web-{5F1E348E-7353-61D8-C6BD-B8780B2D8DD1}" dt="2020-03-17T16:26:43.809" v="334"/>
          <ac:spMkLst>
            <pc:docMk/>
            <pc:sldMk cId="985148072" sldId="880"/>
            <ac:spMk id="31" creationId="{F491AD78-AD9A-46D8-9C6A-ED089E5F42BA}"/>
          </ac:spMkLst>
        </pc:spChg>
        <pc:spChg chg="del">
          <ac:chgData name="Kaltrina Rexhahmetaj" userId="S::kaltrina.rexhahmetaj@bvh.org::c314e318-93e0-4c36-9995-6aa0f00e0010" providerId="AD" clId="Web-{5F1E348E-7353-61D8-C6BD-B8780B2D8DD1}" dt="2020-03-17T16:26:43.809" v="333"/>
          <ac:spMkLst>
            <pc:docMk/>
            <pc:sldMk cId="985148072" sldId="880"/>
            <ac:spMk id="32" creationId="{1A2F6C94-0D2F-4790-A7BF-24DA04FC4AF1}"/>
          </ac:spMkLst>
        </pc:spChg>
        <pc:picChg chg="add">
          <ac:chgData name="Kaltrina Rexhahmetaj" userId="S::kaltrina.rexhahmetaj@bvh.org::c314e318-93e0-4c36-9995-6aa0f00e0010" providerId="AD" clId="Web-{5F1E348E-7353-61D8-C6BD-B8780B2D8DD1}" dt="2020-03-17T16:26:53.559" v="345"/>
          <ac:picMkLst>
            <pc:docMk/>
            <pc:sldMk cId="985148072" sldId="880"/>
            <ac:picMk id="19" creationId="{B175C92D-AC3E-4EDC-8E03-B39B295376AF}"/>
          </ac:picMkLst>
        </pc:picChg>
        <pc:picChg chg="add">
          <ac:chgData name="Kaltrina Rexhahmetaj" userId="S::kaltrina.rexhahmetaj@bvh.org::c314e318-93e0-4c36-9995-6aa0f00e0010" providerId="AD" clId="Web-{5F1E348E-7353-61D8-C6BD-B8780B2D8DD1}" dt="2020-03-17T16:26:53.559" v="345"/>
          <ac:picMkLst>
            <pc:docMk/>
            <pc:sldMk cId="985148072" sldId="880"/>
            <ac:picMk id="20" creationId="{E110CE4B-61BC-4881-A2DE-21037424F806}"/>
          </ac:picMkLst>
        </pc:picChg>
      </pc:sldChg>
      <pc:sldChg chg="addSp delSp modSp add replId modNotes">
        <pc:chgData name="Kaltrina Rexhahmetaj" userId="S::kaltrina.rexhahmetaj@bvh.org::c314e318-93e0-4c36-9995-6aa0f00e0010" providerId="AD" clId="Web-{5F1E348E-7353-61D8-C6BD-B8780B2D8DD1}" dt="2020-03-17T16:29:13.777" v="394"/>
        <pc:sldMkLst>
          <pc:docMk/>
          <pc:sldMk cId="1736325948" sldId="881"/>
        </pc:sldMkLst>
        <pc:spChg chg="add mod">
          <ac:chgData name="Kaltrina Rexhahmetaj" userId="S::kaltrina.rexhahmetaj@bvh.org::c314e318-93e0-4c36-9995-6aa0f00e0010" providerId="AD" clId="Web-{5F1E348E-7353-61D8-C6BD-B8780B2D8DD1}" dt="2020-03-17T16:28:01.934" v="371"/>
          <ac:spMkLst>
            <pc:docMk/>
            <pc:sldMk cId="1736325948" sldId="881"/>
            <ac:spMk id="4" creationId="{51A19497-C8D9-4DAF-AAD2-5743C995E3DF}"/>
          </ac:spMkLst>
        </pc:spChg>
        <pc:spChg chg="del">
          <ac:chgData name="Kaltrina Rexhahmetaj" userId="S::kaltrina.rexhahmetaj@bvh.org::c314e318-93e0-4c36-9995-6aa0f00e0010" providerId="AD" clId="Web-{5F1E348E-7353-61D8-C6BD-B8780B2D8DD1}" dt="2020-03-17T16:27:29.106" v="357"/>
          <ac:spMkLst>
            <pc:docMk/>
            <pc:sldMk cId="1736325948" sldId="881"/>
            <ac:spMk id="5" creationId="{CA12D5E1-D285-48C8-8956-FAA312E66E0C}"/>
          </ac:spMkLst>
        </pc:spChg>
        <pc:spChg chg="add">
          <ac:chgData name="Kaltrina Rexhahmetaj" userId="S::kaltrina.rexhahmetaj@bvh.org::c314e318-93e0-4c36-9995-6aa0f00e0010" providerId="AD" clId="Web-{5F1E348E-7353-61D8-C6BD-B8780B2D8DD1}" dt="2020-03-17T16:27:37.028" v="358"/>
          <ac:spMkLst>
            <pc:docMk/>
            <pc:sldMk cId="1736325948" sldId="881"/>
            <ac:spMk id="8" creationId="{5B67E3A1-0F34-48F4-851C-92A70ACC3CC8}"/>
          </ac:spMkLst>
        </pc:spChg>
        <pc:spChg chg="add">
          <ac:chgData name="Kaltrina Rexhahmetaj" userId="S::kaltrina.rexhahmetaj@bvh.org::c314e318-93e0-4c36-9995-6aa0f00e0010" providerId="AD" clId="Web-{5F1E348E-7353-61D8-C6BD-B8780B2D8DD1}" dt="2020-03-17T16:27:37.028" v="358"/>
          <ac:spMkLst>
            <pc:docMk/>
            <pc:sldMk cId="1736325948" sldId="881"/>
            <ac:spMk id="9" creationId="{F328BA80-A06A-4FE6-BAE1-26E4818904F7}"/>
          </ac:spMkLst>
        </pc:spChg>
        <pc:spChg chg="add">
          <ac:chgData name="Kaltrina Rexhahmetaj" userId="S::kaltrina.rexhahmetaj@bvh.org::c314e318-93e0-4c36-9995-6aa0f00e0010" providerId="AD" clId="Web-{5F1E348E-7353-61D8-C6BD-B8780B2D8DD1}" dt="2020-03-17T16:27:37.028" v="358"/>
          <ac:spMkLst>
            <pc:docMk/>
            <pc:sldMk cId="1736325948" sldId="881"/>
            <ac:spMk id="10" creationId="{7A148542-85D6-42D3-AFB0-C96AA72613FD}"/>
          </ac:spMkLst>
        </pc:spChg>
        <pc:spChg chg="add">
          <ac:chgData name="Kaltrina Rexhahmetaj" userId="S::kaltrina.rexhahmetaj@bvh.org::c314e318-93e0-4c36-9995-6aa0f00e0010" providerId="AD" clId="Web-{5F1E348E-7353-61D8-C6BD-B8780B2D8DD1}" dt="2020-03-17T16:27:37.028" v="358"/>
          <ac:spMkLst>
            <pc:docMk/>
            <pc:sldMk cId="1736325948" sldId="881"/>
            <ac:spMk id="11" creationId="{89B4CB25-92B2-4459-8A20-D5EEF863FC8B}"/>
          </ac:spMkLst>
        </pc:spChg>
        <pc:spChg chg="add">
          <ac:chgData name="Kaltrina Rexhahmetaj" userId="S::kaltrina.rexhahmetaj@bvh.org::c314e318-93e0-4c36-9995-6aa0f00e0010" providerId="AD" clId="Web-{5F1E348E-7353-61D8-C6BD-B8780B2D8DD1}" dt="2020-03-17T16:27:37.028" v="358"/>
          <ac:spMkLst>
            <pc:docMk/>
            <pc:sldMk cId="1736325948" sldId="881"/>
            <ac:spMk id="12" creationId="{569E60EB-E67C-47DF-98B1-7EF7EB39C4CC}"/>
          </ac:spMkLst>
        </pc:spChg>
        <pc:spChg chg="add del mod">
          <ac:chgData name="Kaltrina Rexhahmetaj" userId="S::kaltrina.rexhahmetaj@bvh.org::c314e318-93e0-4c36-9995-6aa0f00e0010" providerId="AD" clId="Web-{5F1E348E-7353-61D8-C6BD-B8780B2D8DD1}" dt="2020-03-17T16:29:13.777" v="394"/>
          <ac:spMkLst>
            <pc:docMk/>
            <pc:sldMk cId="1736325948" sldId="881"/>
            <ac:spMk id="14" creationId="{1ECDCC4A-676C-44C6-A43C-BDB280A04941}"/>
          </ac:spMkLst>
        </pc:spChg>
        <pc:spChg chg="add del">
          <ac:chgData name="Kaltrina Rexhahmetaj" userId="S::kaltrina.rexhahmetaj@bvh.org::c314e318-93e0-4c36-9995-6aa0f00e0010" providerId="AD" clId="Web-{5F1E348E-7353-61D8-C6BD-B8780B2D8DD1}" dt="2020-03-17T16:27:51.903" v="370"/>
          <ac:spMkLst>
            <pc:docMk/>
            <pc:sldMk cId="1736325948" sldId="881"/>
            <ac:spMk id="15" creationId="{0CEAE0F9-104D-409E-83B2-D267802899C5}"/>
          </ac:spMkLst>
        </pc:spChg>
        <pc:picChg chg="add">
          <ac:chgData name="Kaltrina Rexhahmetaj" userId="S::kaltrina.rexhahmetaj@bvh.org::c314e318-93e0-4c36-9995-6aa0f00e0010" providerId="AD" clId="Web-{5F1E348E-7353-61D8-C6BD-B8780B2D8DD1}" dt="2020-03-17T16:27:37.028" v="358"/>
          <ac:picMkLst>
            <pc:docMk/>
            <pc:sldMk cId="1736325948" sldId="881"/>
            <ac:picMk id="13" creationId="{A256A4F3-077E-44AE-AD57-1526D66F5DCE}"/>
          </ac:picMkLst>
        </pc:picChg>
        <pc:picChg chg="del">
          <ac:chgData name="Kaltrina Rexhahmetaj" userId="S::kaltrina.rexhahmetaj@bvh.org::c314e318-93e0-4c36-9995-6aa0f00e0010" providerId="AD" clId="Web-{5F1E348E-7353-61D8-C6BD-B8780B2D8DD1}" dt="2020-03-17T16:27:28.920" v="356"/>
          <ac:picMkLst>
            <pc:docMk/>
            <pc:sldMk cId="1736325948" sldId="881"/>
            <ac:picMk id="19" creationId="{B175C92D-AC3E-4EDC-8E03-B39B295376AF}"/>
          </ac:picMkLst>
        </pc:picChg>
        <pc:picChg chg="del">
          <ac:chgData name="Kaltrina Rexhahmetaj" userId="S::kaltrina.rexhahmetaj@bvh.org::c314e318-93e0-4c36-9995-6aa0f00e0010" providerId="AD" clId="Web-{5F1E348E-7353-61D8-C6BD-B8780B2D8DD1}" dt="2020-03-17T16:27:28.920" v="355"/>
          <ac:picMkLst>
            <pc:docMk/>
            <pc:sldMk cId="1736325948" sldId="881"/>
            <ac:picMk id="20" creationId="{E110CE4B-61BC-4881-A2DE-21037424F806}"/>
          </ac:picMkLst>
        </pc:picChg>
      </pc:sldChg>
      <pc:sldChg chg="addSp delSp modSp add del replId modNotes">
        <pc:chgData name="Kaltrina Rexhahmetaj" userId="S::kaltrina.rexhahmetaj@bvh.org::c314e318-93e0-4c36-9995-6aa0f00e0010" providerId="AD" clId="Web-{5F1E348E-7353-61D8-C6BD-B8780B2D8DD1}" dt="2020-03-17T16:31:28.057" v="429"/>
        <pc:sldMkLst>
          <pc:docMk/>
          <pc:sldMk cId="2062478243" sldId="882"/>
        </pc:sldMkLst>
        <pc:spChg chg="del">
          <ac:chgData name="Kaltrina Rexhahmetaj" userId="S::kaltrina.rexhahmetaj@bvh.org::c314e318-93e0-4c36-9995-6aa0f00e0010" providerId="AD" clId="Web-{5F1E348E-7353-61D8-C6BD-B8780B2D8DD1}" dt="2020-03-17T16:28:29.808" v="382"/>
          <ac:spMkLst>
            <pc:docMk/>
            <pc:sldMk cId="2062478243" sldId="882"/>
            <ac:spMk id="4" creationId="{51A19497-C8D9-4DAF-AAD2-5743C995E3DF}"/>
          </ac:spMkLst>
        </pc:spChg>
        <pc:spChg chg="add mod">
          <ac:chgData name="Kaltrina Rexhahmetaj" userId="S::kaltrina.rexhahmetaj@bvh.org::c314e318-93e0-4c36-9995-6aa0f00e0010" providerId="AD" clId="Web-{5F1E348E-7353-61D8-C6BD-B8780B2D8DD1}" dt="2020-03-17T16:29:06.386" v="392"/>
          <ac:spMkLst>
            <pc:docMk/>
            <pc:sldMk cId="2062478243" sldId="882"/>
            <ac:spMk id="5" creationId="{5F29ED0F-722E-4A05-97E4-7F343A346467}"/>
          </ac:spMkLst>
        </pc:spChg>
        <pc:spChg chg="del">
          <ac:chgData name="Kaltrina Rexhahmetaj" userId="S::kaltrina.rexhahmetaj@bvh.org::c314e318-93e0-4c36-9995-6aa0f00e0010" providerId="AD" clId="Web-{5F1E348E-7353-61D8-C6BD-B8780B2D8DD1}" dt="2020-03-17T16:28:29.637" v="381"/>
          <ac:spMkLst>
            <pc:docMk/>
            <pc:sldMk cId="2062478243" sldId="882"/>
            <ac:spMk id="8" creationId="{5B67E3A1-0F34-48F4-851C-92A70ACC3CC8}"/>
          </ac:spMkLst>
        </pc:spChg>
        <pc:spChg chg="del">
          <ac:chgData name="Kaltrina Rexhahmetaj" userId="S::kaltrina.rexhahmetaj@bvh.org::c314e318-93e0-4c36-9995-6aa0f00e0010" providerId="AD" clId="Web-{5F1E348E-7353-61D8-C6BD-B8780B2D8DD1}" dt="2020-03-17T16:28:29.637" v="380"/>
          <ac:spMkLst>
            <pc:docMk/>
            <pc:sldMk cId="2062478243" sldId="882"/>
            <ac:spMk id="9" creationId="{F328BA80-A06A-4FE6-BAE1-26E4818904F7}"/>
          </ac:spMkLst>
        </pc:spChg>
        <pc:spChg chg="del">
          <ac:chgData name="Kaltrina Rexhahmetaj" userId="S::kaltrina.rexhahmetaj@bvh.org::c314e318-93e0-4c36-9995-6aa0f00e0010" providerId="AD" clId="Web-{5F1E348E-7353-61D8-C6BD-B8780B2D8DD1}" dt="2020-03-17T16:28:29.621" v="379"/>
          <ac:spMkLst>
            <pc:docMk/>
            <pc:sldMk cId="2062478243" sldId="882"/>
            <ac:spMk id="10" creationId="{7A148542-85D6-42D3-AFB0-C96AA72613FD}"/>
          </ac:spMkLst>
        </pc:spChg>
        <pc:spChg chg="del">
          <ac:chgData name="Kaltrina Rexhahmetaj" userId="S::kaltrina.rexhahmetaj@bvh.org::c314e318-93e0-4c36-9995-6aa0f00e0010" providerId="AD" clId="Web-{5F1E348E-7353-61D8-C6BD-B8780B2D8DD1}" dt="2020-03-17T16:28:29.621" v="378"/>
          <ac:spMkLst>
            <pc:docMk/>
            <pc:sldMk cId="2062478243" sldId="882"/>
            <ac:spMk id="11" creationId="{89B4CB25-92B2-4459-8A20-D5EEF863FC8B}"/>
          </ac:spMkLst>
        </pc:spChg>
        <pc:spChg chg="del">
          <ac:chgData name="Kaltrina Rexhahmetaj" userId="S::kaltrina.rexhahmetaj@bvh.org::c314e318-93e0-4c36-9995-6aa0f00e0010" providerId="AD" clId="Web-{5F1E348E-7353-61D8-C6BD-B8780B2D8DD1}" dt="2020-03-17T16:28:29.621" v="377"/>
          <ac:spMkLst>
            <pc:docMk/>
            <pc:sldMk cId="2062478243" sldId="882"/>
            <ac:spMk id="12" creationId="{569E60EB-E67C-47DF-98B1-7EF7EB39C4CC}"/>
          </ac:spMkLst>
        </pc:spChg>
        <pc:spChg chg="del">
          <ac:chgData name="Kaltrina Rexhahmetaj" userId="S::kaltrina.rexhahmetaj@bvh.org::c314e318-93e0-4c36-9995-6aa0f00e0010" providerId="AD" clId="Web-{5F1E348E-7353-61D8-C6BD-B8780B2D8DD1}" dt="2020-03-17T16:28:29.621" v="375"/>
          <ac:spMkLst>
            <pc:docMk/>
            <pc:sldMk cId="2062478243" sldId="882"/>
            <ac:spMk id="14" creationId="{1ECDCC4A-676C-44C6-A43C-BDB280A04941}"/>
          </ac:spMkLst>
        </pc:spChg>
        <pc:spChg chg="add">
          <ac:chgData name="Kaltrina Rexhahmetaj" userId="S::kaltrina.rexhahmetaj@bvh.org::c314e318-93e0-4c36-9995-6aa0f00e0010" providerId="AD" clId="Web-{5F1E348E-7353-61D8-C6BD-B8780B2D8DD1}" dt="2020-03-17T16:28:48.340" v="385"/>
          <ac:spMkLst>
            <pc:docMk/>
            <pc:sldMk cId="2062478243" sldId="882"/>
            <ac:spMk id="16" creationId="{40CF52C8-A669-4647-8A6F-0039E3B7C261}"/>
          </ac:spMkLst>
        </pc:spChg>
        <pc:spChg chg="add">
          <ac:chgData name="Kaltrina Rexhahmetaj" userId="S::kaltrina.rexhahmetaj@bvh.org::c314e318-93e0-4c36-9995-6aa0f00e0010" providerId="AD" clId="Web-{5F1E348E-7353-61D8-C6BD-B8780B2D8DD1}" dt="2020-03-17T16:28:48.340" v="385"/>
          <ac:spMkLst>
            <pc:docMk/>
            <pc:sldMk cId="2062478243" sldId="882"/>
            <ac:spMk id="17" creationId="{0B8E8EED-2A5D-42AA-AC39-C5C1CA1D6802}"/>
          </ac:spMkLst>
        </pc:spChg>
        <pc:spChg chg="add">
          <ac:chgData name="Kaltrina Rexhahmetaj" userId="S::kaltrina.rexhahmetaj@bvh.org::c314e318-93e0-4c36-9995-6aa0f00e0010" providerId="AD" clId="Web-{5F1E348E-7353-61D8-C6BD-B8780B2D8DD1}" dt="2020-03-17T16:28:48.340" v="385"/>
          <ac:spMkLst>
            <pc:docMk/>
            <pc:sldMk cId="2062478243" sldId="882"/>
            <ac:spMk id="18" creationId="{A50D3C80-842C-431A-A1E7-2AE237808868}"/>
          </ac:spMkLst>
        </pc:spChg>
        <pc:spChg chg="add">
          <ac:chgData name="Kaltrina Rexhahmetaj" userId="S::kaltrina.rexhahmetaj@bvh.org::c314e318-93e0-4c36-9995-6aa0f00e0010" providerId="AD" clId="Web-{5F1E348E-7353-61D8-C6BD-B8780B2D8DD1}" dt="2020-03-17T16:28:48.340" v="385"/>
          <ac:spMkLst>
            <pc:docMk/>
            <pc:sldMk cId="2062478243" sldId="882"/>
            <ac:spMk id="19" creationId="{F3BDF692-C6F8-42F2-9EAE-97890B88209A}"/>
          </ac:spMkLst>
        </pc:spChg>
        <pc:spChg chg="add del">
          <ac:chgData name="Kaltrina Rexhahmetaj" userId="S::kaltrina.rexhahmetaj@bvh.org::c314e318-93e0-4c36-9995-6aa0f00e0010" providerId="AD" clId="Web-{5F1E348E-7353-61D8-C6BD-B8780B2D8DD1}" dt="2020-03-17T16:29:19.136" v="395"/>
          <ac:spMkLst>
            <pc:docMk/>
            <pc:sldMk cId="2062478243" sldId="882"/>
            <ac:spMk id="20" creationId="{16ED16AC-7FA8-405E-BD4C-9886A857E978}"/>
          </ac:spMkLst>
        </pc:spChg>
        <pc:spChg chg="add del">
          <ac:chgData name="Kaltrina Rexhahmetaj" userId="S::kaltrina.rexhahmetaj@bvh.org::c314e318-93e0-4c36-9995-6aa0f00e0010" providerId="AD" clId="Web-{5F1E348E-7353-61D8-C6BD-B8780B2D8DD1}" dt="2020-03-17T16:28:58.746" v="391"/>
          <ac:spMkLst>
            <pc:docMk/>
            <pc:sldMk cId="2062478243" sldId="882"/>
            <ac:spMk id="21" creationId="{1F12748A-2497-4592-8150-4BBD24EF4553}"/>
          </ac:spMkLst>
        </pc:spChg>
        <pc:spChg chg="add">
          <ac:chgData name="Kaltrina Rexhahmetaj" userId="S::kaltrina.rexhahmetaj@bvh.org::c314e318-93e0-4c36-9995-6aa0f00e0010" providerId="AD" clId="Web-{5F1E348E-7353-61D8-C6BD-B8780B2D8DD1}" dt="2020-03-17T16:28:48.340" v="385"/>
          <ac:spMkLst>
            <pc:docMk/>
            <pc:sldMk cId="2062478243" sldId="882"/>
            <ac:spMk id="22" creationId="{F479F5BF-D346-42C0-A3BA-309A3EFCC192}"/>
          </ac:spMkLst>
        </pc:spChg>
        <pc:spChg chg="add">
          <ac:chgData name="Kaltrina Rexhahmetaj" userId="S::kaltrina.rexhahmetaj@bvh.org::c314e318-93e0-4c36-9995-6aa0f00e0010" providerId="AD" clId="Web-{5F1E348E-7353-61D8-C6BD-B8780B2D8DD1}" dt="2020-03-17T16:28:48.340" v="385"/>
          <ac:spMkLst>
            <pc:docMk/>
            <pc:sldMk cId="2062478243" sldId="882"/>
            <ac:spMk id="23" creationId="{C8315CA5-F83B-4512-AE3E-AA42C1AD1C4C}"/>
          </ac:spMkLst>
        </pc:spChg>
        <pc:spChg chg="add">
          <ac:chgData name="Kaltrina Rexhahmetaj" userId="S::kaltrina.rexhahmetaj@bvh.org::c314e318-93e0-4c36-9995-6aa0f00e0010" providerId="AD" clId="Web-{5F1E348E-7353-61D8-C6BD-B8780B2D8DD1}" dt="2020-03-17T16:28:48.340" v="385"/>
          <ac:spMkLst>
            <pc:docMk/>
            <pc:sldMk cId="2062478243" sldId="882"/>
            <ac:spMk id="24" creationId="{9446EA08-1EF3-41ED-BA33-9BE461E55356}"/>
          </ac:spMkLst>
        </pc:spChg>
        <pc:spChg chg="add">
          <ac:chgData name="Kaltrina Rexhahmetaj" userId="S::kaltrina.rexhahmetaj@bvh.org::c314e318-93e0-4c36-9995-6aa0f00e0010" providerId="AD" clId="Web-{5F1E348E-7353-61D8-C6BD-B8780B2D8DD1}" dt="2020-03-17T16:28:48.340" v="385"/>
          <ac:spMkLst>
            <pc:docMk/>
            <pc:sldMk cId="2062478243" sldId="882"/>
            <ac:spMk id="25" creationId="{DC60B67E-36E4-48C8-A790-10CC6258EB31}"/>
          </ac:spMkLst>
        </pc:spChg>
        <pc:grpChg chg="add">
          <ac:chgData name="Kaltrina Rexhahmetaj" userId="S::kaltrina.rexhahmetaj@bvh.org::c314e318-93e0-4c36-9995-6aa0f00e0010" providerId="AD" clId="Web-{5F1E348E-7353-61D8-C6BD-B8780B2D8DD1}" dt="2020-03-17T16:28:48.340" v="385"/>
          <ac:grpSpMkLst>
            <pc:docMk/>
            <pc:sldMk cId="2062478243" sldId="882"/>
            <ac:grpSpMk id="15" creationId="{89F300FA-8FAA-4569-8B0D-C89EA9E5090E}"/>
          </ac:grpSpMkLst>
        </pc:grpChg>
        <pc:picChg chg="del">
          <ac:chgData name="Kaltrina Rexhahmetaj" userId="S::kaltrina.rexhahmetaj@bvh.org::c314e318-93e0-4c36-9995-6aa0f00e0010" providerId="AD" clId="Web-{5F1E348E-7353-61D8-C6BD-B8780B2D8DD1}" dt="2020-03-17T16:28:29.621" v="376"/>
          <ac:picMkLst>
            <pc:docMk/>
            <pc:sldMk cId="2062478243" sldId="882"/>
            <ac:picMk id="13" creationId="{A256A4F3-077E-44AE-AD57-1526D66F5DCE}"/>
          </ac:picMkLst>
        </pc:picChg>
      </pc:sldChg>
      <pc:sldChg chg="add del replId modNotes">
        <pc:chgData name="Kaltrina Rexhahmetaj" userId="S::kaltrina.rexhahmetaj@bvh.org::c314e318-93e0-4c36-9995-6aa0f00e0010" providerId="AD" clId="Web-{5F1E348E-7353-61D8-C6BD-B8780B2D8DD1}" dt="2020-03-17T16:32:54.978" v="463"/>
        <pc:sldMkLst>
          <pc:docMk/>
          <pc:sldMk cId="2248191668" sldId="883"/>
        </pc:sldMkLst>
      </pc:sldChg>
      <pc:sldChg chg="add del replId">
        <pc:chgData name="Kaltrina Rexhahmetaj" userId="S::kaltrina.rexhahmetaj@bvh.org::c314e318-93e0-4c36-9995-6aa0f00e0010" providerId="AD" clId="Web-{5F1E348E-7353-61D8-C6BD-B8780B2D8DD1}" dt="2020-03-17T16:31:54.057" v="431"/>
        <pc:sldMkLst>
          <pc:docMk/>
          <pc:sldMk cId="1267584174" sldId="884"/>
        </pc:sldMkLst>
      </pc:sldChg>
      <pc:sldChg chg="addSp delSp modSp add replId modNotes">
        <pc:chgData name="Kaltrina Rexhahmetaj" userId="S::kaltrina.rexhahmetaj@bvh.org::c314e318-93e0-4c36-9995-6aa0f00e0010" providerId="AD" clId="Web-{5F1E348E-7353-61D8-C6BD-B8780B2D8DD1}" dt="2020-03-17T16:32:52.462" v="462"/>
        <pc:sldMkLst>
          <pc:docMk/>
          <pc:sldMk cId="3413757384" sldId="884"/>
        </pc:sldMkLst>
        <pc:spChg chg="del">
          <ac:chgData name="Kaltrina Rexhahmetaj" userId="S::kaltrina.rexhahmetaj@bvh.org::c314e318-93e0-4c36-9995-6aa0f00e0010" providerId="AD" clId="Web-{5F1E348E-7353-61D8-C6BD-B8780B2D8DD1}" dt="2020-03-17T16:32:03.697" v="439"/>
          <ac:spMkLst>
            <pc:docMk/>
            <pc:sldMk cId="3413757384" sldId="884"/>
            <ac:spMk id="4" creationId="{51A19497-C8D9-4DAF-AAD2-5743C995E3DF}"/>
          </ac:spMkLst>
        </pc:spChg>
        <pc:spChg chg="add mod">
          <ac:chgData name="Kaltrina Rexhahmetaj" userId="S::kaltrina.rexhahmetaj@bvh.org::c314e318-93e0-4c36-9995-6aa0f00e0010" providerId="AD" clId="Web-{5F1E348E-7353-61D8-C6BD-B8780B2D8DD1}" dt="2020-03-17T16:32:32.978" v="459"/>
          <ac:spMkLst>
            <pc:docMk/>
            <pc:sldMk cId="3413757384" sldId="884"/>
            <ac:spMk id="5" creationId="{E80229ED-3029-432E-A3E3-D07A2935B14E}"/>
          </ac:spMkLst>
        </pc:spChg>
        <pc:spChg chg="add del">
          <ac:chgData name="Kaltrina Rexhahmetaj" userId="S::kaltrina.rexhahmetaj@bvh.org::c314e318-93e0-4c36-9995-6aa0f00e0010" providerId="AD" clId="Web-{5F1E348E-7353-61D8-C6BD-B8780B2D8DD1}" dt="2020-03-17T16:32:23.838" v="446"/>
          <ac:spMkLst>
            <pc:docMk/>
            <pc:sldMk cId="3413757384" sldId="884"/>
            <ac:spMk id="6" creationId="{EF79FFFF-52DA-4B5F-817F-A3209A01E094}"/>
          </ac:spMkLst>
        </pc:spChg>
        <pc:spChg chg="del">
          <ac:chgData name="Kaltrina Rexhahmetaj" userId="S::kaltrina.rexhahmetaj@bvh.org::c314e318-93e0-4c36-9995-6aa0f00e0010" providerId="AD" clId="Web-{5F1E348E-7353-61D8-C6BD-B8780B2D8DD1}" dt="2020-03-17T16:32:03.527" v="438"/>
          <ac:spMkLst>
            <pc:docMk/>
            <pc:sldMk cId="3413757384" sldId="884"/>
            <ac:spMk id="8" creationId="{5B67E3A1-0F34-48F4-851C-92A70ACC3CC8}"/>
          </ac:spMkLst>
        </pc:spChg>
        <pc:spChg chg="del">
          <ac:chgData name="Kaltrina Rexhahmetaj" userId="S::kaltrina.rexhahmetaj@bvh.org::c314e318-93e0-4c36-9995-6aa0f00e0010" providerId="AD" clId="Web-{5F1E348E-7353-61D8-C6BD-B8780B2D8DD1}" dt="2020-03-17T16:32:03.527" v="437"/>
          <ac:spMkLst>
            <pc:docMk/>
            <pc:sldMk cId="3413757384" sldId="884"/>
            <ac:spMk id="9" creationId="{F328BA80-A06A-4FE6-BAE1-26E4818904F7}"/>
          </ac:spMkLst>
        </pc:spChg>
        <pc:spChg chg="del">
          <ac:chgData name="Kaltrina Rexhahmetaj" userId="S::kaltrina.rexhahmetaj@bvh.org::c314e318-93e0-4c36-9995-6aa0f00e0010" providerId="AD" clId="Web-{5F1E348E-7353-61D8-C6BD-B8780B2D8DD1}" dt="2020-03-17T16:32:03.527" v="436"/>
          <ac:spMkLst>
            <pc:docMk/>
            <pc:sldMk cId="3413757384" sldId="884"/>
            <ac:spMk id="10" creationId="{7A148542-85D6-42D3-AFB0-C96AA72613FD}"/>
          </ac:spMkLst>
        </pc:spChg>
        <pc:spChg chg="del">
          <ac:chgData name="Kaltrina Rexhahmetaj" userId="S::kaltrina.rexhahmetaj@bvh.org::c314e318-93e0-4c36-9995-6aa0f00e0010" providerId="AD" clId="Web-{5F1E348E-7353-61D8-C6BD-B8780B2D8DD1}" dt="2020-03-17T16:32:03.527" v="435"/>
          <ac:spMkLst>
            <pc:docMk/>
            <pc:sldMk cId="3413757384" sldId="884"/>
            <ac:spMk id="11" creationId="{89B4CB25-92B2-4459-8A20-D5EEF863FC8B}"/>
          </ac:spMkLst>
        </pc:spChg>
        <pc:spChg chg="del">
          <ac:chgData name="Kaltrina Rexhahmetaj" userId="S::kaltrina.rexhahmetaj@bvh.org::c314e318-93e0-4c36-9995-6aa0f00e0010" providerId="AD" clId="Web-{5F1E348E-7353-61D8-C6BD-B8780B2D8DD1}" dt="2020-03-17T16:32:03.527" v="434"/>
          <ac:spMkLst>
            <pc:docMk/>
            <pc:sldMk cId="3413757384" sldId="884"/>
            <ac:spMk id="12" creationId="{569E60EB-E67C-47DF-98B1-7EF7EB39C4CC}"/>
          </ac:spMkLst>
        </pc:spChg>
        <pc:spChg chg="add">
          <ac:chgData name="Kaltrina Rexhahmetaj" userId="S::kaltrina.rexhahmetaj@bvh.org::c314e318-93e0-4c36-9995-6aa0f00e0010" providerId="AD" clId="Web-{5F1E348E-7353-61D8-C6BD-B8780B2D8DD1}" dt="2020-03-17T16:32:10.713" v="442"/>
          <ac:spMkLst>
            <pc:docMk/>
            <pc:sldMk cId="3413757384" sldId="884"/>
            <ac:spMk id="21" creationId="{B29FF9FD-0586-410D-824F-249A9FC385F7}"/>
          </ac:spMkLst>
        </pc:spChg>
        <pc:spChg chg="add">
          <ac:chgData name="Kaltrina Rexhahmetaj" userId="S::kaltrina.rexhahmetaj@bvh.org::c314e318-93e0-4c36-9995-6aa0f00e0010" providerId="AD" clId="Web-{5F1E348E-7353-61D8-C6BD-B8780B2D8DD1}" dt="2020-03-17T16:32:10.728" v="443"/>
          <ac:spMkLst>
            <pc:docMk/>
            <pc:sldMk cId="3413757384" sldId="884"/>
            <ac:spMk id="23" creationId="{998A48FF-EC22-4A67-9808-414D67D11BA8}"/>
          </ac:spMkLst>
        </pc:spChg>
        <pc:spChg chg="add">
          <ac:chgData name="Kaltrina Rexhahmetaj" userId="S::kaltrina.rexhahmetaj@bvh.org::c314e318-93e0-4c36-9995-6aa0f00e0010" providerId="AD" clId="Web-{5F1E348E-7353-61D8-C6BD-B8780B2D8DD1}" dt="2020-03-17T16:32:10.744" v="444"/>
          <ac:spMkLst>
            <pc:docMk/>
            <pc:sldMk cId="3413757384" sldId="884"/>
            <ac:spMk id="25" creationId="{5F75DE2E-B0DD-4B79-939E-A6A11934F824}"/>
          </ac:spMkLst>
        </pc:spChg>
        <pc:spChg chg="add">
          <ac:chgData name="Kaltrina Rexhahmetaj" userId="S::kaltrina.rexhahmetaj@bvh.org::c314e318-93e0-4c36-9995-6aa0f00e0010" providerId="AD" clId="Web-{5F1E348E-7353-61D8-C6BD-B8780B2D8DD1}" dt="2020-03-17T16:32:10.760" v="445"/>
          <ac:spMkLst>
            <pc:docMk/>
            <pc:sldMk cId="3413757384" sldId="884"/>
            <ac:spMk id="27" creationId="{6E234B62-CDEA-4855-A49E-D30909C24881}"/>
          </ac:spMkLst>
        </pc:spChg>
        <pc:grpChg chg="add">
          <ac:chgData name="Kaltrina Rexhahmetaj" userId="S::kaltrina.rexhahmetaj@bvh.org::c314e318-93e0-4c36-9995-6aa0f00e0010" providerId="AD" clId="Web-{5F1E348E-7353-61D8-C6BD-B8780B2D8DD1}" dt="2020-03-17T16:32:10.697" v="441"/>
          <ac:grpSpMkLst>
            <pc:docMk/>
            <pc:sldMk cId="3413757384" sldId="884"/>
            <ac:grpSpMk id="7" creationId="{A85EB571-8436-426F-976D-94C06FBB85BB}"/>
          </ac:grpSpMkLst>
        </pc:grpChg>
        <pc:picChg chg="del">
          <ac:chgData name="Kaltrina Rexhahmetaj" userId="S::kaltrina.rexhahmetaj@bvh.org::c314e318-93e0-4c36-9995-6aa0f00e0010" providerId="AD" clId="Web-{5F1E348E-7353-61D8-C6BD-B8780B2D8DD1}" dt="2020-03-17T16:32:03.510" v="433"/>
          <ac:picMkLst>
            <pc:docMk/>
            <pc:sldMk cId="3413757384" sldId="884"/>
            <ac:picMk id="13" creationId="{A256A4F3-077E-44AE-AD57-1526D66F5DCE}"/>
          </ac:picMkLst>
        </pc:picChg>
      </pc:sldChg>
      <pc:sldChg chg="addSp delSp modSp add replId modNotes">
        <pc:chgData name="Kaltrina Rexhahmetaj" userId="S::kaltrina.rexhahmetaj@bvh.org::c314e318-93e0-4c36-9995-6aa0f00e0010" providerId="AD" clId="Web-{5F1E348E-7353-61D8-C6BD-B8780B2D8DD1}" dt="2020-03-17T16:34:42.946" v="489"/>
        <pc:sldMkLst>
          <pc:docMk/>
          <pc:sldMk cId="739761764" sldId="885"/>
        </pc:sldMkLst>
        <pc:spChg chg="add mod">
          <ac:chgData name="Kaltrina Rexhahmetaj" userId="S::kaltrina.rexhahmetaj@bvh.org::c314e318-93e0-4c36-9995-6aa0f00e0010" providerId="AD" clId="Web-{5F1E348E-7353-61D8-C6BD-B8780B2D8DD1}" dt="2020-03-17T16:34:02.493" v="479"/>
          <ac:spMkLst>
            <pc:docMk/>
            <pc:sldMk cId="739761764" sldId="885"/>
            <ac:spMk id="4" creationId="{E0618955-07CF-473C-8DCE-05AE6F9108FC}"/>
          </ac:spMkLst>
        </pc:spChg>
        <pc:spChg chg="del">
          <ac:chgData name="Kaltrina Rexhahmetaj" userId="S::kaltrina.rexhahmetaj@bvh.org::c314e318-93e0-4c36-9995-6aa0f00e0010" providerId="AD" clId="Web-{5F1E348E-7353-61D8-C6BD-B8780B2D8DD1}" dt="2020-03-17T16:33:03.697" v="470"/>
          <ac:spMkLst>
            <pc:docMk/>
            <pc:sldMk cId="739761764" sldId="885"/>
            <ac:spMk id="5" creationId="{E80229ED-3029-432E-A3E3-D07A2935B14E}"/>
          </ac:spMkLst>
        </pc:spChg>
        <pc:spChg chg="add mod">
          <ac:chgData name="Kaltrina Rexhahmetaj" userId="S::kaltrina.rexhahmetaj@bvh.org::c314e318-93e0-4c36-9995-6aa0f00e0010" providerId="AD" clId="Web-{5F1E348E-7353-61D8-C6BD-B8780B2D8DD1}" dt="2020-03-17T16:34:24.946" v="485" actId="20577"/>
          <ac:spMkLst>
            <pc:docMk/>
            <pc:sldMk cId="739761764" sldId="885"/>
            <ac:spMk id="15" creationId="{6E60075C-5A30-44C5-83AD-079CB55DB4AB}"/>
          </ac:spMkLst>
        </pc:spChg>
        <pc:spChg chg="add del">
          <ac:chgData name="Kaltrina Rexhahmetaj" userId="S::kaltrina.rexhahmetaj@bvh.org::c314e318-93e0-4c36-9995-6aa0f00e0010" providerId="AD" clId="Web-{5F1E348E-7353-61D8-C6BD-B8780B2D8DD1}" dt="2020-03-17T16:34:29.305" v="487"/>
          <ac:spMkLst>
            <pc:docMk/>
            <pc:sldMk cId="739761764" sldId="885"/>
            <ac:spMk id="20" creationId="{4FCA12DC-B78F-4AB8-ADEC-EB49BAD7AE7F}"/>
          </ac:spMkLst>
        </pc:spChg>
        <pc:spChg chg="del">
          <ac:chgData name="Kaltrina Rexhahmetaj" userId="S::kaltrina.rexhahmetaj@bvh.org::c314e318-93e0-4c36-9995-6aa0f00e0010" providerId="AD" clId="Web-{5F1E348E-7353-61D8-C6BD-B8780B2D8DD1}" dt="2020-03-17T16:33:03.525" v="468"/>
          <ac:spMkLst>
            <pc:docMk/>
            <pc:sldMk cId="739761764" sldId="885"/>
            <ac:spMk id="21" creationId="{B29FF9FD-0586-410D-824F-249A9FC385F7}"/>
          </ac:spMkLst>
        </pc:spChg>
        <pc:spChg chg="add del mod">
          <ac:chgData name="Kaltrina Rexhahmetaj" userId="S::kaltrina.rexhahmetaj@bvh.org::c314e318-93e0-4c36-9995-6aa0f00e0010" providerId="AD" clId="Web-{5F1E348E-7353-61D8-C6BD-B8780B2D8DD1}" dt="2020-03-17T16:34:02.430" v="478"/>
          <ac:spMkLst>
            <pc:docMk/>
            <pc:sldMk cId="739761764" sldId="885"/>
            <ac:spMk id="22" creationId="{1BC735B6-9E1F-46C5-8811-B743C076C756}"/>
          </ac:spMkLst>
        </pc:spChg>
        <pc:spChg chg="del">
          <ac:chgData name="Kaltrina Rexhahmetaj" userId="S::kaltrina.rexhahmetaj@bvh.org::c314e318-93e0-4c36-9995-6aa0f00e0010" providerId="AD" clId="Web-{5F1E348E-7353-61D8-C6BD-B8780B2D8DD1}" dt="2020-03-17T16:33:03.509" v="467"/>
          <ac:spMkLst>
            <pc:docMk/>
            <pc:sldMk cId="739761764" sldId="885"/>
            <ac:spMk id="23" creationId="{998A48FF-EC22-4A67-9808-414D67D11BA8}"/>
          </ac:spMkLst>
        </pc:spChg>
        <pc:spChg chg="del">
          <ac:chgData name="Kaltrina Rexhahmetaj" userId="S::kaltrina.rexhahmetaj@bvh.org::c314e318-93e0-4c36-9995-6aa0f00e0010" providerId="AD" clId="Web-{5F1E348E-7353-61D8-C6BD-B8780B2D8DD1}" dt="2020-03-17T16:33:03.509" v="466"/>
          <ac:spMkLst>
            <pc:docMk/>
            <pc:sldMk cId="739761764" sldId="885"/>
            <ac:spMk id="25" creationId="{5F75DE2E-B0DD-4B79-939E-A6A11934F824}"/>
          </ac:spMkLst>
        </pc:spChg>
        <pc:spChg chg="del">
          <ac:chgData name="Kaltrina Rexhahmetaj" userId="S::kaltrina.rexhahmetaj@bvh.org::c314e318-93e0-4c36-9995-6aa0f00e0010" providerId="AD" clId="Web-{5F1E348E-7353-61D8-C6BD-B8780B2D8DD1}" dt="2020-03-17T16:33:03.509" v="465"/>
          <ac:spMkLst>
            <pc:docMk/>
            <pc:sldMk cId="739761764" sldId="885"/>
            <ac:spMk id="27" creationId="{6E234B62-CDEA-4855-A49E-D30909C24881}"/>
          </ac:spMkLst>
        </pc:spChg>
        <pc:grpChg chg="del">
          <ac:chgData name="Kaltrina Rexhahmetaj" userId="S::kaltrina.rexhahmetaj@bvh.org::c314e318-93e0-4c36-9995-6aa0f00e0010" providerId="AD" clId="Web-{5F1E348E-7353-61D8-C6BD-B8780B2D8DD1}" dt="2020-03-17T16:33:03.525" v="469"/>
          <ac:grpSpMkLst>
            <pc:docMk/>
            <pc:sldMk cId="739761764" sldId="885"/>
            <ac:grpSpMk id="7" creationId="{A85EB571-8436-426F-976D-94C06FBB85BB}"/>
          </ac:grpSpMkLst>
        </pc:grpChg>
      </pc:sldChg>
      <pc:sldChg chg="addSp delSp modSp add del replId modNotes">
        <pc:chgData name="Kaltrina Rexhahmetaj" userId="S::kaltrina.rexhahmetaj@bvh.org::c314e318-93e0-4c36-9995-6aa0f00e0010" providerId="AD" clId="Web-{5F1E348E-7353-61D8-C6BD-B8780B2D8DD1}" dt="2020-03-17T16:35:23.914" v="495"/>
        <pc:sldMkLst>
          <pc:docMk/>
          <pc:sldMk cId="1504414834" sldId="886"/>
        </pc:sldMkLst>
        <pc:spChg chg="del">
          <ac:chgData name="Kaltrina Rexhahmetaj" userId="S::kaltrina.rexhahmetaj@bvh.org::c314e318-93e0-4c36-9995-6aa0f00e0010" providerId="AD" clId="Web-{5F1E348E-7353-61D8-C6BD-B8780B2D8DD1}" dt="2020-03-17T16:34:48.399" v="492"/>
          <ac:spMkLst>
            <pc:docMk/>
            <pc:sldMk cId="1504414834" sldId="886"/>
            <ac:spMk id="4" creationId="{E0618955-07CF-473C-8DCE-05AE6F9108FC}"/>
          </ac:spMkLst>
        </pc:spChg>
        <pc:spChg chg="add mod">
          <ac:chgData name="Kaltrina Rexhahmetaj" userId="S::kaltrina.rexhahmetaj@bvh.org::c314e318-93e0-4c36-9995-6aa0f00e0010" providerId="AD" clId="Web-{5F1E348E-7353-61D8-C6BD-B8780B2D8DD1}" dt="2020-03-17T16:34:48.399" v="492"/>
          <ac:spMkLst>
            <pc:docMk/>
            <pc:sldMk cId="1504414834" sldId="886"/>
            <ac:spMk id="5" creationId="{3DEB99C5-D529-4351-B937-055A60E4CDA6}"/>
          </ac:spMkLst>
        </pc:spChg>
        <pc:spChg chg="del">
          <ac:chgData name="Kaltrina Rexhahmetaj" userId="S::kaltrina.rexhahmetaj@bvh.org::c314e318-93e0-4c36-9995-6aa0f00e0010" providerId="AD" clId="Web-{5F1E348E-7353-61D8-C6BD-B8780B2D8DD1}" dt="2020-03-17T16:34:48.211" v="491"/>
          <ac:spMkLst>
            <pc:docMk/>
            <pc:sldMk cId="1504414834" sldId="886"/>
            <ac:spMk id="15" creationId="{6E60075C-5A30-44C5-83AD-079CB55DB4AB}"/>
          </ac:spMkLst>
        </pc:spChg>
      </pc:sldChg>
      <pc:sldChg chg="add ord">
        <pc:chgData name="Kaltrina Rexhahmetaj" userId="S::kaltrina.rexhahmetaj@bvh.org::c314e318-93e0-4c36-9995-6aa0f00e0010" providerId="AD" clId="Web-{5F1E348E-7353-61D8-C6BD-B8780B2D8DD1}" dt="2020-03-17T16:35:34.977" v="497"/>
        <pc:sldMkLst>
          <pc:docMk/>
          <pc:sldMk cId="679200705" sldId="887"/>
        </pc:sldMkLst>
      </pc:sldChg>
      <pc:sldChg chg="delSp add del replId delAnim">
        <pc:chgData name="Kaltrina Rexhahmetaj" userId="S::kaltrina.rexhahmetaj@bvh.org::c314e318-93e0-4c36-9995-6aa0f00e0010" providerId="AD" clId="Web-{5F1E348E-7353-61D8-C6BD-B8780B2D8DD1}" dt="2020-03-17T16:36:29.960" v="506"/>
        <pc:sldMkLst>
          <pc:docMk/>
          <pc:sldMk cId="1008141760" sldId="888"/>
        </pc:sldMkLst>
        <pc:spChg chg="del">
          <ac:chgData name="Kaltrina Rexhahmetaj" userId="S::kaltrina.rexhahmetaj@bvh.org::c314e318-93e0-4c36-9995-6aa0f00e0010" providerId="AD" clId="Web-{5F1E348E-7353-61D8-C6BD-B8780B2D8DD1}" dt="2020-03-17T16:36:25.882" v="505"/>
          <ac:spMkLst>
            <pc:docMk/>
            <pc:sldMk cId="1008141760" sldId="888"/>
            <ac:spMk id="4" creationId="{D8DE1245-0547-481C-B02B-A35BC3D462F7}"/>
          </ac:spMkLst>
        </pc:spChg>
        <pc:spChg chg="del">
          <ac:chgData name="Kaltrina Rexhahmetaj" userId="S::kaltrina.rexhahmetaj@bvh.org::c314e318-93e0-4c36-9995-6aa0f00e0010" providerId="AD" clId="Web-{5F1E348E-7353-61D8-C6BD-B8780B2D8DD1}" dt="2020-03-17T16:36:25.882" v="504"/>
          <ac:spMkLst>
            <pc:docMk/>
            <pc:sldMk cId="1008141760" sldId="888"/>
            <ac:spMk id="5" creationId="{15C9A07B-94EB-4F12-ACDA-1C08F950AF6B}"/>
          </ac:spMkLst>
        </pc:spChg>
        <pc:spChg chg="del">
          <ac:chgData name="Kaltrina Rexhahmetaj" userId="S::kaltrina.rexhahmetaj@bvh.org::c314e318-93e0-4c36-9995-6aa0f00e0010" providerId="AD" clId="Web-{5F1E348E-7353-61D8-C6BD-B8780B2D8DD1}" dt="2020-03-17T16:36:25.867" v="503"/>
          <ac:spMkLst>
            <pc:docMk/>
            <pc:sldMk cId="1008141760" sldId="888"/>
            <ac:spMk id="6" creationId="{5DC778D2-6FDE-4F56-8428-89167E2CE9B1}"/>
          </ac:spMkLst>
        </pc:spChg>
        <pc:spChg chg="del">
          <ac:chgData name="Kaltrina Rexhahmetaj" userId="S::kaltrina.rexhahmetaj@bvh.org::c314e318-93e0-4c36-9995-6aa0f00e0010" providerId="AD" clId="Web-{5F1E348E-7353-61D8-C6BD-B8780B2D8DD1}" dt="2020-03-17T16:36:25.867" v="502"/>
          <ac:spMkLst>
            <pc:docMk/>
            <pc:sldMk cId="1008141760" sldId="888"/>
            <ac:spMk id="7" creationId="{C6F8892F-4113-4E3C-86E3-7D4342F37326}"/>
          </ac:spMkLst>
        </pc:spChg>
        <pc:spChg chg="del">
          <ac:chgData name="Kaltrina Rexhahmetaj" userId="S::kaltrina.rexhahmetaj@bvh.org::c314e318-93e0-4c36-9995-6aa0f00e0010" providerId="AD" clId="Web-{5F1E348E-7353-61D8-C6BD-B8780B2D8DD1}" dt="2020-03-17T16:36:25.867" v="501"/>
          <ac:spMkLst>
            <pc:docMk/>
            <pc:sldMk cId="1008141760" sldId="888"/>
            <ac:spMk id="8" creationId="{6DE87A68-80C4-477D-A028-2FB81E1D08A5}"/>
          </ac:spMkLst>
        </pc:spChg>
        <pc:spChg chg="del">
          <ac:chgData name="Kaltrina Rexhahmetaj" userId="S::kaltrina.rexhahmetaj@bvh.org::c314e318-93e0-4c36-9995-6aa0f00e0010" providerId="AD" clId="Web-{5F1E348E-7353-61D8-C6BD-B8780B2D8DD1}" dt="2020-03-17T16:36:25.867" v="500"/>
          <ac:spMkLst>
            <pc:docMk/>
            <pc:sldMk cId="1008141760" sldId="888"/>
            <ac:spMk id="9" creationId="{303E7D32-8E99-40A3-8BC2-CB297BA209D5}"/>
          </ac:spMkLst>
        </pc:spChg>
      </pc:sldChg>
      <pc:sldChg chg="add del replId">
        <pc:chgData name="Kaltrina Rexhahmetaj" userId="S::kaltrina.rexhahmetaj@bvh.org::c314e318-93e0-4c36-9995-6aa0f00e0010" providerId="AD" clId="Web-{5F1E348E-7353-61D8-C6BD-B8780B2D8DD1}" dt="2020-03-17T16:36:18.585" v="498"/>
        <pc:sldMkLst>
          <pc:docMk/>
          <pc:sldMk cId="1779987347" sldId="888"/>
        </pc:sldMkLst>
      </pc:sldChg>
      <pc:sldChg chg="addSp delSp modSp add replId modNotes">
        <pc:chgData name="Kaltrina Rexhahmetaj" userId="S::kaltrina.rexhahmetaj@bvh.org::c314e318-93e0-4c36-9995-6aa0f00e0010" providerId="AD" clId="Web-{5F1E348E-7353-61D8-C6BD-B8780B2D8DD1}" dt="2020-03-17T16:38:06.163" v="529"/>
        <pc:sldMkLst>
          <pc:docMk/>
          <pc:sldMk cId="2433671228" sldId="888"/>
        </pc:sldMkLst>
        <pc:spChg chg="del">
          <ac:chgData name="Kaltrina Rexhahmetaj" userId="S::kaltrina.rexhahmetaj@bvh.org::c314e318-93e0-4c36-9995-6aa0f00e0010" providerId="AD" clId="Web-{5F1E348E-7353-61D8-C6BD-B8780B2D8DD1}" dt="2020-03-17T16:36:46.007" v="509"/>
          <ac:spMkLst>
            <pc:docMk/>
            <pc:sldMk cId="2433671228" sldId="888"/>
            <ac:spMk id="4" creationId="{E0618955-07CF-473C-8DCE-05AE6F9108FC}"/>
          </ac:spMkLst>
        </pc:spChg>
        <pc:spChg chg="add del mod">
          <ac:chgData name="Kaltrina Rexhahmetaj" userId="S::kaltrina.rexhahmetaj@bvh.org::c314e318-93e0-4c36-9995-6aa0f00e0010" providerId="AD" clId="Web-{5F1E348E-7353-61D8-C6BD-B8780B2D8DD1}" dt="2020-03-17T16:37:04.320" v="513"/>
          <ac:spMkLst>
            <pc:docMk/>
            <pc:sldMk cId="2433671228" sldId="888"/>
            <ac:spMk id="5" creationId="{5E71D39B-CE0D-4394-A0A2-EC2DDDE0463F}"/>
          </ac:spMkLst>
        </pc:spChg>
        <pc:spChg chg="add">
          <ac:chgData name="Kaltrina Rexhahmetaj" userId="S::kaltrina.rexhahmetaj@bvh.org::c314e318-93e0-4c36-9995-6aa0f00e0010" providerId="AD" clId="Web-{5F1E348E-7353-61D8-C6BD-B8780B2D8DD1}" dt="2020-03-17T16:36:58.679" v="511"/>
          <ac:spMkLst>
            <pc:docMk/>
            <pc:sldMk cId="2433671228" sldId="888"/>
            <ac:spMk id="7" creationId="{69223CBA-C872-4C91-89F5-564CE413EF70}"/>
          </ac:spMkLst>
        </pc:spChg>
        <pc:spChg chg="add del">
          <ac:chgData name="Kaltrina Rexhahmetaj" userId="S::kaltrina.rexhahmetaj@bvh.org::c314e318-93e0-4c36-9995-6aa0f00e0010" providerId="AD" clId="Web-{5F1E348E-7353-61D8-C6BD-B8780B2D8DD1}" dt="2020-03-17T16:37:02.538" v="512"/>
          <ac:spMkLst>
            <pc:docMk/>
            <pc:sldMk cId="2433671228" sldId="888"/>
            <ac:spMk id="8" creationId="{E7DE4B8C-34A0-4EF7-A32E-0A7719A7AF8C}"/>
          </ac:spMkLst>
        </pc:spChg>
        <pc:spChg chg="del">
          <ac:chgData name="Kaltrina Rexhahmetaj" userId="S::kaltrina.rexhahmetaj@bvh.org::c314e318-93e0-4c36-9995-6aa0f00e0010" providerId="AD" clId="Web-{5F1E348E-7353-61D8-C6BD-B8780B2D8DD1}" dt="2020-03-17T16:36:45.835" v="508"/>
          <ac:spMkLst>
            <pc:docMk/>
            <pc:sldMk cId="2433671228" sldId="888"/>
            <ac:spMk id="15" creationId="{6E60075C-5A30-44C5-83AD-079CB55DB4AB}"/>
          </ac:spMkLst>
        </pc:spChg>
      </pc:sldChg>
      <pc:sldChg chg="delSp add del replId">
        <pc:chgData name="Kaltrina Rexhahmetaj" userId="S::kaltrina.rexhahmetaj@bvh.org::c314e318-93e0-4c36-9995-6aa0f00e0010" providerId="AD" clId="Web-{5F1E348E-7353-61D8-C6BD-B8780B2D8DD1}" dt="2020-03-17T16:38:17.944" v="532"/>
        <pc:sldMkLst>
          <pc:docMk/>
          <pc:sldMk cId="903061870" sldId="889"/>
        </pc:sldMkLst>
        <pc:spChg chg="del">
          <ac:chgData name="Kaltrina Rexhahmetaj" userId="S::kaltrina.rexhahmetaj@bvh.org::c314e318-93e0-4c36-9995-6aa0f00e0010" providerId="AD" clId="Web-{5F1E348E-7353-61D8-C6BD-B8780B2D8DD1}" dt="2020-03-17T16:38:12.225" v="531"/>
          <ac:spMkLst>
            <pc:docMk/>
            <pc:sldMk cId="903061870" sldId="889"/>
            <ac:spMk id="7" creationId="{69223CBA-C872-4C91-89F5-564CE413EF70}"/>
          </ac:spMkLst>
        </pc:spChg>
      </pc:sldChg>
      <pc:sldChg chg="addSp delSp modSp add replId modNotes">
        <pc:chgData name="Kaltrina Rexhahmetaj" userId="S::kaltrina.rexhahmetaj@bvh.org::c314e318-93e0-4c36-9995-6aa0f00e0010" providerId="AD" clId="Web-{5F1E348E-7353-61D8-C6BD-B8780B2D8DD1}" dt="2020-03-17T17:47:50.880" v="557"/>
        <pc:sldMkLst>
          <pc:docMk/>
          <pc:sldMk cId="3162418889" sldId="889"/>
        </pc:sldMkLst>
        <pc:spChg chg="add del mod">
          <ac:chgData name="Kaltrina Rexhahmetaj" userId="S::kaltrina.rexhahmetaj@bvh.org::c314e318-93e0-4c36-9995-6aa0f00e0010" providerId="AD" clId="Web-{5F1E348E-7353-61D8-C6BD-B8780B2D8DD1}" dt="2020-03-17T17:37:49.533" v="551"/>
          <ac:spMkLst>
            <pc:docMk/>
            <pc:sldMk cId="3162418889" sldId="889"/>
            <ac:spMk id="4" creationId="{2B64A8ED-B94B-42D6-9D55-9A6FC8F931E9}"/>
          </ac:spMkLst>
        </pc:spChg>
        <pc:spChg chg="del">
          <ac:chgData name="Kaltrina Rexhahmetaj" userId="S::kaltrina.rexhahmetaj@bvh.org::c314e318-93e0-4c36-9995-6aa0f00e0010" providerId="AD" clId="Web-{5F1E348E-7353-61D8-C6BD-B8780B2D8DD1}" dt="2020-03-17T16:38:26.444" v="535"/>
          <ac:spMkLst>
            <pc:docMk/>
            <pc:sldMk cId="3162418889" sldId="889"/>
            <ac:spMk id="4" creationId="{E0618955-07CF-473C-8DCE-05AE6F9108FC}"/>
          </ac:spMkLst>
        </pc:spChg>
        <pc:spChg chg="add mod">
          <ac:chgData name="Kaltrina Rexhahmetaj" userId="S::kaltrina.rexhahmetaj@bvh.org::c314e318-93e0-4c36-9995-6aa0f00e0010" providerId="AD" clId="Web-{5F1E348E-7353-61D8-C6BD-B8780B2D8DD1}" dt="2020-03-17T17:36:06.903" v="549" actId="20577"/>
          <ac:spMkLst>
            <pc:docMk/>
            <pc:sldMk cId="3162418889" sldId="889"/>
            <ac:spMk id="5" creationId="{2F5A0EA8-B3DC-4FD8-A639-1B62D901BAF7}"/>
          </ac:spMkLst>
        </pc:spChg>
        <pc:spChg chg="add del">
          <ac:chgData name="Kaltrina Rexhahmetaj" userId="S::kaltrina.rexhahmetaj@bvh.org::c314e318-93e0-4c36-9995-6aa0f00e0010" providerId="AD" clId="Web-{5F1E348E-7353-61D8-C6BD-B8780B2D8DD1}" dt="2020-03-17T17:35:55.167" v="547"/>
          <ac:spMkLst>
            <pc:docMk/>
            <pc:sldMk cId="3162418889" sldId="889"/>
            <ac:spMk id="6" creationId="{527974A2-FDED-4B71-9B0B-641E3E9C36AA}"/>
          </ac:spMkLst>
        </pc:spChg>
        <pc:spChg chg="del">
          <ac:chgData name="Kaltrina Rexhahmetaj" userId="S::kaltrina.rexhahmetaj@bvh.org::c314e318-93e0-4c36-9995-6aa0f00e0010" providerId="AD" clId="Web-{5F1E348E-7353-61D8-C6BD-B8780B2D8DD1}" dt="2020-03-17T16:38:26.272" v="534"/>
          <ac:spMkLst>
            <pc:docMk/>
            <pc:sldMk cId="3162418889" sldId="889"/>
            <ac:spMk id="15" creationId="{6E60075C-5A30-44C5-83AD-079CB55DB4AB}"/>
          </ac:spMkLst>
        </pc:spChg>
        <pc:graphicFrameChg chg="add">
          <ac:chgData name="Kaltrina Rexhahmetaj" userId="S::kaltrina.rexhahmetaj@bvh.org::c314e318-93e0-4c36-9995-6aa0f00e0010" providerId="AD" clId="Web-{5F1E348E-7353-61D8-C6BD-B8780B2D8DD1}" dt="2020-03-17T17:47:50.880" v="557"/>
          <ac:graphicFrameMkLst>
            <pc:docMk/>
            <pc:sldMk cId="3162418889" sldId="889"/>
            <ac:graphicFrameMk id="3" creationId="{A54070CC-FA18-4AFC-A128-F77D9D08C330}"/>
          </ac:graphicFrameMkLst>
        </pc:graphicFrameChg>
      </pc:sldChg>
      <pc:sldChg chg="add del">
        <pc:chgData name="Kaltrina Rexhahmetaj" userId="S::kaltrina.rexhahmetaj@bvh.org::c314e318-93e0-4c36-9995-6aa0f00e0010" providerId="AD" clId="Web-{5F1E348E-7353-61D8-C6BD-B8780B2D8DD1}" dt="2020-03-17T17:38:28.426" v="554"/>
        <pc:sldMkLst>
          <pc:docMk/>
          <pc:sldMk cId="2285020117" sldId="890"/>
        </pc:sldMkLst>
      </pc:sldChg>
      <pc:sldChg chg="addSp delSp modSp add replId">
        <pc:chgData name="Kaltrina Rexhahmetaj" userId="S::kaltrina.rexhahmetaj@bvh.org::c314e318-93e0-4c36-9995-6aa0f00e0010" providerId="AD" clId="Web-{5F1E348E-7353-61D8-C6BD-B8780B2D8DD1}" dt="2020-03-17T17:50:21.139" v="571"/>
        <pc:sldMkLst>
          <pc:docMk/>
          <pc:sldMk cId="2451267187" sldId="890"/>
        </pc:sldMkLst>
        <pc:spChg chg="del">
          <ac:chgData name="Kaltrina Rexhahmetaj" userId="S::kaltrina.rexhahmetaj@bvh.org::c314e318-93e0-4c36-9995-6aa0f00e0010" providerId="AD" clId="Web-{5F1E348E-7353-61D8-C6BD-B8780B2D8DD1}" dt="2020-03-17T17:49:24.808" v="561"/>
          <ac:spMkLst>
            <pc:docMk/>
            <pc:sldMk cId="2451267187" sldId="890"/>
            <ac:spMk id="5" creationId="{2F5A0EA8-B3DC-4FD8-A639-1B62D901BAF7}"/>
          </ac:spMkLst>
        </pc:spChg>
        <pc:spChg chg="add mod">
          <ac:chgData name="Kaltrina Rexhahmetaj" userId="S::kaltrina.rexhahmetaj@bvh.org::c314e318-93e0-4c36-9995-6aa0f00e0010" providerId="AD" clId="Web-{5F1E348E-7353-61D8-C6BD-B8780B2D8DD1}" dt="2020-03-17T17:50:07.404" v="569"/>
          <ac:spMkLst>
            <pc:docMk/>
            <pc:sldMk cId="2451267187" sldId="890"/>
            <ac:spMk id="6" creationId="{8F55C7C8-B6C6-4389-BBAC-C2910834097E}"/>
          </ac:spMkLst>
        </pc:spChg>
        <pc:spChg chg="add mod">
          <ac:chgData name="Kaltrina Rexhahmetaj" userId="S::kaltrina.rexhahmetaj@bvh.org::c314e318-93e0-4c36-9995-6aa0f00e0010" providerId="AD" clId="Web-{5F1E348E-7353-61D8-C6BD-B8780B2D8DD1}" dt="2020-03-17T17:50:16.451" v="570" actId="1076"/>
          <ac:spMkLst>
            <pc:docMk/>
            <pc:sldMk cId="2451267187" sldId="890"/>
            <ac:spMk id="7" creationId="{B872D005-46BE-4268-B775-06B0C30DBCEF}"/>
          </ac:spMkLst>
        </pc:spChg>
        <pc:spChg chg="add">
          <ac:chgData name="Kaltrina Rexhahmetaj" userId="S::kaltrina.rexhahmetaj@bvh.org::c314e318-93e0-4c36-9995-6aa0f00e0010" providerId="AD" clId="Web-{5F1E348E-7353-61D8-C6BD-B8780B2D8DD1}" dt="2020-03-17T17:49:28.763" v="562"/>
          <ac:spMkLst>
            <pc:docMk/>
            <pc:sldMk cId="2451267187" sldId="890"/>
            <ac:spMk id="8" creationId="{F5DF95F6-DD9B-4114-9CC3-E950A008BDBC}"/>
          </ac:spMkLst>
        </pc:spChg>
        <pc:spChg chg="add del">
          <ac:chgData name="Kaltrina Rexhahmetaj" userId="S::kaltrina.rexhahmetaj@bvh.org::c314e318-93e0-4c36-9995-6aa0f00e0010" providerId="AD" clId="Web-{5F1E348E-7353-61D8-C6BD-B8780B2D8DD1}" dt="2020-03-17T17:50:21.139" v="571"/>
          <ac:spMkLst>
            <pc:docMk/>
            <pc:sldMk cId="2451267187" sldId="890"/>
            <ac:spMk id="9" creationId="{FD16DB10-28F9-4B93-B64B-5D1E643931F7}"/>
          </ac:spMkLst>
        </pc:spChg>
        <pc:spChg chg="add del">
          <ac:chgData name="Kaltrina Rexhahmetaj" userId="S::kaltrina.rexhahmetaj@bvh.org::c314e318-93e0-4c36-9995-6aa0f00e0010" providerId="AD" clId="Web-{5F1E348E-7353-61D8-C6BD-B8780B2D8DD1}" dt="2020-03-17T17:50:01.872" v="568"/>
          <ac:spMkLst>
            <pc:docMk/>
            <pc:sldMk cId="2451267187" sldId="890"/>
            <ac:spMk id="10" creationId="{3EE6BF22-ABC3-4A6C-A9E9-B0EC089EF046}"/>
          </ac:spMkLst>
        </pc:spChg>
        <pc:graphicFrameChg chg="del">
          <ac:chgData name="Kaltrina Rexhahmetaj" userId="S::kaltrina.rexhahmetaj@bvh.org::c314e318-93e0-4c36-9995-6aa0f00e0010" providerId="AD" clId="Web-{5F1E348E-7353-61D8-C6BD-B8780B2D8DD1}" dt="2020-03-17T17:49:24.651" v="560"/>
          <ac:graphicFrameMkLst>
            <pc:docMk/>
            <pc:sldMk cId="2451267187" sldId="890"/>
            <ac:graphicFrameMk id="3" creationId="{A54070CC-FA18-4AFC-A128-F77D9D08C330}"/>
          </ac:graphicFrameMkLst>
        </pc:graphicFrameChg>
      </pc:sldChg>
      <pc:sldChg chg="add del">
        <pc:chgData name="Kaltrina Rexhahmetaj" userId="S::kaltrina.rexhahmetaj@bvh.org::c314e318-93e0-4c36-9995-6aa0f00e0010" providerId="AD" clId="Web-{5F1E348E-7353-61D8-C6BD-B8780B2D8DD1}" dt="2020-03-17T17:48:02.240" v="558"/>
        <pc:sldMkLst>
          <pc:docMk/>
          <pc:sldMk cId="1346636035" sldId="891"/>
        </pc:sldMkLst>
      </pc:sldChg>
      <pc:sldChg chg="addSp delSp modSp add replId">
        <pc:chgData name="Kaltrina Rexhahmetaj" userId="S::kaltrina.rexhahmetaj@bvh.org::c314e318-93e0-4c36-9995-6aa0f00e0010" providerId="AD" clId="Web-{5F1E348E-7353-61D8-C6BD-B8780B2D8DD1}" dt="2020-03-17T17:51:19.392" v="584" actId="20577"/>
        <pc:sldMkLst>
          <pc:docMk/>
          <pc:sldMk cId="3850228052" sldId="891"/>
        </pc:sldMkLst>
        <pc:spChg chg="add mod">
          <ac:chgData name="Kaltrina Rexhahmetaj" userId="S::kaltrina.rexhahmetaj@bvh.org::c314e318-93e0-4c36-9995-6aa0f00e0010" providerId="AD" clId="Web-{5F1E348E-7353-61D8-C6BD-B8780B2D8DD1}" dt="2020-03-17T17:51:02.313" v="583"/>
          <ac:spMkLst>
            <pc:docMk/>
            <pc:sldMk cId="3850228052" sldId="891"/>
            <ac:spMk id="4" creationId="{A2237F00-154F-4F40-A224-1F1C37E32538}"/>
          </ac:spMkLst>
        </pc:spChg>
        <pc:spChg chg="del">
          <ac:chgData name="Kaltrina Rexhahmetaj" userId="S::kaltrina.rexhahmetaj@bvh.org::c314e318-93e0-4c36-9995-6aa0f00e0010" providerId="AD" clId="Web-{5F1E348E-7353-61D8-C6BD-B8780B2D8DD1}" dt="2020-03-17T17:50:33.921" v="575"/>
          <ac:spMkLst>
            <pc:docMk/>
            <pc:sldMk cId="3850228052" sldId="891"/>
            <ac:spMk id="6" creationId="{8F55C7C8-B6C6-4389-BBAC-C2910834097E}"/>
          </ac:spMkLst>
        </pc:spChg>
        <pc:spChg chg="del">
          <ac:chgData name="Kaltrina Rexhahmetaj" userId="S::kaltrina.rexhahmetaj@bvh.org::c314e318-93e0-4c36-9995-6aa0f00e0010" providerId="AD" clId="Web-{5F1E348E-7353-61D8-C6BD-B8780B2D8DD1}" dt="2020-03-17T17:50:33.749" v="574"/>
          <ac:spMkLst>
            <pc:docMk/>
            <pc:sldMk cId="3850228052" sldId="891"/>
            <ac:spMk id="7" creationId="{B872D005-46BE-4268-B775-06B0C30DBCEF}"/>
          </ac:spMkLst>
        </pc:spChg>
        <pc:spChg chg="del">
          <ac:chgData name="Kaltrina Rexhahmetaj" userId="S::kaltrina.rexhahmetaj@bvh.org::c314e318-93e0-4c36-9995-6aa0f00e0010" providerId="AD" clId="Web-{5F1E348E-7353-61D8-C6BD-B8780B2D8DD1}" dt="2020-03-17T17:50:33.749" v="573"/>
          <ac:spMkLst>
            <pc:docMk/>
            <pc:sldMk cId="3850228052" sldId="891"/>
            <ac:spMk id="8" creationId="{F5DF95F6-DD9B-4114-9CC3-E950A008BDBC}"/>
          </ac:spMkLst>
        </pc:spChg>
        <pc:spChg chg="add mod">
          <ac:chgData name="Kaltrina Rexhahmetaj" userId="S::kaltrina.rexhahmetaj@bvh.org::c314e318-93e0-4c36-9995-6aa0f00e0010" providerId="AD" clId="Web-{5F1E348E-7353-61D8-C6BD-B8780B2D8DD1}" dt="2020-03-17T17:51:19.392" v="584" actId="20577"/>
          <ac:spMkLst>
            <pc:docMk/>
            <pc:sldMk cId="3850228052" sldId="891"/>
            <ac:spMk id="12" creationId="{73959508-30B6-4AD3-B661-66D260094A4E}"/>
          </ac:spMkLst>
        </pc:spChg>
        <pc:spChg chg="add del">
          <ac:chgData name="Kaltrina Rexhahmetaj" userId="S::kaltrina.rexhahmetaj@bvh.org::c314e318-93e0-4c36-9995-6aa0f00e0010" providerId="AD" clId="Web-{5F1E348E-7353-61D8-C6BD-B8780B2D8DD1}" dt="2020-03-17T17:50:59.422" v="582"/>
          <ac:spMkLst>
            <pc:docMk/>
            <pc:sldMk cId="3850228052" sldId="891"/>
            <ac:spMk id="13" creationId="{332C68BC-7A31-41D1-9F1F-D255FF3138B8}"/>
          </ac:spMkLst>
        </pc:spChg>
        <pc:picChg chg="add">
          <ac:chgData name="Kaltrina Rexhahmetaj" userId="S::kaltrina.rexhahmetaj@bvh.org::c314e318-93e0-4c36-9995-6aa0f00e0010" providerId="AD" clId="Web-{5F1E348E-7353-61D8-C6BD-B8780B2D8DD1}" dt="2020-03-17T17:50:46.953" v="576"/>
          <ac:picMkLst>
            <pc:docMk/>
            <pc:sldMk cId="3850228052" sldId="891"/>
            <ac:picMk id="9" creationId="{FF733926-3E8D-45BB-A88A-7F5FDD9BFBD9}"/>
          </ac:picMkLst>
        </pc:picChg>
        <pc:picChg chg="add">
          <ac:chgData name="Kaltrina Rexhahmetaj" userId="S::kaltrina.rexhahmetaj@bvh.org::c314e318-93e0-4c36-9995-6aa0f00e0010" providerId="AD" clId="Web-{5F1E348E-7353-61D8-C6BD-B8780B2D8DD1}" dt="2020-03-17T17:50:46.953" v="576"/>
          <ac:picMkLst>
            <pc:docMk/>
            <pc:sldMk cId="3850228052" sldId="891"/>
            <ac:picMk id="10" creationId="{79C807B5-1181-4375-90C5-035F6B80B7F7}"/>
          </ac:picMkLst>
        </pc:picChg>
        <pc:picChg chg="add">
          <ac:chgData name="Kaltrina Rexhahmetaj" userId="S::kaltrina.rexhahmetaj@bvh.org::c314e318-93e0-4c36-9995-6aa0f00e0010" providerId="AD" clId="Web-{5F1E348E-7353-61D8-C6BD-B8780B2D8DD1}" dt="2020-03-17T17:50:46.953" v="576"/>
          <ac:picMkLst>
            <pc:docMk/>
            <pc:sldMk cId="3850228052" sldId="891"/>
            <ac:picMk id="11" creationId="{10B42D1D-7177-49BA-8CBB-5AE8A1F1AEC4}"/>
          </ac:picMkLst>
        </pc:picChg>
      </pc:sldChg>
      <pc:sldChg chg="addSp delSp modSp add replId modNotes">
        <pc:chgData name="Kaltrina Rexhahmetaj" userId="S::kaltrina.rexhahmetaj@bvh.org::c314e318-93e0-4c36-9995-6aa0f00e0010" providerId="AD" clId="Web-{5F1E348E-7353-61D8-C6BD-B8780B2D8DD1}" dt="2020-03-17T17:52:33.475" v="602"/>
        <pc:sldMkLst>
          <pc:docMk/>
          <pc:sldMk cId="1263951352" sldId="892"/>
        </pc:sldMkLst>
        <pc:spChg chg="del">
          <ac:chgData name="Kaltrina Rexhahmetaj" userId="S::kaltrina.rexhahmetaj@bvh.org::c314e318-93e0-4c36-9995-6aa0f00e0010" providerId="AD" clId="Web-{5F1E348E-7353-61D8-C6BD-B8780B2D8DD1}" dt="2020-03-17T17:51:33.971" v="590"/>
          <ac:spMkLst>
            <pc:docMk/>
            <pc:sldMk cId="1263951352" sldId="892"/>
            <ac:spMk id="4" creationId="{A2237F00-154F-4F40-A224-1F1C37E32538}"/>
          </ac:spMkLst>
        </pc:spChg>
        <pc:spChg chg="add mod">
          <ac:chgData name="Kaltrina Rexhahmetaj" userId="S::kaltrina.rexhahmetaj@bvh.org::c314e318-93e0-4c36-9995-6aa0f00e0010" providerId="AD" clId="Web-{5F1E348E-7353-61D8-C6BD-B8780B2D8DD1}" dt="2020-03-17T17:52:11.036" v="599" actId="20577"/>
          <ac:spMkLst>
            <pc:docMk/>
            <pc:sldMk cId="1263951352" sldId="892"/>
            <ac:spMk id="5" creationId="{A4D61256-387A-4381-826A-0F3E9D4E8971}"/>
          </ac:spMkLst>
        </pc:spChg>
        <pc:spChg chg="del">
          <ac:chgData name="Kaltrina Rexhahmetaj" userId="S::kaltrina.rexhahmetaj@bvh.org::c314e318-93e0-4c36-9995-6aa0f00e0010" providerId="AD" clId="Web-{5F1E348E-7353-61D8-C6BD-B8780B2D8DD1}" dt="2020-03-17T17:51:33.815" v="586"/>
          <ac:spMkLst>
            <pc:docMk/>
            <pc:sldMk cId="1263951352" sldId="892"/>
            <ac:spMk id="12" creationId="{73959508-30B6-4AD3-B661-66D260094A4E}"/>
          </ac:spMkLst>
        </pc:spChg>
        <pc:spChg chg="add">
          <ac:chgData name="Kaltrina Rexhahmetaj" userId="S::kaltrina.rexhahmetaj@bvh.org::c314e318-93e0-4c36-9995-6aa0f00e0010" providerId="AD" clId="Web-{5F1E348E-7353-61D8-C6BD-B8780B2D8DD1}" dt="2020-03-17T17:51:48.019" v="591"/>
          <ac:spMkLst>
            <pc:docMk/>
            <pc:sldMk cId="1263951352" sldId="892"/>
            <ac:spMk id="13" creationId="{81D05EC0-EDB6-4E7E-9F16-90B93B66C50F}"/>
          </ac:spMkLst>
        </pc:spChg>
        <pc:spChg chg="add">
          <ac:chgData name="Kaltrina Rexhahmetaj" userId="S::kaltrina.rexhahmetaj@bvh.org::c314e318-93e0-4c36-9995-6aa0f00e0010" providerId="AD" clId="Web-{5F1E348E-7353-61D8-C6BD-B8780B2D8DD1}" dt="2020-03-17T17:51:48.019" v="591"/>
          <ac:spMkLst>
            <pc:docMk/>
            <pc:sldMk cId="1263951352" sldId="892"/>
            <ac:spMk id="14" creationId="{CCBC7A8F-0D7A-47A5-956F-AC0AE15AC394}"/>
          </ac:spMkLst>
        </pc:spChg>
        <pc:spChg chg="add">
          <ac:chgData name="Kaltrina Rexhahmetaj" userId="S::kaltrina.rexhahmetaj@bvh.org::c314e318-93e0-4c36-9995-6aa0f00e0010" providerId="AD" clId="Web-{5F1E348E-7353-61D8-C6BD-B8780B2D8DD1}" dt="2020-03-17T17:51:48.019" v="591"/>
          <ac:spMkLst>
            <pc:docMk/>
            <pc:sldMk cId="1263951352" sldId="892"/>
            <ac:spMk id="15" creationId="{40AFDC17-33B1-46A6-9240-96442ADDEB7D}"/>
          </ac:spMkLst>
        </pc:spChg>
        <pc:spChg chg="add">
          <ac:chgData name="Kaltrina Rexhahmetaj" userId="S::kaltrina.rexhahmetaj@bvh.org::c314e318-93e0-4c36-9995-6aa0f00e0010" providerId="AD" clId="Web-{5F1E348E-7353-61D8-C6BD-B8780B2D8DD1}" dt="2020-03-17T17:51:48.019" v="591"/>
          <ac:spMkLst>
            <pc:docMk/>
            <pc:sldMk cId="1263951352" sldId="892"/>
            <ac:spMk id="16" creationId="{5D0597C6-8031-4D83-9EF0-E74310246155}"/>
          </ac:spMkLst>
        </pc:spChg>
        <pc:spChg chg="add">
          <ac:chgData name="Kaltrina Rexhahmetaj" userId="S::kaltrina.rexhahmetaj@bvh.org::c314e318-93e0-4c36-9995-6aa0f00e0010" providerId="AD" clId="Web-{5F1E348E-7353-61D8-C6BD-B8780B2D8DD1}" dt="2020-03-17T17:51:48.019" v="591"/>
          <ac:spMkLst>
            <pc:docMk/>
            <pc:sldMk cId="1263951352" sldId="892"/>
            <ac:spMk id="17" creationId="{2CD3D2DB-F1D8-4269-8A01-A3CF37C2A03C}"/>
          </ac:spMkLst>
        </pc:spChg>
        <pc:spChg chg="add">
          <ac:chgData name="Kaltrina Rexhahmetaj" userId="S::kaltrina.rexhahmetaj@bvh.org::c314e318-93e0-4c36-9995-6aa0f00e0010" providerId="AD" clId="Web-{5F1E348E-7353-61D8-C6BD-B8780B2D8DD1}" dt="2020-03-17T17:51:48.019" v="591"/>
          <ac:spMkLst>
            <pc:docMk/>
            <pc:sldMk cId="1263951352" sldId="892"/>
            <ac:spMk id="18" creationId="{BDB52E27-8601-4573-B868-AABB792D7EC3}"/>
          </ac:spMkLst>
        </pc:spChg>
        <pc:spChg chg="add">
          <ac:chgData name="Kaltrina Rexhahmetaj" userId="S::kaltrina.rexhahmetaj@bvh.org::c314e318-93e0-4c36-9995-6aa0f00e0010" providerId="AD" clId="Web-{5F1E348E-7353-61D8-C6BD-B8780B2D8DD1}" dt="2020-03-17T17:51:48.019" v="591"/>
          <ac:spMkLst>
            <pc:docMk/>
            <pc:sldMk cId="1263951352" sldId="892"/>
            <ac:spMk id="19" creationId="{07648710-C550-4159-A87A-743DBFD6DF65}"/>
          </ac:spMkLst>
        </pc:spChg>
        <pc:spChg chg="add">
          <ac:chgData name="Kaltrina Rexhahmetaj" userId="S::kaltrina.rexhahmetaj@bvh.org::c314e318-93e0-4c36-9995-6aa0f00e0010" providerId="AD" clId="Web-{5F1E348E-7353-61D8-C6BD-B8780B2D8DD1}" dt="2020-03-17T17:51:48.019" v="591"/>
          <ac:spMkLst>
            <pc:docMk/>
            <pc:sldMk cId="1263951352" sldId="892"/>
            <ac:spMk id="20" creationId="{5361245D-265F-4E22-A3B5-48C8E428E503}"/>
          </ac:spMkLst>
        </pc:spChg>
        <pc:spChg chg="add">
          <ac:chgData name="Kaltrina Rexhahmetaj" userId="S::kaltrina.rexhahmetaj@bvh.org::c314e318-93e0-4c36-9995-6aa0f00e0010" providerId="AD" clId="Web-{5F1E348E-7353-61D8-C6BD-B8780B2D8DD1}" dt="2020-03-17T17:51:48.019" v="591"/>
          <ac:spMkLst>
            <pc:docMk/>
            <pc:sldMk cId="1263951352" sldId="892"/>
            <ac:spMk id="21" creationId="{60EE14CD-F490-4E53-97F8-8E2EFB5B64D0}"/>
          </ac:spMkLst>
        </pc:spChg>
        <pc:spChg chg="add">
          <ac:chgData name="Kaltrina Rexhahmetaj" userId="S::kaltrina.rexhahmetaj@bvh.org::c314e318-93e0-4c36-9995-6aa0f00e0010" providerId="AD" clId="Web-{5F1E348E-7353-61D8-C6BD-B8780B2D8DD1}" dt="2020-03-17T17:51:48.019" v="591"/>
          <ac:spMkLst>
            <pc:docMk/>
            <pc:sldMk cId="1263951352" sldId="892"/>
            <ac:spMk id="22" creationId="{C520807C-4B48-4742-9C4E-1501BF564167}"/>
          </ac:spMkLst>
        </pc:spChg>
        <pc:spChg chg="add">
          <ac:chgData name="Kaltrina Rexhahmetaj" userId="S::kaltrina.rexhahmetaj@bvh.org::c314e318-93e0-4c36-9995-6aa0f00e0010" providerId="AD" clId="Web-{5F1E348E-7353-61D8-C6BD-B8780B2D8DD1}" dt="2020-03-17T17:51:48.019" v="591"/>
          <ac:spMkLst>
            <pc:docMk/>
            <pc:sldMk cId="1263951352" sldId="892"/>
            <ac:spMk id="23" creationId="{585D5218-123B-48F0-81EA-165796AB2A2C}"/>
          </ac:spMkLst>
        </pc:spChg>
        <pc:spChg chg="add">
          <ac:chgData name="Kaltrina Rexhahmetaj" userId="S::kaltrina.rexhahmetaj@bvh.org::c314e318-93e0-4c36-9995-6aa0f00e0010" providerId="AD" clId="Web-{5F1E348E-7353-61D8-C6BD-B8780B2D8DD1}" dt="2020-03-17T17:51:48.019" v="591"/>
          <ac:spMkLst>
            <pc:docMk/>
            <pc:sldMk cId="1263951352" sldId="892"/>
            <ac:spMk id="24" creationId="{22D99416-48D2-4D21-AB70-8FF7A65DE2A5}"/>
          </ac:spMkLst>
        </pc:spChg>
        <pc:spChg chg="add">
          <ac:chgData name="Kaltrina Rexhahmetaj" userId="S::kaltrina.rexhahmetaj@bvh.org::c314e318-93e0-4c36-9995-6aa0f00e0010" providerId="AD" clId="Web-{5F1E348E-7353-61D8-C6BD-B8780B2D8DD1}" dt="2020-03-17T17:51:48.019" v="591"/>
          <ac:spMkLst>
            <pc:docMk/>
            <pc:sldMk cId="1263951352" sldId="892"/>
            <ac:spMk id="25" creationId="{D27EEB82-BD2B-49A7-9D91-84AD6E7A33F1}"/>
          </ac:spMkLst>
        </pc:spChg>
        <pc:spChg chg="add">
          <ac:chgData name="Kaltrina Rexhahmetaj" userId="S::kaltrina.rexhahmetaj@bvh.org::c314e318-93e0-4c36-9995-6aa0f00e0010" providerId="AD" clId="Web-{5F1E348E-7353-61D8-C6BD-B8780B2D8DD1}" dt="2020-03-17T17:51:48.019" v="591"/>
          <ac:spMkLst>
            <pc:docMk/>
            <pc:sldMk cId="1263951352" sldId="892"/>
            <ac:spMk id="26" creationId="{D6491784-74B8-4779-A9DC-6134FACB74C9}"/>
          </ac:spMkLst>
        </pc:spChg>
        <pc:spChg chg="add">
          <ac:chgData name="Kaltrina Rexhahmetaj" userId="S::kaltrina.rexhahmetaj@bvh.org::c314e318-93e0-4c36-9995-6aa0f00e0010" providerId="AD" clId="Web-{5F1E348E-7353-61D8-C6BD-B8780B2D8DD1}" dt="2020-03-17T17:51:48.019" v="591"/>
          <ac:spMkLst>
            <pc:docMk/>
            <pc:sldMk cId="1263951352" sldId="892"/>
            <ac:spMk id="27" creationId="{5DE0B122-78AD-4D93-9C4D-721F0D56DCA8}"/>
          </ac:spMkLst>
        </pc:spChg>
        <pc:spChg chg="add">
          <ac:chgData name="Kaltrina Rexhahmetaj" userId="S::kaltrina.rexhahmetaj@bvh.org::c314e318-93e0-4c36-9995-6aa0f00e0010" providerId="AD" clId="Web-{5F1E348E-7353-61D8-C6BD-B8780B2D8DD1}" dt="2020-03-17T17:51:48.019" v="591"/>
          <ac:spMkLst>
            <pc:docMk/>
            <pc:sldMk cId="1263951352" sldId="892"/>
            <ac:spMk id="28" creationId="{68FB291E-5D7F-4EFE-AF92-0312255A6A3B}"/>
          </ac:spMkLst>
        </pc:spChg>
        <pc:spChg chg="add">
          <ac:chgData name="Kaltrina Rexhahmetaj" userId="S::kaltrina.rexhahmetaj@bvh.org::c314e318-93e0-4c36-9995-6aa0f00e0010" providerId="AD" clId="Web-{5F1E348E-7353-61D8-C6BD-B8780B2D8DD1}" dt="2020-03-17T17:51:48.019" v="591"/>
          <ac:spMkLst>
            <pc:docMk/>
            <pc:sldMk cId="1263951352" sldId="892"/>
            <ac:spMk id="29" creationId="{278EC5F7-8707-434C-8C6B-C29D94987AC2}"/>
          </ac:spMkLst>
        </pc:spChg>
        <pc:spChg chg="add">
          <ac:chgData name="Kaltrina Rexhahmetaj" userId="S::kaltrina.rexhahmetaj@bvh.org::c314e318-93e0-4c36-9995-6aa0f00e0010" providerId="AD" clId="Web-{5F1E348E-7353-61D8-C6BD-B8780B2D8DD1}" dt="2020-03-17T17:51:48.019" v="591"/>
          <ac:spMkLst>
            <pc:docMk/>
            <pc:sldMk cId="1263951352" sldId="892"/>
            <ac:spMk id="33" creationId="{F4515228-6E1F-474A-BC85-D0AFFA472FCD}"/>
          </ac:spMkLst>
        </pc:spChg>
        <pc:spChg chg="add">
          <ac:chgData name="Kaltrina Rexhahmetaj" userId="S::kaltrina.rexhahmetaj@bvh.org::c314e318-93e0-4c36-9995-6aa0f00e0010" providerId="AD" clId="Web-{5F1E348E-7353-61D8-C6BD-B8780B2D8DD1}" dt="2020-03-17T17:51:48.019" v="591"/>
          <ac:spMkLst>
            <pc:docMk/>
            <pc:sldMk cId="1263951352" sldId="892"/>
            <ac:spMk id="34" creationId="{3D354D32-2DC6-4FB2-AA15-4A2134854F34}"/>
          </ac:spMkLst>
        </pc:spChg>
        <pc:spChg chg="add mod">
          <ac:chgData name="Kaltrina Rexhahmetaj" userId="S::kaltrina.rexhahmetaj@bvh.org::c314e318-93e0-4c36-9995-6aa0f00e0010" providerId="AD" clId="Web-{5F1E348E-7353-61D8-C6BD-B8780B2D8DD1}" dt="2020-03-17T17:52:20.177" v="601" actId="20577"/>
          <ac:spMkLst>
            <pc:docMk/>
            <pc:sldMk cId="1263951352" sldId="892"/>
            <ac:spMk id="35" creationId="{B35DFC35-712B-4EB8-B2A0-F04CC7C9C8D4}"/>
          </ac:spMkLst>
        </pc:spChg>
        <pc:spChg chg="add del">
          <ac:chgData name="Kaltrina Rexhahmetaj" userId="S::kaltrina.rexhahmetaj@bvh.org::c314e318-93e0-4c36-9995-6aa0f00e0010" providerId="AD" clId="Web-{5F1E348E-7353-61D8-C6BD-B8780B2D8DD1}" dt="2020-03-17T17:52:14.411" v="600"/>
          <ac:spMkLst>
            <pc:docMk/>
            <pc:sldMk cId="1263951352" sldId="892"/>
            <ac:spMk id="36" creationId="{956E1E0F-943F-4BF3-B8D3-F39B4A3E1FF5}"/>
          </ac:spMkLst>
        </pc:spChg>
        <pc:picChg chg="del">
          <ac:chgData name="Kaltrina Rexhahmetaj" userId="S::kaltrina.rexhahmetaj@bvh.org::c314e318-93e0-4c36-9995-6aa0f00e0010" providerId="AD" clId="Web-{5F1E348E-7353-61D8-C6BD-B8780B2D8DD1}" dt="2020-03-17T17:51:33.815" v="589"/>
          <ac:picMkLst>
            <pc:docMk/>
            <pc:sldMk cId="1263951352" sldId="892"/>
            <ac:picMk id="9" creationId="{FF733926-3E8D-45BB-A88A-7F5FDD9BFBD9}"/>
          </ac:picMkLst>
        </pc:picChg>
        <pc:picChg chg="del">
          <ac:chgData name="Kaltrina Rexhahmetaj" userId="S::kaltrina.rexhahmetaj@bvh.org::c314e318-93e0-4c36-9995-6aa0f00e0010" providerId="AD" clId="Web-{5F1E348E-7353-61D8-C6BD-B8780B2D8DD1}" dt="2020-03-17T17:51:33.815" v="588"/>
          <ac:picMkLst>
            <pc:docMk/>
            <pc:sldMk cId="1263951352" sldId="892"/>
            <ac:picMk id="10" creationId="{79C807B5-1181-4375-90C5-035F6B80B7F7}"/>
          </ac:picMkLst>
        </pc:picChg>
        <pc:picChg chg="del">
          <ac:chgData name="Kaltrina Rexhahmetaj" userId="S::kaltrina.rexhahmetaj@bvh.org::c314e318-93e0-4c36-9995-6aa0f00e0010" providerId="AD" clId="Web-{5F1E348E-7353-61D8-C6BD-B8780B2D8DD1}" dt="2020-03-17T17:51:33.815" v="587"/>
          <ac:picMkLst>
            <pc:docMk/>
            <pc:sldMk cId="1263951352" sldId="892"/>
            <ac:picMk id="11" creationId="{10B42D1D-7177-49BA-8CBB-5AE8A1F1AEC4}"/>
          </ac:picMkLst>
        </pc:picChg>
        <pc:picChg chg="add">
          <ac:chgData name="Kaltrina Rexhahmetaj" userId="S::kaltrina.rexhahmetaj@bvh.org::c314e318-93e0-4c36-9995-6aa0f00e0010" providerId="AD" clId="Web-{5F1E348E-7353-61D8-C6BD-B8780B2D8DD1}" dt="2020-03-17T17:51:48.019" v="591"/>
          <ac:picMkLst>
            <pc:docMk/>
            <pc:sldMk cId="1263951352" sldId="892"/>
            <ac:picMk id="30" creationId="{258ADD3E-1B67-4864-9A70-FE1033846468}"/>
          </ac:picMkLst>
        </pc:picChg>
        <pc:picChg chg="add">
          <ac:chgData name="Kaltrina Rexhahmetaj" userId="S::kaltrina.rexhahmetaj@bvh.org::c314e318-93e0-4c36-9995-6aa0f00e0010" providerId="AD" clId="Web-{5F1E348E-7353-61D8-C6BD-B8780B2D8DD1}" dt="2020-03-17T17:51:48.019" v="591"/>
          <ac:picMkLst>
            <pc:docMk/>
            <pc:sldMk cId="1263951352" sldId="892"/>
            <ac:picMk id="31" creationId="{E5671036-F9D5-4BDF-BAE7-1C679285FE51}"/>
          </ac:picMkLst>
        </pc:picChg>
        <pc:picChg chg="add">
          <ac:chgData name="Kaltrina Rexhahmetaj" userId="S::kaltrina.rexhahmetaj@bvh.org::c314e318-93e0-4c36-9995-6aa0f00e0010" providerId="AD" clId="Web-{5F1E348E-7353-61D8-C6BD-B8780B2D8DD1}" dt="2020-03-17T17:51:48.019" v="591"/>
          <ac:picMkLst>
            <pc:docMk/>
            <pc:sldMk cId="1263951352" sldId="892"/>
            <ac:picMk id="32" creationId="{1F82AB04-50A3-4B8C-8FE2-E37A0CB77B2C}"/>
          </ac:picMkLst>
        </pc:picChg>
      </pc:sldChg>
      <pc:sldChg chg="add del">
        <pc:chgData name="Kaltrina Rexhahmetaj" userId="S::kaltrina.rexhahmetaj@bvh.org::c314e318-93e0-4c36-9995-6aa0f00e0010" providerId="AD" clId="Web-{5F1E348E-7353-61D8-C6BD-B8780B2D8DD1}" dt="2020-03-17T17:38:50.271" v="556"/>
        <pc:sldMkLst>
          <pc:docMk/>
          <pc:sldMk cId="3801494116" sldId="892"/>
        </pc:sldMkLst>
      </pc:sldChg>
      <pc:sldChg chg="addSp delSp modSp add replId modNotes">
        <pc:chgData name="Kaltrina Rexhahmetaj" userId="S::kaltrina.rexhahmetaj@bvh.org::c314e318-93e0-4c36-9995-6aa0f00e0010" providerId="AD" clId="Web-{5F1E348E-7353-61D8-C6BD-B8780B2D8DD1}" dt="2020-03-17T17:54:04.136" v="644"/>
        <pc:sldMkLst>
          <pc:docMk/>
          <pc:sldMk cId="3301492345" sldId="893"/>
        </pc:sldMkLst>
        <pc:spChg chg="add mod">
          <ac:chgData name="Kaltrina Rexhahmetaj" userId="S::kaltrina.rexhahmetaj@bvh.org::c314e318-93e0-4c36-9995-6aa0f00e0010" providerId="AD" clId="Web-{5F1E348E-7353-61D8-C6BD-B8780B2D8DD1}" dt="2020-03-17T17:53:36.463" v="643"/>
          <ac:spMkLst>
            <pc:docMk/>
            <pc:sldMk cId="3301492345" sldId="893"/>
            <ac:spMk id="4" creationId="{58258A70-9435-4F91-AA06-A7E142C82A56}"/>
          </ac:spMkLst>
        </pc:spChg>
        <pc:spChg chg="del">
          <ac:chgData name="Kaltrina Rexhahmetaj" userId="S::kaltrina.rexhahmetaj@bvh.org::c314e318-93e0-4c36-9995-6aa0f00e0010" providerId="AD" clId="Web-{5F1E348E-7353-61D8-C6BD-B8780B2D8DD1}" dt="2020-03-17T17:52:43.631" v="627"/>
          <ac:spMkLst>
            <pc:docMk/>
            <pc:sldMk cId="3301492345" sldId="893"/>
            <ac:spMk id="5" creationId="{A4D61256-387A-4381-826A-0F3E9D4E8971}"/>
          </ac:spMkLst>
        </pc:spChg>
        <pc:spChg chg="del">
          <ac:chgData name="Kaltrina Rexhahmetaj" userId="S::kaltrina.rexhahmetaj@bvh.org::c314e318-93e0-4c36-9995-6aa0f00e0010" providerId="AD" clId="Web-{5F1E348E-7353-61D8-C6BD-B8780B2D8DD1}" dt="2020-03-17T17:52:43.459" v="626"/>
          <ac:spMkLst>
            <pc:docMk/>
            <pc:sldMk cId="3301492345" sldId="893"/>
            <ac:spMk id="13" creationId="{81D05EC0-EDB6-4E7E-9F16-90B93B66C50F}"/>
          </ac:spMkLst>
        </pc:spChg>
        <pc:spChg chg="del">
          <ac:chgData name="Kaltrina Rexhahmetaj" userId="S::kaltrina.rexhahmetaj@bvh.org::c314e318-93e0-4c36-9995-6aa0f00e0010" providerId="AD" clId="Web-{5F1E348E-7353-61D8-C6BD-B8780B2D8DD1}" dt="2020-03-17T17:52:43.459" v="625"/>
          <ac:spMkLst>
            <pc:docMk/>
            <pc:sldMk cId="3301492345" sldId="893"/>
            <ac:spMk id="14" creationId="{CCBC7A8F-0D7A-47A5-956F-AC0AE15AC394}"/>
          </ac:spMkLst>
        </pc:spChg>
        <pc:spChg chg="del">
          <ac:chgData name="Kaltrina Rexhahmetaj" userId="S::kaltrina.rexhahmetaj@bvh.org::c314e318-93e0-4c36-9995-6aa0f00e0010" providerId="AD" clId="Web-{5F1E348E-7353-61D8-C6BD-B8780B2D8DD1}" dt="2020-03-17T17:52:43.459" v="624"/>
          <ac:spMkLst>
            <pc:docMk/>
            <pc:sldMk cId="3301492345" sldId="893"/>
            <ac:spMk id="15" creationId="{40AFDC17-33B1-46A6-9240-96442ADDEB7D}"/>
          </ac:spMkLst>
        </pc:spChg>
        <pc:spChg chg="del">
          <ac:chgData name="Kaltrina Rexhahmetaj" userId="S::kaltrina.rexhahmetaj@bvh.org::c314e318-93e0-4c36-9995-6aa0f00e0010" providerId="AD" clId="Web-{5F1E348E-7353-61D8-C6BD-B8780B2D8DD1}" dt="2020-03-17T17:52:43.459" v="623"/>
          <ac:spMkLst>
            <pc:docMk/>
            <pc:sldMk cId="3301492345" sldId="893"/>
            <ac:spMk id="16" creationId="{5D0597C6-8031-4D83-9EF0-E74310246155}"/>
          </ac:spMkLst>
        </pc:spChg>
        <pc:spChg chg="del">
          <ac:chgData name="Kaltrina Rexhahmetaj" userId="S::kaltrina.rexhahmetaj@bvh.org::c314e318-93e0-4c36-9995-6aa0f00e0010" providerId="AD" clId="Web-{5F1E348E-7353-61D8-C6BD-B8780B2D8DD1}" dt="2020-03-17T17:52:43.459" v="622"/>
          <ac:spMkLst>
            <pc:docMk/>
            <pc:sldMk cId="3301492345" sldId="893"/>
            <ac:spMk id="17" creationId="{2CD3D2DB-F1D8-4269-8A01-A3CF37C2A03C}"/>
          </ac:spMkLst>
        </pc:spChg>
        <pc:spChg chg="del">
          <ac:chgData name="Kaltrina Rexhahmetaj" userId="S::kaltrina.rexhahmetaj@bvh.org::c314e318-93e0-4c36-9995-6aa0f00e0010" providerId="AD" clId="Web-{5F1E348E-7353-61D8-C6BD-B8780B2D8DD1}" dt="2020-03-17T17:52:43.459" v="621"/>
          <ac:spMkLst>
            <pc:docMk/>
            <pc:sldMk cId="3301492345" sldId="893"/>
            <ac:spMk id="18" creationId="{BDB52E27-8601-4573-B868-AABB792D7EC3}"/>
          </ac:spMkLst>
        </pc:spChg>
        <pc:spChg chg="del">
          <ac:chgData name="Kaltrina Rexhahmetaj" userId="S::kaltrina.rexhahmetaj@bvh.org::c314e318-93e0-4c36-9995-6aa0f00e0010" providerId="AD" clId="Web-{5F1E348E-7353-61D8-C6BD-B8780B2D8DD1}" dt="2020-03-17T17:52:43.459" v="620"/>
          <ac:spMkLst>
            <pc:docMk/>
            <pc:sldMk cId="3301492345" sldId="893"/>
            <ac:spMk id="19" creationId="{07648710-C550-4159-A87A-743DBFD6DF65}"/>
          </ac:spMkLst>
        </pc:spChg>
        <pc:spChg chg="del">
          <ac:chgData name="Kaltrina Rexhahmetaj" userId="S::kaltrina.rexhahmetaj@bvh.org::c314e318-93e0-4c36-9995-6aa0f00e0010" providerId="AD" clId="Web-{5F1E348E-7353-61D8-C6BD-B8780B2D8DD1}" dt="2020-03-17T17:52:43.459" v="619"/>
          <ac:spMkLst>
            <pc:docMk/>
            <pc:sldMk cId="3301492345" sldId="893"/>
            <ac:spMk id="20" creationId="{5361245D-265F-4E22-A3B5-48C8E428E503}"/>
          </ac:spMkLst>
        </pc:spChg>
        <pc:spChg chg="del">
          <ac:chgData name="Kaltrina Rexhahmetaj" userId="S::kaltrina.rexhahmetaj@bvh.org::c314e318-93e0-4c36-9995-6aa0f00e0010" providerId="AD" clId="Web-{5F1E348E-7353-61D8-C6BD-B8780B2D8DD1}" dt="2020-03-17T17:52:43.459" v="618"/>
          <ac:spMkLst>
            <pc:docMk/>
            <pc:sldMk cId="3301492345" sldId="893"/>
            <ac:spMk id="21" creationId="{60EE14CD-F490-4E53-97F8-8E2EFB5B64D0}"/>
          </ac:spMkLst>
        </pc:spChg>
        <pc:spChg chg="del">
          <ac:chgData name="Kaltrina Rexhahmetaj" userId="S::kaltrina.rexhahmetaj@bvh.org::c314e318-93e0-4c36-9995-6aa0f00e0010" providerId="AD" clId="Web-{5F1E348E-7353-61D8-C6BD-B8780B2D8DD1}" dt="2020-03-17T17:52:43.459" v="617"/>
          <ac:spMkLst>
            <pc:docMk/>
            <pc:sldMk cId="3301492345" sldId="893"/>
            <ac:spMk id="22" creationId="{C520807C-4B48-4742-9C4E-1501BF564167}"/>
          </ac:spMkLst>
        </pc:spChg>
        <pc:spChg chg="del">
          <ac:chgData name="Kaltrina Rexhahmetaj" userId="S::kaltrina.rexhahmetaj@bvh.org::c314e318-93e0-4c36-9995-6aa0f00e0010" providerId="AD" clId="Web-{5F1E348E-7353-61D8-C6BD-B8780B2D8DD1}" dt="2020-03-17T17:52:43.459" v="616"/>
          <ac:spMkLst>
            <pc:docMk/>
            <pc:sldMk cId="3301492345" sldId="893"/>
            <ac:spMk id="23" creationId="{585D5218-123B-48F0-81EA-165796AB2A2C}"/>
          </ac:spMkLst>
        </pc:spChg>
        <pc:spChg chg="del">
          <ac:chgData name="Kaltrina Rexhahmetaj" userId="S::kaltrina.rexhahmetaj@bvh.org::c314e318-93e0-4c36-9995-6aa0f00e0010" providerId="AD" clId="Web-{5F1E348E-7353-61D8-C6BD-B8780B2D8DD1}" dt="2020-03-17T17:52:43.459" v="615"/>
          <ac:spMkLst>
            <pc:docMk/>
            <pc:sldMk cId="3301492345" sldId="893"/>
            <ac:spMk id="24" creationId="{22D99416-48D2-4D21-AB70-8FF7A65DE2A5}"/>
          </ac:spMkLst>
        </pc:spChg>
        <pc:spChg chg="del">
          <ac:chgData name="Kaltrina Rexhahmetaj" userId="S::kaltrina.rexhahmetaj@bvh.org::c314e318-93e0-4c36-9995-6aa0f00e0010" providerId="AD" clId="Web-{5F1E348E-7353-61D8-C6BD-B8780B2D8DD1}" dt="2020-03-17T17:52:43.459" v="614"/>
          <ac:spMkLst>
            <pc:docMk/>
            <pc:sldMk cId="3301492345" sldId="893"/>
            <ac:spMk id="25" creationId="{D27EEB82-BD2B-49A7-9D91-84AD6E7A33F1}"/>
          </ac:spMkLst>
        </pc:spChg>
        <pc:spChg chg="del">
          <ac:chgData name="Kaltrina Rexhahmetaj" userId="S::kaltrina.rexhahmetaj@bvh.org::c314e318-93e0-4c36-9995-6aa0f00e0010" providerId="AD" clId="Web-{5F1E348E-7353-61D8-C6BD-B8780B2D8DD1}" dt="2020-03-17T17:52:43.444" v="613"/>
          <ac:spMkLst>
            <pc:docMk/>
            <pc:sldMk cId="3301492345" sldId="893"/>
            <ac:spMk id="26" creationId="{D6491784-74B8-4779-A9DC-6134FACB74C9}"/>
          </ac:spMkLst>
        </pc:spChg>
        <pc:spChg chg="del">
          <ac:chgData name="Kaltrina Rexhahmetaj" userId="S::kaltrina.rexhahmetaj@bvh.org::c314e318-93e0-4c36-9995-6aa0f00e0010" providerId="AD" clId="Web-{5F1E348E-7353-61D8-C6BD-B8780B2D8DD1}" dt="2020-03-17T17:52:43.444" v="612"/>
          <ac:spMkLst>
            <pc:docMk/>
            <pc:sldMk cId="3301492345" sldId="893"/>
            <ac:spMk id="27" creationId="{5DE0B122-78AD-4D93-9C4D-721F0D56DCA8}"/>
          </ac:spMkLst>
        </pc:spChg>
        <pc:spChg chg="del">
          <ac:chgData name="Kaltrina Rexhahmetaj" userId="S::kaltrina.rexhahmetaj@bvh.org::c314e318-93e0-4c36-9995-6aa0f00e0010" providerId="AD" clId="Web-{5F1E348E-7353-61D8-C6BD-B8780B2D8DD1}" dt="2020-03-17T17:52:43.444" v="611"/>
          <ac:spMkLst>
            <pc:docMk/>
            <pc:sldMk cId="3301492345" sldId="893"/>
            <ac:spMk id="28" creationId="{68FB291E-5D7F-4EFE-AF92-0312255A6A3B}"/>
          </ac:spMkLst>
        </pc:spChg>
        <pc:spChg chg="del">
          <ac:chgData name="Kaltrina Rexhahmetaj" userId="S::kaltrina.rexhahmetaj@bvh.org::c314e318-93e0-4c36-9995-6aa0f00e0010" providerId="AD" clId="Web-{5F1E348E-7353-61D8-C6BD-B8780B2D8DD1}" dt="2020-03-17T17:52:43.444" v="610"/>
          <ac:spMkLst>
            <pc:docMk/>
            <pc:sldMk cId="3301492345" sldId="893"/>
            <ac:spMk id="29" creationId="{278EC5F7-8707-434C-8C6B-C29D94987AC2}"/>
          </ac:spMkLst>
        </pc:spChg>
        <pc:spChg chg="del">
          <ac:chgData name="Kaltrina Rexhahmetaj" userId="S::kaltrina.rexhahmetaj@bvh.org::c314e318-93e0-4c36-9995-6aa0f00e0010" providerId="AD" clId="Web-{5F1E348E-7353-61D8-C6BD-B8780B2D8DD1}" dt="2020-03-17T17:52:43.444" v="606"/>
          <ac:spMkLst>
            <pc:docMk/>
            <pc:sldMk cId="3301492345" sldId="893"/>
            <ac:spMk id="33" creationId="{F4515228-6E1F-474A-BC85-D0AFFA472FCD}"/>
          </ac:spMkLst>
        </pc:spChg>
        <pc:spChg chg="del">
          <ac:chgData name="Kaltrina Rexhahmetaj" userId="S::kaltrina.rexhahmetaj@bvh.org::c314e318-93e0-4c36-9995-6aa0f00e0010" providerId="AD" clId="Web-{5F1E348E-7353-61D8-C6BD-B8780B2D8DD1}" dt="2020-03-17T17:52:43.444" v="605"/>
          <ac:spMkLst>
            <pc:docMk/>
            <pc:sldMk cId="3301492345" sldId="893"/>
            <ac:spMk id="34" creationId="{3D354D32-2DC6-4FB2-AA15-4A2134854F34}"/>
          </ac:spMkLst>
        </pc:spChg>
        <pc:spChg chg="del">
          <ac:chgData name="Kaltrina Rexhahmetaj" userId="S::kaltrina.rexhahmetaj@bvh.org::c314e318-93e0-4c36-9995-6aa0f00e0010" providerId="AD" clId="Web-{5F1E348E-7353-61D8-C6BD-B8780B2D8DD1}" dt="2020-03-17T17:52:43.444" v="604"/>
          <ac:spMkLst>
            <pc:docMk/>
            <pc:sldMk cId="3301492345" sldId="893"/>
            <ac:spMk id="35" creationId="{B35DFC35-712B-4EB8-B2A0-F04CC7C9C8D4}"/>
          </ac:spMkLst>
        </pc:spChg>
        <pc:spChg chg="add">
          <ac:chgData name="Kaltrina Rexhahmetaj" userId="S::kaltrina.rexhahmetaj@bvh.org::c314e318-93e0-4c36-9995-6aa0f00e0010" providerId="AD" clId="Web-{5F1E348E-7353-61D8-C6BD-B8780B2D8DD1}" dt="2020-03-17T17:53:01.460" v="628"/>
          <ac:spMkLst>
            <pc:docMk/>
            <pc:sldMk cId="3301492345" sldId="893"/>
            <ac:spMk id="36" creationId="{511CED9F-1DD2-45BC-8C73-A4F90F1ACE83}"/>
          </ac:spMkLst>
        </pc:spChg>
        <pc:spChg chg="add">
          <ac:chgData name="Kaltrina Rexhahmetaj" userId="S::kaltrina.rexhahmetaj@bvh.org::c314e318-93e0-4c36-9995-6aa0f00e0010" providerId="AD" clId="Web-{5F1E348E-7353-61D8-C6BD-B8780B2D8DD1}" dt="2020-03-17T17:53:01.460" v="628"/>
          <ac:spMkLst>
            <pc:docMk/>
            <pc:sldMk cId="3301492345" sldId="893"/>
            <ac:spMk id="37" creationId="{E844ACE5-A1ED-495A-BBFF-5B94F6334016}"/>
          </ac:spMkLst>
        </pc:spChg>
        <pc:spChg chg="add">
          <ac:chgData name="Kaltrina Rexhahmetaj" userId="S::kaltrina.rexhahmetaj@bvh.org::c314e318-93e0-4c36-9995-6aa0f00e0010" providerId="AD" clId="Web-{5F1E348E-7353-61D8-C6BD-B8780B2D8DD1}" dt="2020-03-17T17:53:01.460" v="628"/>
          <ac:spMkLst>
            <pc:docMk/>
            <pc:sldMk cId="3301492345" sldId="893"/>
            <ac:spMk id="38" creationId="{2EEA941E-541F-48E7-8B7C-EFE62E0A4649}"/>
          </ac:spMkLst>
        </pc:spChg>
        <pc:spChg chg="add">
          <ac:chgData name="Kaltrina Rexhahmetaj" userId="S::kaltrina.rexhahmetaj@bvh.org::c314e318-93e0-4c36-9995-6aa0f00e0010" providerId="AD" clId="Web-{5F1E348E-7353-61D8-C6BD-B8780B2D8DD1}" dt="2020-03-17T17:53:01.460" v="628"/>
          <ac:spMkLst>
            <pc:docMk/>
            <pc:sldMk cId="3301492345" sldId="893"/>
            <ac:spMk id="39" creationId="{26030E1D-9BB9-4B0F-A235-53E44F978A5D}"/>
          </ac:spMkLst>
        </pc:spChg>
        <pc:spChg chg="add">
          <ac:chgData name="Kaltrina Rexhahmetaj" userId="S::kaltrina.rexhahmetaj@bvh.org::c314e318-93e0-4c36-9995-6aa0f00e0010" providerId="AD" clId="Web-{5F1E348E-7353-61D8-C6BD-B8780B2D8DD1}" dt="2020-03-17T17:53:01.460" v="628"/>
          <ac:spMkLst>
            <pc:docMk/>
            <pc:sldMk cId="3301492345" sldId="893"/>
            <ac:spMk id="40" creationId="{CA4524C3-B3D3-4746-9D69-CEFA4536364F}"/>
          </ac:spMkLst>
        </pc:spChg>
        <pc:spChg chg="add">
          <ac:chgData name="Kaltrina Rexhahmetaj" userId="S::kaltrina.rexhahmetaj@bvh.org::c314e318-93e0-4c36-9995-6aa0f00e0010" providerId="AD" clId="Web-{5F1E348E-7353-61D8-C6BD-B8780B2D8DD1}" dt="2020-03-17T17:53:01.460" v="628"/>
          <ac:spMkLst>
            <pc:docMk/>
            <pc:sldMk cId="3301492345" sldId="893"/>
            <ac:spMk id="41" creationId="{D1A29746-AE48-4226-997A-BE4E8D07F0D9}"/>
          </ac:spMkLst>
        </pc:spChg>
        <pc:spChg chg="add">
          <ac:chgData name="Kaltrina Rexhahmetaj" userId="S::kaltrina.rexhahmetaj@bvh.org::c314e318-93e0-4c36-9995-6aa0f00e0010" providerId="AD" clId="Web-{5F1E348E-7353-61D8-C6BD-B8780B2D8DD1}" dt="2020-03-17T17:53:01.460" v="628"/>
          <ac:spMkLst>
            <pc:docMk/>
            <pc:sldMk cId="3301492345" sldId="893"/>
            <ac:spMk id="42" creationId="{24B8489C-ADF2-4435-B0C3-4E1FA2F0083C}"/>
          </ac:spMkLst>
        </pc:spChg>
        <pc:spChg chg="add">
          <ac:chgData name="Kaltrina Rexhahmetaj" userId="S::kaltrina.rexhahmetaj@bvh.org::c314e318-93e0-4c36-9995-6aa0f00e0010" providerId="AD" clId="Web-{5F1E348E-7353-61D8-C6BD-B8780B2D8DD1}" dt="2020-03-17T17:53:01.460" v="628"/>
          <ac:spMkLst>
            <pc:docMk/>
            <pc:sldMk cId="3301492345" sldId="893"/>
            <ac:spMk id="43" creationId="{B999F34E-CF1C-4307-B7F5-4266D74264FD}"/>
          </ac:spMkLst>
        </pc:spChg>
        <pc:spChg chg="add">
          <ac:chgData name="Kaltrina Rexhahmetaj" userId="S::kaltrina.rexhahmetaj@bvh.org::c314e318-93e0-4c36-9995-6aa0f00e0010" providerId="AD" clId="Web-{5F1E348E-7353-61D8-C6BD-B8780B2D8DD1}" dt="2020-03-17T17:53:01.460" v="628"/>
          <ac:spMkLst>
            <pc:docMk/>
            <pc:sldMk cId="3301492345" sldId="893"/>
            <ac:spMk id="44" creationId="{1E8B7373-4495-4D72-BCB2-D9CCD2FB8C37}"/>
          </ac:spMkLst>
        </pc:spChg>
        <pc:spChg chg="add">
          <ac:chgData name="Kaltrina Rexhahmetaj" userId="S::kaltrina.rexhahmetaj@bvh.org::c314e318-93e0-4c36-9995-6aa0f00e0010" providerId="AD" clId="Web-{5F1E348E-7353-61D8-C6BD-B8780B2D8DD1}" dt="2020-03-17T17:53:01.460" v="628"/>
          <ac:spMkLst>
            <pc:docMk/>
            <pc:sldMk cId="3301492345" sldId="893"/>
            <ac:spMk id="45" creationId="{EB64AAA8-E4E1-483B-82A4-B4B7EBA795C2}"/>
          </ac:spMkLst>
        </pc:spChg>
        <pc:spChg chg="add">
          <ac:chgData name="Kaltrina Rexhahmetaj" userId="S::kaltrina.rexhahmetaj@bvh.org::c314e318-93e0-4c36-9995-6aa0f00e0010" providerId="AD" clId="Web-{5F1E348E-7353-61D8-C6BD-B8780B2D8DD1}" dt="2020-03-17T17:53:01.460" v="628"/>
          <ac:spMkLst>
            <pc:docMk/>
            <pc:sldMk cId="3301492345" sldId="893"/>
            <ac:spMk id="46" creationId="{BE658324-756A-485E-B06B-31658B60AF3F}"/>
          </ac:spMkLst>
        </pc:spChg>
        <pc:spChg chg="add">
          <ac:chgData name="Kaltrina Rexhahmetaj" userId="S::kaltrina.rexhahmetaj@bvh.org::c314e318-93e0-4c36-9995-6aa0f00e0010" providerId="AD" clId="Web-{5F1E348E-7353-61D8-C6BD-B8780B2D8DD1}" dt="2020-03-17T17:53:01.460" v="628"/>
          <ac:spMkLst>
            <pc:docMk/>
            <pc:sldMk cId="3301492345" sldId="893"/>
            <ac:spMk id="47" creationId="{AFA86D87-9515-4433-9DCD-7F03B4257745}"/>
          </ac:spMkLst>
        </pc:spChg>
        <pc:spChg chg="add">
          <ac:chgData name="Kaltrina Rexhahmetaj" userId="S::kaltrina.rexhahmetaj@bvh.org::c314e318-93e0-4c36-9995-6aa0f00e0010" providerId="AD" clId="Web-{5F1E348E-7353-61D8-C6BD-B8780B2D8DD1}" dt="2020-03-17T17:53:01.460" v="628"/>
          <ac:spMkLst>
            <pc:docMk/>
            <pc:sldMk cId="3301492345" sldId="893"/>
            <ac:spMk id="48" creationId="{25574CB6-F16D-4E0E-BDA5-E69CD290F308}"/>
          </ac:spMkLst>
        </pc:spChg>
        <pc:spChg chg="add">
          <ac:chgData name="Kaltrina Rexhahmetaj" userId="S::kaltrina.rexhahmetaj@bvh.org::c314e318-93e0-4c36-9995-6aa0f00e0010" providerId="AD" clId="Web-{5F1E348E-7353-61D8-C6BD-B8780B2D8DD1}" dt="2020-03-17T17:53:01.460" v="628"/>
          <ac:spMkLst>
            <pc:docMk/>
            <pc:sldMk cId="3301492345" sldId="893"/>
            <ac:spMk id="49" creationId="{C0339DAB-889C-4691-BC90-078E54EBF1F2}"/>
          </ac:spMkLst>
        </pc:spChg>
        <pc:spChg chg="add">
          <ac:chgData name="Kaltrina Rexhahmetaj" userId="S::kaltrina.rexhahmetaj@bvh.org::c314e318-93e0-4c36-9995-6aa0f00e0010" providerId="AD" clId="Web-{5F1E348E-7353-61D8-C6BD-B8780B2D8DD1}" dt="2020-03-17T17:53:01.460" v="628"/>
          <ac:spMkLst>
            <pc:docMk/>
            <pc:sldMk cId="3301492345" sldId="893"/>
            <ac:spMk id="50" creationId="{95710326-508C-491E-8CB2-B3D34EE417B3}"/>
          </ac:spMkLst>
        </pc:spChg>
        <pc:spChg chg="add">
          <ac:chgData name="Kaltrina Rexhahmetaj" userId="S::kaltrina.rexhahmetaj@bvh.org::c314e318-93e0-4c36-9995-6aa0f00e0010" providerId="AD" clId="Web-{5F1E348E-7353-61D8-C6BD-B8780B2D8DD1}" dt="2020-03-17T17:53:01.460" v="628"/>
          <ac:spMkLst>
            <pc:docMk/>
            <pc:sldMk cId="3301492345" sldId="893"/>
            <ac:spMk id="51" creationId="{A959D0CA-2B80-4243-99CF-05011F7AB948}"/>
          </ac:spMkLst>
        </pc:spChg>
        <pc:spChg chg="add">
          <ac:chgData name="Kaltrina Rexhahmetaj" userId="S::kaltrina.rexhahmetaj@bvh.org::c314e318-93e0-4c36-9995-6aa0f00e0010" providerId="AD" clId="Web-{5F1E348E-7353-61D8-C6BD-B8780B2D8DD1}" dt="2020-03-17T17:53:01.460" v="628"/>
          <ac:spMkLst>
            <pc:docMk/>
            <pc:sldMk cId="3301492345" sldId="893"/>
            <ac:spMk id="52" creationId="{621D3609-084A-4CF9-B20A-9BD38316E63B}"/>
          </ac:spMkLst>
        </pc:spChg>
        <pc:spChg chg="add del">
          <ac:chgData name="Kaltrina Rexhahmetaj" userId="S::kaltrina.rexhahmetaj@bvh.org::c314e318-93e0-4c36-9995-6aa0f00e0010" providerId="AD" clId="Web-{5F1E348E-7353-61D8-C6BD-B8780B2D8DD1}" dt="2020-03-17T17:53:33.072" v="642"/>
          <ac:spMkLst>
            <pc:docMk/>
            <pc:sldMk cId="3301492345" sldId="893"/>
            <ac:spMk id="53" creationId="{E54C3D43-EFFF-4178-9426-359DC4E82F20}"/>
          </ac:spMkLst>
        </pc:spChg>
        <pc:picChg chg="del">
          <ac:chgData name="Kaltrina Rexhahmetaj" userId="S::kaltrina.rexhahmetaj@bvh.org::c314e318-93e0-4c36-9995-6aa0f00e0010" providerId="AD" clId="Web-{5F1E348E-7353-61D8-C6BD-B8780B2D8DD1}" dt="2020-03-17T17:52:43.444" v="609"/>
          <ac:picMkLst>
            <pc:docMk/>
            <pc:sldMk cId="3301492345" sldId="893"/>
            <ac:picMk id="30" creationId="{258ADD3E-1B67-4864-9A70-FE1033846468}"/>
          </ac:picMkLst>
        </pc:picChg>
        <pc:picChg chg="del">
          <ac:chgData name="Kaltrina Rexhahmetaj" userId="S::kaltrina.rexhahmetaj@bvh.org::c314e318-93e0-4c36-9995-6aa0f00e0010" providerId="AD" clId="Web-{5F1E348E-7353-61D8-C6BD-B8780B2D8DD1}" dt="2020-03-17T17:52:43.444" v="608"/>
          <ac:picMkLst>
            <pc:docMk/>
            <pc:sldMk cId="3301492345" sldId="893"/>
            <ac:picMk id="31" creationId="{E5671036-F9D5-4BDF-BAE7-1C679285FE51}"/>
          </ac:picMkLst>
        </pc:picChg>
        <pc:picChg chg="del">
          <ac:chgData name="Kaltrina Rexhahmetaj" userId="S::kaltrina.rexhahmetaj@bvh.org::c314e318-93e0-4c36-9995-6aa0f00e0010" providerId="AD" clId="Web-{5F1E348E-7353-61D8-C6BD-B8780B2D8DD1}" dt="2020-03-17T17:52:43.444" v="607"/>
          <ac:picMkLst>
            <pc:docMk/>
            <pc:sldMk cId="3301492345" sldId="893"/>
            <ac:picMk id="32" creationId="{1F82AB04-50A3-4B8C-8FE2-E37A0CB77B2C}"/>
          </ac:picMkLst>
        </pc:picChg>
      </pc:sldChg>
      <pc:sldChg chg="addSp delSp modSp add replId modNotes">
        <pc:chgData name="Kaltrina Rexhahmetaj" userId="S::kaltrina.rexhahmetaj@bvh.org::c314e318-93e0-4c36-9995-6aa0f00e0010" providerId="AD" clId="Web-{5F1E348E-7353-61D8-C6BD-B8780B2D8DD1}" dt="2020-03-17T17:55:50.955" v="682"/>
        <pc:sldMkLst>
          <pc:docMk/>
          <pc:sldMk cId="4228590265" sldId="894"/>
        </pc:sldMkLst>
        <pc:spChg chg="del">
          <ac:chgData name="Kaltrina Rexhahmetaj" userId="S::kaltrina.rexhahmetaj@bvh.org::c314e318-93e0-4c36-9995-6aa0f00e0010" providerId="AD" clId="Web-{5F1E348E-7353-61D8-C6BD-B8780B2D8DD1}" dt="2020-03-17T17:54:26.090" v="663"/>
          <ac:spMkLst>
            <pc:docMk/>
            <pc:sldMk cId="4228590265" sldId="894"/>
            <ac:spMk id="4" creationId="{58258A70-9435-4F91-AA06-A7E142C82A56}"/>
          </ac:spMkLst>
        </pc:spChg>
        <pc:spChg chg="add mod">
          <ac:chgData name="Kaltrina Rexhahmetaj" userId="S::kaltrina.rexhahmetaj@bvh.org::c314e318-93e0-4c36-9995-6aa0f00e0010" providerId="AD" clId="Web-{5F1E348E-7353-61D8-C6BD-B8780B2D8DD1}" dt="2020-03-17T17:55:41.282" v="680"/>
          <ac:spMkLst>
            <pc:docMk/>
            <pc:sldMk cId="4228590265" sldId="894"/>
            <ac:spMk id="5" creationId="{CB779639-352B-4B98-BBE4-45287FF5F344}"/>
          </ac:spMkLst>
        </pc:spChg>
        <pc:spChg chg="add del mod">
          <ac:chgData name="Kaltrina Rexhahmetaj" userId="S::kaltrina.rexhahmetaj@bvh.org::c314e318-93e0-4c36-9995-6aa0f00e0010" providerId="AD" clId="Web-{5F1E348E-7353-61D8-C6BD-B8780B2D8DD1}" dt="2020-03-17T17:55:50.955" v="682"/>
          <ac:spMkLst>
            <pc:docMk/>
            <pc:sldMk cId="4228590265" sldId="894"/>
            <ac:spMk id="24" creationId="{A8304153-6751-4D50-AE94-34D28605DE50}"/>
          </ac:spMkLst>
        </pc:spChg>
        <pc:spChg chg="add del mod">
          <ac:chgData name="Kaltrina Rexhahmetaj" userId="S::kaltrina.rexhahmetaj@bvh.org::c314e318-93e0-4c36-9995-6aa0f00e0010" providerId="AD" clId="Web-{5F1E348E-7353-61D8-C6BD-B8780B2D8DD1}" dt="2020-03-17T17:55:38.141" v="679"/>
          <ac:spMkLst>
            <pc:docMk/>
            <pc:sldMk cId="4228590265" sldId="894"/>
            <ac:spMk id="25" creationId="{22AAEAAE-2B51-4DB3-B798-222C8528AA02}"/>
          </ac:spMkLst>
        </pc:spChg>
        <pc:spChg chg="del">
          <ac:chgData name="Kaltrina Rexhahmetaj" userId="S::kaltrina.rexhahmetaj@bvh.org::c314e318-93e0-4c36-9995-6aa0f00e0010" providerId="AD" clId="Web-{5F1E348E-7353-61D8-C6BD-B8780B2D8DD1}" dt="2020-03-17T17:54:25.919" v="662"/>
          <ac:spMkLst>
            <pc:docMk/>
            <pc:sldMk cId="4228590265" sldId="894"/>
            <ac:spMk id="36" creationId="{511CED9F-1DD2-45BC-8C73-A4F90F1ACE83}"/>
          </ac:spMkLst>
        </pc:spChg>
        <pc:spChg chg="del">
          <ac:chgData name="Kaltrina Rexhahmetaj" userId="S::kaltrina.rexhahmetaj@bvh.org::c314e318-93e0-4c36-9995-6aa0f00e0010" providerId="AD" clId="Web-{5F1E348E-7353-61D8-C6BD-B8780B2D8DD1}" dt="2020-03-17T17:54:25.919" v="661"/>
          <ac:spMkLst>
            <pc:docMk/>
            <pc:sldMk cId="4228590265" sldId="894"/>
            <ac:spMk id="37" creationId="{E844ACE5-A1ED-495A-BBFF-5B94F6334016}"/>
          </ac:spMkLst>
        </pc:spChg>
        <pc:spChg chg="del">
          <ac:chgData name="Kaltrina Rexhahmetaj" userId="S::kaltrina.rexhahmetaj@bvh.org::c314e318-93e0-4c36-9995-6aa0f00e0010" providerId="AD" clId="Web-{5F1E348E-7353-61D8-C6BD-B8780B2D8DD1}" dt="2020-03-17T17:54:25.919" v="660"/>
          <ac:spMkLst>
            <pc:docMk/>
            <pc:sldMk cId="4228590265" sldId="894"/>
            <ac:spMk id="38" creationId="{2EEA941E-541F-48E7-8B7C-EFE62E0A4649}"/>
          </ac:spMkLst>
        </pc:spChg>
        <pc:spChg chg="del">
          <ac:chgData name="Kaltrina Rexhahmetaj" userId="S::kaltrina.rexhahmetaj@bvh.org::c314e318-93e0-4c36-9995-6aa0f00e0010" providerId="AD" clId="Web-{5F1E348E-7353-61D8-C6BD-B8780B2D8DD1}" dt="2020-03-17T17:54:25.919" v="659"/>
          <ac:spMkLst>
            <pc:docMk/>
            <pc:sldMk cId="4228590265" sldId="894"/>
            <ac:spMk id="39" creationId="{26030E1D-9BB9-4B0F-A235-53E44F978A5D}"/>
          </ac:spMkLst>
        </pc:spChg>
        <pc:spChg chg="del">
          <ac:chgData name="Kaltrina Rexhahmetaj" userId="S::kaltrina.rexhahmetaj@bvh.org::c314e318-93e0-4c36-9995-6aa0f00e0010" providerId="AD" clId="Web-{5F1E348E-7353-61D8-C6BD-B8780B2D8DD1}" dt="2020-03-17T17:54:25.919" v="658"/>
          <ac:spMkLst>
            <pc:docMk/>
            <pc:sldMk cId="4228590265" sldId="894"/>
            <ac:spMk id="40" creationId="{CA4524C3-B3D3-4746-9D69-CEFA4536364F}"/>
          </ac:spMkLst>
        </pc:spChg>
        <pc:spChg chg="del">
          <ac:chgData name="Kaltrina Rexhahmetaj" userId="S::kaltrina.rexhahmetaj@bvh.org::c314e318-93e0-4c36-9995-6aa0f00e0010" providerId="AD" clId="Web-{5F1E348E-7353-61D8-C6BD-B8780B2D8DD1}" dt="2020-03-17T17:54:25.919" v="657"/>
          <ac:spMkLst>
            <pc:docMk/>
            <pc:sldMk cId="4228590265" sldId="894"/>
            <ac:spMk id="41" creationId="{D1A29746-AE48-4226-997A-BE4E8D07F0D9}"/>
          </ac:spMkLst>
        </pc:spChg>
        <pc:spChg chg="del">
          <ac:chgData name="Kaltrina Rexhahmetaj" userId="S::kaltrina.rexhahmetaj@bvh.org::c314e318-93e0-4c36-9995-6aa0f00e0010" providerId="AD" clId="Web-{5F1E348E-7353-61D8-C6BD-B8780B2D8DD1}" dt="2020-03-17T17:54:25.919" v="656"/>
          <ac:spMkLst>
            <pc:docMk/>
            <pc:sldMk cId="4228590265" sldId="894"/>
            <ac:spMk id="42" creationId="{24B8489C-ADF2-4435-B0C3-4E1FA2F0083C}"/>
          </ac:spMkLst>
        </pc:spChg>
        <pc:spChg chg="del">
          <ac:chgData name="Kaltrina Rexhahmetaj" userId="S::kaltrina.rexhahmetaj@bvh.org::c314e318-93e0-4c36-9995-6aa0f00e0010" providerId="AD" clId="Web-{5F1E348E-7353-61D8-C6BD-B8780B2D8DD1}" dt="2020-03-17T17:54:25.903" v="655"/>
          <ac:spMkLst>
            <pc:docMk/>
            <pc:sldMk cId="4228590265" sldId="894"/>
            <ac:spMk id="43" creationId="{B999F34E-CF1C-4307-B7F5-4266D74264FD}"/>
          </ac:spMkLst>
        </pc:spChg>
        <pc:spChg chg="del">
          <ac:chgData name="Kaltrina Rexhahmetaj" userId="S::kaltrina.rexhahmetaj@bvh.org::c314e318-93e0-4c36-9995-6aa0f00e0010" providerId="AD" clId="Web-{5F1E348E-7353-61D8-C6BD-B8780B2D8DD1}" dt="2020-03-17T17:54:25.903" v="654"/>
          <ac:spMkLst>
            <pc:docMk/>
            <pc:sldMk cId="4228590265" sldId="894"/>
            <ac:spMk id="44" creationId="{1E8B7373-4495-4D72-BCB2-D9CCD2FB8C37}"/>
          </ac:spMkLst>
        </pc:spChg>
        <pc:spChg chg="del">
          <ac:chgData name="Kaltrina Rexhahmetaj" userId="S::kaltrina.rexhahmetaj@bvh.org::c314e318-93e0-4c36-9995-6aa0f00e0010" providerId="AD" clId="Web-{5F1E348E-7353-61D8-C6BD-B8780B2D8DD1}" dt="2020-03-17T17:54:25.903" v="653"/>
          <ac:spMkLst>
            <pc:docMk/>
            <pc:sldMk cId="4228590265" sldId="894"/>
            <ac:spMk id="45" creationId="{EB64AAA8-E4E1-483B-82A4-B4B7EBA795C2}"/>
          </ac:spMkLst>
        </pc:spChg>
        <pc:spChg chg="del">
          <ac:chgData name="Kaltrina Rexhahmetaj" userId="S::kaltrina.rexhahmetaj@bvh.org::c314e318-93e0-4c36-9995-6aa0f00e0010" providerId="AD" clId="Web-{5F1E348E-7353-61D8-C6BD-B8780B2D8DD1}" dt="2020-03-17T17:54:25.903" v="652"/>
          <ac:spMkLst>
            <pc:docMk/>
            <pc:sldMk cId="4228590265" sldId="894"/>
            <ac:spMk id="46" creationId="{BE658324-756A-485E-B06B-31658B60AF3F}"/>
          </ac:spMkLst>
        </pc:spChg>
        <pc:spChg chg="del">
          <ac:chgData name="Kaltrina Rexhahmetaj" userId="S::kaltrina.rexhahmetaj@bvh.org::c314e318-93e0-4c36-9995-6aa0f00e0010" providerId="AD" clId="Web-{5F1E348E-7353-61D8-C6BD-B8780B2D8DD1}" dt="2020-03-17T17:54:25.903" v="651"/>
          <ac:spMkLst>
            <pc:docMk/>
            <pc:sldMk cId="4228590265" sldId="894"/>
            <ac:spMk id="47" creationId="{AFA86D87-9515-4433-9DCD-7F03B4257745}"/>
          </ac:spMkLst>
        </pc:spChg>
        <pc:spChg chg="del">
          <ac:chgData name="Kaltrina Rexhahmetaj" userId="S::kaltrina.rexhahmetaj@bvh.org::c314e318-93e0-4c36-9995-6aa0f00e0010" providerId="AD" clId="Web-{5F1E348E-7353-61D8-C6BD-B8780B2D8DD1}" dt="2020-03-17T17:54:25.903" v="650"/>
          <ac:spMkLst>
            <pc:docMk/>
            <pc:sldMk cId="4228590265" sldId="894"/>
            <ac:spMk id="48" creationId="{25574CB6-F16D-4E0E-BDA5-E69CD290F308}"/>
          </ac:spMkLst>
        </pc:spChg>
        <pc:spChg chg="del">
          <ac:chgData name="Kaltrina Rexhahmetaj" userId="S::kaltrina.rexhahmetaj@bvh.org::c314e318-93e0-4c36-9995-6aa0f00e0010" providerId="AD" clId="Web-{5F1E348E-7353-61D8-C6BD-B8780B2D8DD1}" dt="2020-03-17T17:54:25.903" v="649"/>
          <ac:spMkLst>
            <pc:docMk/>
            <pc:sldMk cId="4228590265" sldId="894"/>
            <ac:spMk id="49" creationId="{C0339DAB-889C-4691-BC90-078E54EBF1F2}"/>
          </ac:spMkLst>
        </pc:spChg>
        <pc:spChg chg="del">
          <ac:chgData name="Kaltrina Rexhahmetaj" userId="S::kaltrina.rexhahmetaj@bvh.org::c314e318-93e0-4c36-9995-6aa0f00e0010" providerId="AD" clId="Web-{5F1E348E-7353-61D8-C6BD-B8780B2D8DD1}" dt="2020-03-17T17:54:25.903" v="648"/>
          <ac:spMkLst>
            <pc:docMk/>
            <pc:sldMk cId="4228590265" sldId="894"/>
            <ac:spMk id="50" creationId="{95710326-508C-491E-8CB2-B3D34EE417B3}"/>
          </ac:spMkLst>
        </pc:spChg>
        <pc:spChg chg="del">
          <ac:chgData name="Kaltrina Rexhahmetaj" userId="S::kaltrina.rexhahmetaj@bvh.org::c314e318-93e0-4c36-9995-6aa0f00e0010" providerId="AD" clId="Web-{5F1E348E-7353-61D8-C6BD-B8780B2D8DD1}" dt="2020-03-17T17:54:25.903" v="647"/>
          <ac:spMkLst>
            <pc:docMk/>
            <pc:sldMk cId="4228590265" sldId="894"/>
            <ac:spMk id="51" creationId="{A959D0CA-2B80-4243-99CF-05011F7AB948}"/>
          </ac:spMkLst>
        </pc:spChg>
        <pc:spChg chg="del">
          <ac:chgData name="Kaltrina Rexhahmetaj" userId="S::kaltrina.rexhahmetaj@bvh.org::c314e318-93e0-4c36-9995-6aa0f00e0010" providerId="AD" clId="Web-{5F1E348E-7353-61D8-C6BD-B8780B2D8DD1}" dt="2020-03-17T17:54:25.903" v="646"/>
          <ac:spMkLst>
            <pc:docMk/>
            <pc:sldMk cId="4228590265" sldId="894"/>
            <ac:spMk id="52" creationId="{621D3609-084A-4CF9-B20A-9BD38316E63B}"/>
          </ac:spMkLst>
        </pc:spChg>
        <pc:picChg chg="add">
          <ac:chgData name="Kaltrina Rexhahmetaj" userId="S::kaltrina.rexhahmetaj@bvh.org::c314e318-93e0-4c36-9995-6aa0f00e0010" providerId="AD" clId="Web-{5F1E348E-7353-61D8-C6BD-B8780B2D8DD1}" dt="2020-03-17T17:55:16.953" v="665"/>
          <ac:picMkLst>
            <pc:docMk/>
            <pc:sldMk cId="4228590265" sldId="894"/>
            <ac:picMk id="23" creationId="{B58483C8-6206-4D86-B922-EEBCEFF1490D}"/>
          </ac:picMkLst>
        </pc:picChg>
      </pc:sldChg>
      <pc:sldChg chg="addSp delSp modSp add ord replId modNotes">
        <pc:chgData name="Kaltrina Rexhahmetaj" userId="S::kaltrina.rexhahmetaj@bvh.org::c314e318-93e0-4c36-9995-6aa0f00e0010" providerId="AD" clId="Web-{5F1E348E-7353-61D8-C6BD-B8780B2D8DD1}" dt="2020-03-17T18:00:04.750" v="747"/>
        <pc:sldMkLst>
          <pc:docMk/>
          <pc:sldMk cId="173023256" sldId="895"/>
        </pc:sldMkLst>
        <pc:spChg chg="add mod">
          <ac:chgData name="Kaltrina Rexhahmetaj" userId="S::kaltrina.rexhahmetaj@bvh.org::c314e318-93e0-4c36-9995-6aa0f00e0010" providerId="AD" clId="Web-{5F1E348E-7353-61D8-C6BD-B8780B2D8DD1}" dt="2020-03-17T17:58:42.324" v="746"/>
          <ac:spMkLst>
            <pc:docMk/>
            <pc:sldMk cId="173023256" sldId="895"/>
            <ac:spMk id="4" creationId="{BA5299B0-FE63-48F3-9310-FFB83B32C1BF}"/>
          </ac:spMkLst>
        </pc:spChg>
        <pc:spChg chg="del">
          <ac:chgData name="Kaltrina Rexhahmetaj" userId="S::kaltrina.rexhahmetaj@bvh.org::c314e318-93e0-4c36-9995-6aa0f00e0010" providerId="AD" clId="Web-{5F1E348E-7353-61D8-C6BD-B8780B2D8DD1}" dt="2020-03-17T17:57:36.351" v="695"/>
          <ac:spMkLst>
            <pc:docMk/>
            <pc:sldMk cId="173023256" sldId="895"/>
            <ac:spMk id="5" creationId="{CB779639-352B-4B98-BBE4-45287FF5F344}"/>
          </ac:spMkLst>
        </pc:spChg>
        <pc:spChg chg="add">
          <ac:chgData name="Kaltrina Rexhahmetaj" userId="S::kaltrina.rexhahmetaj@bvh.org::c314e318-93e0-4c36-9995-6aa0f00e0010" providerId="AD" clId="Web-{5F1E348E-7353-61D8-C6BD-B8780B2D8DD1}" dt="2020-03-17T17:58:19.526" v="698"/>
          <ac:spMkLst>
            <pc:docMk/>
            <pc:sldMk cId="173023256" sldId="895"/>
            <ac:spMk id="6" creationId="{7258A03A-6AAD-4F83-9621-13530E6F1189}"/>
          </ac:spMkLst>
        </pc:spChg>
        <pc:spChg chg="add">
          <ac:chgData name="Kaltrina Rexhahmetaj" userId="S::kaltrina.rexhahmetaj@bvh.org::c314e318-93e0-4c36-9995-6aa0f00e0010" providerId="AD" clId="Web-{5F1E348E-7353-61D8-C6BD-B8780B2D8DD1}" dt="2020-03-17T17:58:19.541" v="699"/>
          <ac:spMkLst>
            <pc:docMk/>
            <pc:sldMk cId="173023256" sldId="895"/>
            <ac:spMk id="8" creationId="{23B095F9-1431-406C-8C25-2AD8B07536CF}"/>
          </ac:spMkLst>
        </pc:spChg>
        <pc:spChg chg="add">
          <ac:chgData name="Kaltrina Rexhahmetaj" userId="S::kaltrina.rexhahmetaj@bvh.org::c314e318-93e0-4c36-9995-6aa0f00e0010" providerId="AD" clId="Web-{5F1E348E-7353-61D8-C6BD-B8780B2D8DD1}" dt="2020-03-17T17:58:19.604" v="700"/>
          <ac:spMkLst>
            <pc:docMk/>
            <pc:sldMk cId="173023256" sldId="895"/>
            <ac:spMk id="10" creationId="{E678A87A-5686-45A0-98A6-508BA813C471}"/>
          </ac:spMkLst>
        </pc:spChg>
        <pc:spChg chg="add">
          <ac:chgData name="Kaltrina Rexhahmetaj" userId="S::kaltrina.rexhahmetaj@bvh.org::c314e318-93e0-4c36-9995-6aa0f00e0010" providerId="AD" clId="Web-{5F1E348E-7353-61D8-C6BD-B8780B2D8DD1}" dt="2020-03-17T17:58:19.619" v="701"/>
          <ac:spMkLst>
            <pc:docMk/>
            <pc:sldMk cId="173023256" sldId="895"/>
            <ac:spMk id="12" creationId="{68ED1016-60AB-43D6-B6BD-A5C24604FA0B}"/>
          </ac:spMkLst>
        </pc:spChg>
        <pc:spChg chg="add">
          <ac:chgData name="Kaltrina Rexhahmetaj" userId="S::kaltrina.rexhahmetaj@bvh.org::c314e318-93e0-4c36-9995-6aa0f00e0010" providerId="AD" clId="Web-{5F1E348E-7353-61D8-C6BD-B8780B2D8DD1}" dt="2020-03-17T17:58:19.619" v="702"/>
          <ac:spMkLst>
            <pc:docMk/>
            <pc:sldMk cId="173023256" sldId="895"/>
            <ac:spMk id="14" creationId="{F8A8BD11-C0C9-49A8-8428-054161453913}"/>
          </ac:spMkLst>
        </pc:spChg>
        <pc:spChg chg="add">
          <ac:chgData name="Kaltrina Rexhahmetaj" userId="S::kaltrina.rexhahmetaj@bvh.org::c314e318-93e0-4c36-9995-6aa0f00e0010" providerId="AD" clId="Web-{5F1E348E-7353-61D8-C6BD-B8780B2D8DD1}" dt="2020-03-17T17:58:19.635" v="703"/>
          <ac:spMkLst>
            <pc:docMk/>
            <pc:sldMk cId="173023256" sldId="895"/>
            <ac:spMk id="16" creationId="{2E1E049D-7B5D-4C4A-85A8-FA876DBE7A5A}"/>
          </ac:spMkLst>
        </pc:spChg>
        <pc:spChg chg="add">
          <ac:chgData name="Kaltrina Rexhahmetaj" userId="S::kaltrina.rexhahmetaj@bvh.org::c314e318-93e0-4c36-9995-6aa0f00e0010" providerId="AD" clId="Web-{5F1E348E-7353-61D8-C6BD-B8780B2D8DD1}" dt="2020-03-17T17:58:19.635" v="704"/>
          <ac:spMkLst>
            <pc:docMk/>
            <pc:sldMk cId="173023256" sldId="895"/>
            <ac:spMk id="18" creationId="{5E710BDB-6AB0-4F62-A12C-70AA4CC9DEDC}"/>
          </ac:spMkLst>
        </pc:spChg>
        <pc:spChg chg="add">
          <ac:chgData name="Kaltrina Rexhahmetaj" userId="S::kaltrina.rexhahmetaj@bvh.org::c314e318-93e0-4c36-9995-6aa0f00e0010" providerId="AD" clId="Web-{5F1E348E-7353-61D8-C6BD-B8780B2D8DD1}" dt="2020-03-17T17:58:19.651" v="705"/>
          <ac:spMkLst>
            <pc:docMk/>
            <pc:sldMk cId="173023256" sldId="895"/>
            <ac:spMk id="20" creationId="{D18AA2E1-EE40-4490-88CF-6C0E5C926CE0}"/>
          </ac:spMkLst>
        </pc:spChg>
        <pc:spChg chg="add">
          <ac:chgData name="Kaltrina Rexhahmetaj" userId="S::kaltrina.rexhahmetaj@bvh.org::c314e318-93e0-4c36-9995-6aa0f00e0010" providerId="AD" clId="Web-{5F1E348E-7353-61D8-C6BD-B8780B2D8DD1}" dt="2020-03-17T17:58:19.651" v="706"/>
          <ac:spMkLst>
            <pc:docMk/>
            <pc:sldMk cId="173023256" sldId="895"/>
            <ac:spMk id="22" creationId="{E29EAC7F-3B8B-4902-9363-193E6BDD4804}"/>
          </ac:spMkLst>
        </pc:spChg>
        <pc:spChg chg="add">
          <ac:chgData name="Kaltrina Rexhahmetaj" userId="S::kaltrina.rexhahmetaj@bvh.org::c314e318-93e0-4c36-9995-6aa0f00e0010" providerId="AD" clId="Web-{5F1E348E-7353-61D8-C6BD-B8780B2D8DD1}" dt="2020-03-17T17:58:19.666" v="707"/>
          <ac:spMkLst>
            <pc:docMk/>
            <pc:sldMk cId="173023256" sldId="895"/>
            <ac:spMk id="26" creationId="{169301C4-47A3-4BBC-8888-4FDAD32A7884}"/>
          </ac:spMkLst>
        </pc:spChg>
        <pc:spChg chg="add">
          <ac:chgData name="Kaltrina Rexhahmetaj" userId="S::kaltrina.rexhahmetaj@bvh.org::c314e318-93e0-4c36-9995-6aa0f00e0010" providerId="AD" clId="Web-{5F1E348E-7353-61D8-C6BD-B8780B2D8DD1}" dt="2020-03-17T17:58:19.666" v="708"/>
          <ac:spMkLst>
            <pc:docMk/>
            <pc:sldMk cId="173023256" sldId="895"/>
            <ac:spMk id="28" creationId="{2053A036-53C0-46B8-9C61-6115355B4090}"/>
          </ac:spMkLst>
        </pc:spChg>
        <pc:spChg chg="add">
          <ac:chgData name="Kaltrina Rexhahmetaj" userId="S::kaltrina.rexhahmetaj@bvh.org::c314e318-93e0-4c36-9995-6aa0f00e0010" providerId="AD" clId="Web-{5F1E348E-7353-61D8-C6BD-B8780B2D8DD1}" dt="2020-03-17T17:58:19.682" v="709"/>
          <ac:spMkLst>
            <pc:docMk/>
            <pc:sldMk cId="173023256" sldId="895"/>
            <ac:spMk id="30" creationId="{3ED446D0-3BCA-4EB7-A724-30E5D43BC8AB}"/>
          </ac:spMkLst>
        </pc:spChg>
        <pc:spChg chg="add">
          <ac:chgData name="Kaltrina Rexhahmetaj" userId="S::kaltrina.rexhahmetaj@bvh.org::c314e318-93e0-4c36-9995-6aa0f00e0010" providerId="AD" clId="Web-{5F1E348E-7353-61D8-C6BD-B8780B2D8DD1}" dt="2020-03-17T17:58:19.682" v="710"/>
          <ac:spMkLst>
            <pc:docMk/>
            <pc:sldMk cId="173023256" sldId="895"/>
            <ac:spMk id="32" creationId="{7F4551B8-7DB0-4DE9-8827-961CD8405E1C}"/>
          </ac:spMkLst>
        </pc:spChg>
        <pc:spChg chg="add">
          <ac:chgData name="Kaltrina Rexhahmetaj" userId="S::kaltrina.rexhahmetaj@bvh.org::c314e318-93e0-4c36-9995-6aa0f00e0010" providerId="AD" clId="Web-{5F1E348E-7353-61D8-C6BD-B8780B2D8DD1}" dt="2020-03-17T17:58:19.697" v="711"/>
          <ac:spMkLst>
            <pc:docMk/>
            <pc:sldMk cId="173023256" sldId="895"/>
            <ac:spMk id="34" creationId="{EDCCC36B-6EE7-467B-AE73-EFD021901D4D}"/>
          </ac:spMkLst>
        </pc:spChg>
        <pc:spChg chg="add">
          <ac:chgData name="Kaltrina Rexhahmetaj" userId="S::kaltrina.rexhahmetaj@bvh.org::c314e318-93e0-4c36-9995-6aa0f00e0010" providerId="AD" clId="Web-{5F1E348E-7353-61D8-C6BD-B8780B2D8DD1}" dt="2020-03-17T17:58:19.697" v="712"/>
          <ac:spMkLst>
            <pc:docMk/>
            <pc:sldMk cId="173023256" sldId="895"/>
            <ac:spMk id="36" creationId="{BFF98BC5-37F8-4660-BE0D-385D446C69F0}"/>
          </ac:spMkLst>
        </pc:spChg>
        <pc:spChg chg="add">
          <ac:chgData name="Kaltrina Rexhahmetaj" userId="S::kaltrina.rexhahmetaj@bvh.org::c314e318-93e0-4c36-9995-6aa0f00e0010" providerId="AD" clId="Web-{5F1E348E-7353-61D8-C6BD-B8780B2D8DD1}" dt="2020-03-17T17:58:19.713" v="713"/>
          <ac:spMkLst>
            <pc:docMk/>
            <pc:sldMk cId="173023256" sldId="895"/>
            <ac:spMk id="38" creationId="{86586B0B-7492-42D9-94DB-7FAD9CEC8D5B}"/>
          </ac:spMkLst>
        </pc:spChg>
        <pc:spChg chg="add">
          <ac:chgData name="Kaltrina Rexhahmetaj" userId="S::kaltrina.rexhahmetaj@bvh.org::c314e318-93e0-4c36-9995-6aa0f00e0010" providerId="AD" clId="Web-{5F1E348E-7353-61D8-C6BD-B8780B2D8DD1}" dt="2020-03-17T17:58:19.729" v="714"/>
          <ac:spMkLst>
            <pc:docMk/>
            <pc:sldMk cId="173023256" sldId="895"/>
            <ac:spMk id="40" creationId="{22373A95-19D3-4629-A2C4-A9DF6687184E}"/>
          </ac:spMkLst>
        </pc:spChg>
        <pc:spChg chg="add">
          <ac:chgData name="Kaltrina Rexhahmetaj" userId="S::kaltrina.rexhahmetaj@bvh.org::c314e318-93e0-4c36-9995-6aa0f00e0010" providerId="AD" clId="Web-{5F1E348E-7353-61D8-C6BD-B8780B2D8DD1}" dt="2020-03-17T17:58:19.729" v="715"/>
          <ac:spMkLst>
            <pc:docMk/>
            <pc:sldMk cId="173023256" sldId="895"/>
            <ac:spMk id="42" creationId="{8B4F9362-EAF9-4708-AE61-BF628914347B}"/>
          </ac:spMkLst>
        </pc:spChg>
        <pc:spChg chg="add">
          <ac:chgData name="Kaltrina Rexhahmetaj" userId="S::kaltrina.rexhahmetaj@bvh.org::c314e318-93e0-4c36-9995-6aa0f00e0010" providerId="AD" clId="Web-{5F1E348E-7353-61D8-C6BD-B8780B2D8DD1}" dt="2020-03-17T17:58:19.744" v="716"/>
          <ac:spMkLst>
            <pc:docMk/>
            <pc:sldMk cId="173023256" sldId="895"/>
            <ac:spMk id="44" creationId="{D7B1A73E-80BD-49A5-8C8A-F843C873E41C}"/>
          </ac:spMkLst>
        </pc:spChg>
        <pc:spChg chg="add">
          <ac:chgData name="Kaltrina Rexhahmetaj" userId="S::kaltrina.rexhahmetaj@bvh.org::c314e318-93e0-4c36-9995-6aa0f00e0010" providerId="AD" clId="Web-{5F1E348E-7353-61D8-C6BD-B8780B2D8DD1}" dt="2020-03-17T17:58:19.744" v="717"/>
          <ac:spMkLst>
            <pc:docMk/>
            <pc:sldMk cId="173023256" sldId="895"/>
            <ac:spMk id="46" creationId="{309AED41-19DF-4F26-82C4-8FF0D3050E02}"/>
          </ac:spMkLst>
        </pc:spChg>
        <pc:spChg chg="add">
          <ac:chgData name="Kaltrina Rexhahmetaj" userId="S::kaltrina.rexhahmetaj@bvh.org::c314e318-93e0-4c36-9995-6aa0f00e0010" providerId="AD" clId="Web-{5F1E348E-7353-61D8-C6BD-B8780B2D8DD1}" dt="2020-03-17T17:58:19.760" v="718"/>
          <ac:spMkLst>
            <pc:docMk/>
            <pc:sldMk cId="173023256" sldId="895"/>
            <ac:spMk id="48" creationId="{7C090B1D-3832-434A-894E-3609AC012D8F}"/>
          </ac:spMkLst>
        </pc:spChg>
        <pc:spChg chg="add">
          <ac:chgData name="Kaltrina Rexhahmetaj" userId="S::kaltrina.rexhahmetaj@bvh.org::c314e318-93e0-4c36-9995-6aa0f00e0010" providerId="AD" clId="Web-{5F1E348E-7353-61D8-C6BD-B8780B2D8DD1}" dt="2020-03-17T17:58:19.776" v="719"/>
          <ac:spMkLst>
            <pc:docMk/>
            <pc:sldMk cId="173023256" sldId="895"/>
            <ac:spMk id="50" creationId="{255F100D-3261-4765-878B-D050E790CB75}"/>
          </ac:spMkLst>
        </pc:spChg>
        <pc:spChg chg="add">
          <ac:chgData name="Kaltrina Rexhahmetaj" userId="S::kaltrina.rexhahmetaj@bvh.org::c314e318-93e0-4c36-9995-6aa0f00e0010" providerId="AD" clId="Web-{5F1E348E-7353-61D8-C6BD-B8780B2D8DD1}" dt="2020-03-17T17:58:19.776" v="720"/>
          <ac:spMkLst>
            <pc:docMk/>
            <pc:sldMk cId="173023256" sldId="895"/>
            <ac:spMk id="52" creationId="{C8A8B36A-7F09-477B-9352-1418AF6570BA}"/>
          </ac:spMkLst>
        </pc:spChg>
        <pc:spChg chg="add">
          <ac:chgData name="Kaltrina Rexhahmetaj" userId="S::kaltrina.rexhahmetaj@bvh.org::c314e318-93e0-4c36-9995-6aa0f00e0010" providerId="AD" clId="Web-{5F1E348E-7353-61D8-C6BD-B8780B2D8DD1}" dt="2020-03-17T17:58:19.791" v="721"/>
          <ac:spMkLst>
            <pc:docMk/>
            <pc:sldMk cId="173023256" sldId="895"/>
            <ac:spMk id="54" creationId="{37CF64E9-C492-405E-9FF4-C0D4247065AF}"/>
          </ac:spMkLst>
        </pc:spChg>
        <pc:spChg chg="add">
          <ac:chgData name="Kaltrina Rexhahmetaj" userId="S::kaltrina.rexhahmetaj@bvh.org::c314e318-93e0-4c36-9995-6aa0f00e0010" providerId="AD" clId="Web-{5F1E348E-7353-61D8-C6BD-B8780B2D8DD1}" dt="2020-03-17T17:58:19.807" v="722"/>
          <ac:spMkLst>
            <pc:docMk/>
            <pc:sldMk cId="173023256" sldId="895"/>
            <ac:spMk id="56" creationId="{2B9A0E9B-D3B0-4915-AEE9-F0C5504D0A4B}"/>
          </ac:spMkLst>
        </pc:spChg>
        <pc:spChg chg="add">
          <ac:chgData name="Kaltrina Rexhahmetaj" userId="S::kaltrina.rexhahmetaj@bvh.org::c314e318-93e0-4c36-9995-6aa0f00e0010" providerId="AD" clId="Web-{5F1E348E-7353-61D8-C6BD-B8780B2D8DD1}" dt="2020-03-17T17:58:19.807" v="723"/>
          <ac:spMkLst>
            <pc:docMk/>
            <pc:sldMk cId="173023256" sldId="895"/>
            <ac:spMk id="58" creationId="{E336D5DA-0A2B-4735-8856-DD5080AC095A}"/>
          </ac:spMkLst>
        </pc:spChg>
        <pc:spChg chg="add">
          <ac:chgData name="Kaltrina Rexhahmetaj" userId="S::kaltrina.rexhahmetaj@bvh.org::c314e318-93e0-4c36-9995-6aa0f00e0010" providerId="AD" clId="Web-{5F1E348E-7353-61D8-C6BD-B8780B2D8DD1}" dt="2020-03-17T17:58:19.823" v="724"/>
          <ac:spMkLst>
            <pc:docMk/>
            <pc:sldMk cId="173023256" sldId="895"/>
            <ac:spMk id="60" creationId="{7DAD822C-A01B-45DD-A53B-8EBDD399D48C}"/>
          </ac:spMkLst>
        </pc:spChg>
        <pc:spChg chg="add">
          <ac:chgData name="Kaltrina Rexhahmetaj" userId="S::kaltrina.rexhahmetaj@bvh.org::c314e318-93e0-4c36-9995-6aa0f00e0010" providerId="AD" clId="Web-{5F1E348E-7353-61D8-C6BD-B8780B2D8DD1}" dt="2020-03-17T17:58:19.838" v="725"/>
          <ac:spMkLst>
            <pc:docMk/>
            <pc:sldMk cId="173023256" sldId="895"/>
            <ac:spMk id="62" creationId="{8186043D-28AA-4061-A3E5-73A4B665E0B2}"/>
          </ac:spMkLst>
        </pc:spChg>
        <pc:spChg chg="add">
          <ac:chgData name="Kaltrina Rexhahmetaj" userId="S::kaltrina.rexhahmetaj@bvh.org::c314e318-93e0-4c36-9995-6aa0f00e0010" providerId="AD" clId="Web-{5F1E348E-7353-61D8-C6BD-B8780B2D8DD1}" dt="2020-03-17T17:58:19.854" v="726"/>
          <ac:spMkLst>
            <pc:docMk/>
            <pc:sldMk cId="173023256" sldId="895"/>
            <ac:spMk id="64" creationId="{6F5C313D-D2E2-4BE0-9B04-3A8ADF96DDBC}"/>
          </ac:spMkLst>
        </pc:spChg>
        <pc:spChg chg="add">
          <ac:chgData name="Kaltrina Rexhahmetaj" userId="S::kaltrina.rexhahmetaj@bvh.org::c314e318-93e0-4c36-9995-6aa0f00e0010" providerId="AD" clId="Web-{5F1E348E-7353-61D8-C6BD-B8780B2D8DD1}" dt="2020-03-17T17:58:19.869" v="727"/>
          <ac:spMkLst>
            <pc:docMk/>
            <pc:sldMk cId="173023256" sldId="895"/>
            <ac:spMk id="66" creationId="{A594885B-A94F-44E5-9E70-200356452760}"/>
          </ac:spMkLst>
        </pc:spChg>
        <pc:spChg chg="add">
          <ac:chgData name="Kaltrina Rexhahmetaj" userId="S::kaltrina.rexhahmetaj@bvh.org::c314e318-93e0-4c36-9995-6aa0f00e0010" providerId="AD" clId="Web-{5F1E348E-7353-61D8-C6BD-B8780B2D8DD1}" dt="2020-03-17T17:58:19.885" v="728"/>
          <ac:spMkLst>
            <pc:docMk/>
            <pc:sldMk cId="173023256" sldId="895"/>
            <ac:spMk id="68" creationId="{1E9DF356-2D16-4A89-A8DA-081875C744E6}"/>
          </ac:spMkLst>
        </pc:spChg>
        <pc:spChg chg="add del">
          <ac:chgData name="Kaltrina Rexhahmetaj" userId="S::kaltrina.rexhahmetaj@bvh.org::c314e318-93e0-4c36-9995-6aa0f00e0010" providerId="AD" clId="Web-{5F1E348E-7353-61D8-C6BD-B8780B2D8DD1}" dt="2020-03-17T17:58:39.839" v="745"/>
          <ac:spMkLst>
            <pc:docMk/>
            <pc:sldMk cId="173023256" sldId="895"/>
            <ac:spMk id="70" creationId="{14F7FC7C-C2E0-4619-996D-21D8D62E29A2}"/>
          </ac:spMkLst>
        </pc:spChg>
        <pc:picChg chg="del">
          <ac:chgData name="Kaltrina Rexhahmetaj" userId="S::kaltrina.rexhahmetaj@bvh.org::c314e318-93e0-4c36-9995-6aa0f00e0010" providerId="AD" clId="Web-{5F1E348E-7353-61D8-C6BD-B8780B2D8DD1}" dt="2020-03-17T17:57:36.195" v="694"/>
          <ac:picMkLst>
            <pc:docMk/>
            <pc:sldMk cId="173023256" sldId="895"/>
            <ac:picMk id="23" creationId="{B58483C8-6206-4D86-B922-EEBCEFF1490D}"/>
          </ac:picMkLst>
        </pc:picChg>
      </pc:sldChg>
      <pc:sldChg chg="addSp delSp modSp add del replId">
        <pc:chgData name="Kaltrina Rexhahmetaj" userId="S::kaltrina.rexhahmetaj@bvh.org::c314e318-93e0-4c36-9995-6aa0f00e0010" providerId="AD" clId="Web-{5F1E348E-7353-61D8-C6BD-B8780B2D8DD1}" dt="2020-03-17T17:57:29.476" v="692"/>
        <pc:sldMkLst>
          <pc:docMk/>
          <pc:sldMk cId="279278258" sldId="895"/>
        </pc:sldMkLst>
        <pc:spChg chg="add mod">
          <ac:chgData name="Kaltrina Rexhahmetaj" userId="S::kaltrina.rexhahmetaj@bvh.org::c314e318-93e0-4c36-9995-6aa0f00e0010" providerId="AD" clId="Web-{5F1E348E-7353-61D8-C6BD-B8780B2D8DD1}" dt="2020-03-17T17:57:19.757" v="690"/>
          <ac:spMkLst>
            <pc:docMk/>
            <pc:sldMk cId="279278258" sldId="895"/>
            <ac:spMk id="4" creationId="{0FBD30F9-FC0E-433A-96F2-656A7D595415}"/>
          </ac:spMkLst>
        </pc:spChg>
        <pc:spChg chg="del">
          <ac:chgData name="Kaltrina Rexhahmetaj" userId="S::kaltrina.rexhahmetaj@bvh.org::c314e318-93e0-4c36-9995-6aa0f00e0010" providerId="AD" clId="Web-{5F1E348E-7353-61D8-C6BD-B8780B2D8DD1}" dt="2020-03-17T17:57:19.757" v="690"/>
          <ac:spMkLst>
            <pc:docMk/>
            <pc:sldMk cId="279278258" sldId="895"/>
            <ac:spMk id="5" creationId="{CB779639-352B-4B98-BBE4-45287FF5F344}"/>
          </ac:spMkLst>
        </pc:spChg>
        <pc:spChg chg="add">
          <ac:chgData name="Kaltrina Rexhahmetaj" userId="S::kaltrina.rexhahmetaj@bvh.org::c314e318-93e0-4c36-9995-6aa0f00e0010" providerId="AD" clId="Web-{5F1E348E-7353-61D8-C6BD-B8780B2D8DD1}" dt="2020-03-17T17:57:22.491" v="691"/>
          <ac:spMkLst>
            <pc:docMk/>
            <pc:sldMk cId="279278258" sldId="895"/>
            <ac:spMk id="7" creationId="{FFA89423-C9BD-45F2-B527-944480BF1CAA}"/>
          </ac:spMkLst>
        </pc:spChg>
        <pc:spChg chg="add">
          <ac:chgData name="Kaltrina Rexhahmetaj" userId="S::kaltrina.rexhahmetaj@bvh.org::c314e318-93e0-4c36-9995-6aa0f00e0010" providerId="AD" clId="Web-{5F1E348E-7353-61D8-C6BD-B8780B2D8DD1}" dt="2020-03-17T17:57:22.491" v="691"/>
          <ac:spMkLst>
            <pc:docMk/>
            <pc:sldMk cId="279278258" sldId="895"/>
            <ac:spMk id="8" creationId="{08159FB0-B1EF-4D0C-A88A-E2041ECC42E3}"/>
          </ac:spMkLst>
        </pc:spChg>
        <pc:spChg chg="add">
          <ac:chgData name="Kaltrina Rexhahmetaj" userId="S::kaltrina.rexhahmetaj@bvh.org::c314e318-93e0-4c36-9995-6aa0f00e0010" providerId="AD" clId="Web-{5F1E348E-7353-61D8-C6BD-B8780B2D8DD1}" dt="2020-03-17T17:57:22.491" v="691"/>
          <ac:spMkLst>
            <pc:docMk/>
            <pc:sldMk cId="279278258" sldId="895"/>
            <ac:spMk id="9" creationId="{07984BCF-736B-4593-B175-127DC24D7263}"/>
          </ac:spMkLst>
        </pc:spChg>
        <pc:spChg chg="add">
          <ac:chgData name="Kaltrina Rexhahmetaj" userId="S::kaltrina.rexhahmetaj@bvh.org::c314e318-93e0-4c36-9995-6aa0f00e0010" providerId="AD" clId="Web-{5F1E348E-7353-61D8-C6BD-B8780B2D8DD1}" dt="2020-03-17T17:57:22.491" v="691"/>
          <ac:spMkLst>
            <pc:docMk/>
            <pc:sldMk cId="279278258" sldId="895"/>
            <ac:spMk id="10" creationId="{F113E94E-F81A-4A00-ACEB-EDCEB7B249EF}"/>
          </ac:spMkLst>
        </pc:spChg>
        <pc:spChg chg="add">
          <ac:chgData name="Kaltrina Rexhahmetaj" userId="S::kaltrina.rexhahmetaj@bvh.org::c314e318-93e0-4c36-9995-6aa0f00e0010" providerId="AD" clId="Web-{5F1E348E-7353-61D8-C6BD-B8780B2D8DD1}" dt="2020-03-17T17:57:22.491" v="691"/>
          <ac:spMkLst>
            <pc:docMk/>
            <pc:sldMk cId="279278258" sldId="895"/>
            <ac:spMk id="11" creationId="{212D08D9-D964-4E9E-AC0D-1797B72B62D0}"/>
          </ac:spMkLst>
        </pc:spChg>
        <pc:spChg chg="add">
          <ac:chgData name="Kaltrina Rexhahmetaj" userId="S::kaltrina.rexhahmetaj@bvh.org::c314e318-93e0-4c36-9995-6aa0f00e0010" providerId="AD" clId="Web-{5F1E348E-7353-61D8-C6BD-B8780B2D8DD1}" dt="2020-03-17T17:57:22.491" v="691"/>
          <ac:spMkLst>
            <pc:docMk/>
            <pc:sldMk cId="279278258" sldId="895"/>
            <ac:spMk id="12" creationId="{8105B9E1-532F-4BB8-96C8-9490FA2CEF22}"/>
          </ac:spMkLst>
        </pc:spChg>
        <pc:spChg chg="add">
          <ac:chgData name="Kaltrina Rexhahmetaj" userId="S::kaltrina.rexhahmetaj@bvh.org::c314e318-93e0-4c36-9995-6aa0f00e0010" providerId="AD" clId="Web-{5F1E348E-7353-61D8-C6BD-B8780B2D8DD1}" dt="2020-03-17T17:57:22.491" v="691"/>
          <ac:spMkLst>
            <pc:docMk/>
            <pc:sldMk cId="279278258" sldId="895"/>
            <ac:spMk id="13" creationId="{971C9FFF-164A-45F3-A10E-0D1F6D903951}"/>
          </ac:spMkLst>
        </pc:spChg>
        <pc:spChg chg="add">
          <ac:chgData name="Kaltrina Rexhahmetaj" userId="S::kaltrina.rexhahmetaj@bvh.org::c314e318-93e0-4c36-9995-6aa0f00e0010" providerId="AD" clId="Web-{5F1E348E-7353-61D8-C6BD-B8780B2D8DD1}" dt="2020-03-17T17:57:22.491" v="691"/>
          <ac:spMkLst>
            <pc:docMk/>
            <pc:sldMk cId="279278258" sldId="895"/>
            <ac:spMk id="14" creationId="{B895ECC2-9046-4F5F-A922-7653320782CD}"/>
          </ac:spMkLst>
        </pc:spChg>
        <pc:spChg chg="add">
          <ac:chgData name="Kaltrina Rexhahmetaj" userId="S::kaltrina.rexhahmetaj@bvh.org::c314e318-93e0-4c36-9995-6aa0f00e0010" providerId="AD" clId="Web-{5F1E348E-7353-61D8-C6BD-B8780B2D8DD1}" dt="2020-03-17T17:57:22.491" v="691"/>
          <ac:spMkLst>
            <pc:docMk/>
            <pc:sldMk cId="279278258" sldId="895"/>
            <ac:spMk id="15" creationId="{4C85E217-E0EC-49D4-B912-C2F52271EA2F}"/>
          </ac:spMkLst>
        </pc:spChg>
        <pc:spChg chg="add">
          <ac:chgData name="Kaltrina Rexhahmetaj" userId="S::kaltrina.rexhahmetaj@bvh.org::c314e318-93e0-4c36-9995-6aa0f00e0010" providerId="AD" clId="Web-{5F1E348E-7353-61D8-C6BD-B8780B2D8DD1}" dt="2020-03-17T17:57:22.491" v="691"/>
          <ac:spMkLst>
            <pc:docMk/>
            <pc:sldMk cId="279278258" sldId="895"/>
            <ac:spMk id="16" creationId="{D1EF2217-1CCA-420D-873C-302223AF7209}"/>
          </ac:spMkLst>
        </pc:spChg>
        <pc:spChg chg="add">
          <ac:chgData name="Kaltrina Rexhahmetaj" userId="S::kaltrina.rexhahmetaj@bvh.org::c314e318-93e0-4c36-9995-6aa0f00e0010" providerId="AD" clId="Web-{5F1E348E-7353-61D8-C6BD-B8780B2D8DD1}" dt="2020-03-17T17:57:22.491" v="691"/>
          <ac:spMkLst>
            <pc:docMk/>
            <pc:sldMk cId="279278258" sldId="895"/>
            <ac:spMk id="17" creationId="{DB97471E-32D6-4680-B6C6-36F88ED738D6}"/>
          </ac:spMkLst>
        </pc:spChg>
        <pc:picChg chg="del">
          <ac:chgData name="Kaltrina Rexhahmetaj" userId="S::kaltrina.rexhahmetaj@bvh.org::c314e318-93e0-4c36-9995-6aa0f00e0010" providerId="AD" clId="Web-{5F1E348E-7353-61D8-C6BD-B8780B2D8DD1}" dt="2020-03-17T17:57:19.600" v="689"/>
          <ac:picMkLst>
            <pc:docMk/>
            <pc:sldMk cId="279278258" sldId="895"/>
            <ac:picMk id="23" creationId="{B58483C8-6206-4D86-B922-EEBCEFF1490D}"/>
          </ac:picMkLst>
        </pc:picChg>
      </pc:sldChg>
      <pc:sldChg chg="addSp delSp modSp add del replId">
        <pc:chgData name="Kaltrina Rexhahmetaj" userId="S::kaltrina.rexhahmetaj@bvh.org::c314e318-93e0-4c36-9995-6aa0f00e0010" providerId="AD" clId="Web-{5F1E348E-7353-61D8-C6BD-B8780B2D8DD1}" dt="2020-03-17T17:56:42.333" v="687"/>
        <pc:sldMkLst>
          <pc:docMk/>
          <pc:sldMk cId="3207355798" sldId="895"/>
        </pc:sldMkLst>
        <pc:spChg chg="add mod">
          <ac:chgData name="Kaltrina Rexhahmetaj" userId="S::kaltrina.rexhahmetaj@bvh.org::c314e318-93e0-4c36-9995-6aa0f00e0010" providerId="AD" clId="Web-{5F1E348E-7353-61D8-C6BD-B8780B2D8DD1}" dt="2020-03-17T17:56:17.144" v="685"/>
          <ac:spMkLst>
            <pc:docMk/>
            <pc:sldMk cId="3207355798" sldId="895"/>
            <ac:spMk id="4" creationId="{0E2029A3-0D91-46BF-BE6F-7EDCF3976B1D}"/>
          </ac:spMkLst>
        </pc:spChg>
        <pc:spChg chg="del">
          <ac:chgData name="Kaltrina Rexhahmetaj" userId="S::kaltrina.rexhahmetaj@bvh.org::c314e318-93e0-4c36-9995-6aa0f00e0010" providerId="AD" clId="Web-{5F1E348E-7353-61D8-C6BD-B8780B2D8DD1}" dt="2020-03-17T17:56:17.144" v="685"/>
          <ac:spMkLst>
            <pc:docMk/>
            <pc:sldMk cId="3207355798" sldId="895"/>
            <ac:spMk id="5" creationId="{CB779639-352B-4B98-BBE4-45287FF5F344}"/>
          </ac:spMkLst>
        </pc:spChg>
        <pc:spChg chg="add">
          <ac:chgData name="Kaltrina Rexhahmetaj" userId="S::kaltrina.rexhahmetaj@bvh.org::c314e318-93e0-4c36-9995-6aa0f00e0010" providerId="AD" clId="Web-{5F1E348E-7353-61D8-C6BD-B8780B2D8DD1}" dt="2020-03-17T17:56:19.956" v="686"/>
          <ac:spMkLst>
            <pc:docMk/>
            <pc:sldMk cId="3207355798" sldId="895"/>
            <ac:spMk id="7" creationId="{7B36BB80-AC7D-4640-AD12-AF7739F12CF5}"/>
          </ac:spMkLst>
        </pc:spChg>
        <pc:spChg chg="add">
          <ac:chgData name="Kaltrina Rexhahmetaj" userId="S::kaltrina.rexhahmetaj@bvh.org::c314e318-93e0-4c36-9995-6aa0f00e0010" providerId="AD" clId="Web-{5F1E348E-7353-61D8-C6BD-B8780B2D8DD1}" dt="2020-03-17T17:56:19.956" v="686"/>
          <ac:spMkLst>
            <pc:docMk/>
            <pc:sldMk cId="3207355798" sldId="895"/>
            <ac:spMk id="8" creationId="{37150273-00B0-4632-B708-071B715E498B}"/>
          </ac:spMkLst>
        </pc:spChg>
        <pc:spChg chg="add">
          <ac:chgData name="Kaltrina Rexhahmetaj" userId="S::kaltrina.rexhahmetaj@bvh.org::c314e318-93e0-4c36-9995-6aa0f00e0010" providerId="AD" clId="Web-{5F1E348E-7353-61D8-C6BD-B8780B2D8DD1}" dt="2020-03-17T17:56:19.956" v="686"/>
          <ac:spMkLst>
            <pc:docMk/>
            <pc:sldMk cId="3207355798" sldId="895"/>
            <ac:spMk id="9" creationId="{2379636D-2F49-462E-ADF1-456E6D6CC831}"/>
          </ac:spMkLst>
        </pc:spChg>
        <pc:spChg chg="add">
          <ac:chgData name="Kaltrina Rexhahmetaj" userId="S::kaltrina.rexhahmetaj@bvh.org::c314e318-93e0-4c36-9995-6aa0f00e0010" providerId="AD" clId="Web-{5F1E348E-7353-61D8-C6BD-B8780B2D8DD1}" dt="2020-03-17T17:56:19.956" v="686"/>
          <ac:spMkLst>
            <pc:docMk/>
            <pc:sldMk cId="3207355798" sldId="895"/>
            <ac:spMk id="10" creationId="{67F3BDF8-B62F-457D-A412-F7C08368F267}"/>
          </ac:spMkLst>
        </pc:spChg>
        <pc:spChg chg="add">
          <ac:chgData name="Kaltrina Rexhahmetaj" userId="S::kaltrina.rexhahmetaj@bvh.org::c314e318-93e0-4c36-9995-6aa0f00e0010" providerId="AD" clId="Web-{5F1E348E-7353-61D8-C6BD-B8780B2D8DD1}" dt="2020-03-17T17:56:19.956" v="686"/>
          <ac:spMkLst>
            <pc:docMk/>
            <pc:sldMk cId="3207355798" sldId="895"/>
            <ac:spMk id="11" creationId="{63279ADB-4191-44E5-B2A9-E5B1FD860DD9}"/>
          </ac:spMkLst>
        </pc:spChg>
        <pc:spChg chg="add">
          <ac:chgData name="Kaltrina Rexhahmetaj" userId="S::kaltrina.rexhahmetaj@bvh.org::c314e318-93e0-4c36-9995-6aa0f00e0010" providerId="AD" clId="Web-{5F1E348E-7353-61D8-C6BD-B8780B2D8DD1}" dt="2020-03-17T17:56:19.956" v="686"/>
          <ac:spMkLst>
            <pc:docMk/>
            <pc:sldMk cId="3207355798" sldId="895"/>
            <ac:spMk id="12" creationId="{18D79E17-4E1C-4FEC-8F9E-853EEE94C2C2}"/>
          </ac:spMkLst>
        </pc:spChg>
        <pc:spChg chg="add">
          <ac:chgData name="Kaltrina Rexhahmetaj" userId="S::kaltrina.rexhahmetaj@bvh.org::c314e318-93e0-4c36-9995-6aa0f00e0010" providerId="AD" clId="Web-{5F1E348E-7353-61D8-C6BD-B8780B2D8DD1}" dt="2020-03-17T17:56:19.956" v="686"/>
          <ac:spMkLst>
            <pc:docMk/>
            <pc:sldMk cId="3207355798" sldId="895"/>
            <ac:spMk id="13" creationId="{25CF392F-A603-4FF1-AC6E-A7DBE8C6D16A}"/>
          </ac:spMkLst>
        </pc:spChg>
        <pc:spChg chg="add">
          <ac:chgData name="Kaltrina Rexhahmetaj" userId="S::kaltrina.rexhahmetaj@bvh.org::c314e318-93e0-4c36-9995-6aa0f00e0010" providerId="AD" clId="Web-{5F1E348E-7353-61D8-C6BD-B8780B2D8DD1}" dt="2020-03-17T17:56:19.956" v="686"/>
          <ac:spMkLst>
            <pc:docMk/>
            <pc:sldMk cId="3207355798" sldId="895"/>
            <ac:spMk id="14" creationId="{B5646267-E4B7-486C-AD8E-10D4E2DB90EA}"/>
          </ac:spMkLst>
        </pc:spChg>
        <pc:spChg chg="add">
          <ac:chgData name="Kaltrina Rexhahmetaj" userId="S::kaltrina.rexhahmetaj@bvh.org::c314e318-93e0-4c36-9995-6aa0f00e0010" providerId="AD" clId="Web-{5F1E348E-7353-61D8-C6BD-B8780B2D8DD1}" dt="2020-03-17T17:56:19.956" v="686"/>
          <ac:spMkLst>
            <pc:docMk/>
            <pc:sldMk cId="3207355798" sldId="895"/>
            <ac:spMk id="15" creationId="{E9DAEB32-C328-4C23-A72C-15D83F5BEE0C}"/>
          </ac:spMkLst>
        </pc:spChg>
        <pc:spChg chg="add">
          <ac:chgData name="Kaltrina Rexhahmetaj" userId="S::kaltrina.rexhahmetaj@bvh.org::c314e318-93e0-4c36-9995-6aa0f00e0010" providerId="AD" clId="Web-{5F1E348E-7353-61D8-C6BD-B8780B2D8DD1}" dt="2020-03-17T17:56:19.956" v="686"/>
          <ac:spMkLst>
            <pc:docMk/>
            <pc:sldMk cId="3207355798" sldId="895"/>
            <ac:spMk id="16" creationId="{9AC53755-4E3D-41C5-BC8A-D7F3FF08C7C9}"/>
          </ac:spMkLst>
        </pc:spChg>
        <pc:spChg chg="add">
          <ac:chgData name="Kaltrina Rexhahmetaj" userId="S::kaltrina.rexhahmetaj@bvh.org::c314e318-93e0-4c36-9995-6aa0f00e0010" providerId="AD" clId="Web-{5F1E348E-7353-61D8-C6BD-B8780B2D8DD1}" dt="2020-03-17T17:56:19.956" v="686"/>
          <ac:spMkLst>
            <pc:docMk/>
            <pc:sldMk cId="3207355798" sldId="895"/>
            <ac:spMk id="17" creationId="{D5ECC1E7-F0D7-42EB-966E-45068B5A9560}"/>
          </ac:spMkLst>
        </pc:spChg>
        <pc:picChg chg="del">
          <ac:chgData name="Kaltrina Rexhahmetaj" userId="S::kaltrina.rexhahmetaj@bvh.org::c314e318-93e0-4c36-9995-6aa0f00e0010" providerId="AD" clId="Web-{5F1E348E-7353-61D8-C6BD-B8780B2D8DD1}" dt="2020-03-17T17:56:16.909" v="684"/>
          <ac:picMkLst>
            <pc:docMk/>
            <pc:sldMk cId="3207355798" sldId="895"/>
            <ac:picMk id="23" creationId="{B58483C8-6206-4D86-B922-EEBCEFF1490D}"/>
          </ac:picMkLst>
        </pc:picChg>
      </pc:sldChg>
      <pc:sldChg chg="add del">
        <pc:chgData name="Kaltrina Rexhahmetaj" userId="S::kaltrina.rexhahmetaj@bvh.org::c314e318-93e0-4c36-9995-6aa0f00e0010" providerId="AD" clId="Web-{5F1E348E-7353-61D8-C6BD-B8780B2D8DD1}" dt="2020-03-17T18:00:09.751" v="748"/>
        <pc:sldMkLst>
          <pc:docMk/>
          <pc:sldMk cId="2815556659" sldId="896"/>
        </pc:sldMkLst>
      </pc:sldChg>
      <pc:sldChg chg="addSp delSp modSp add replId modNotes">
        <pc:chgData name="Kaltrina Rexhahmetaj" userId="S::kaltrina.rexhahmetaj@bvh.org::c314e318-93e0-4c36-9995-6aa0f00e0010" providerId="AD" clId="Web-{5F1E348E-7353-61D8-C6BD-B8780B2D8DD1}" dt="2020-03-17T18:11:06.507" v="899"/>
        <pc:sldMkLst>
          <pc:docMk/>
          <pc:sldMk cId="3314816067" sldId="896"/>
        </pc:sldMkLst>
        <pc:spChg chg="del">
          <ac:chgData name="Kaltrina Rexhahmetaj" userId="S::kaltrina.rexhahmetaj@bvh.org::c314e318-93e0-4c36-9995-6aa0f00e0010" providerId="AD" clId="Web-{5F1E348E-7353-61D8-C6BD-B8780B2D8DD1}" dt="2020-03-17T18:00:27.049" v="781"/>
          <ac:spMkLst>
            <pc:docMk/>
            <pc:sldMk cId="3314816067" sldId="896"/>
            <ac:spMk id="4" creationId="{BA5299B0-FE63-48F3-9310-FFB83B32C1BF}"/>
          </ac:spMkLst>
        </pc:spChg>
        <pc:spChg chg="add mod">
          <ac:chgData name="Kaltrina Rexhahmetaj" userId="S::kaltrina.rexhahmetaj@bvh.org::c314e318-93e0-4c36-9995-6aa0f00e0010" providerId="AD" clId="Web-{5F1E348E-7353-61D8-C6BD-B8780B2D8DD1}" dt="2020-03-17T18:01:29.990" v="804"/>
          <ac:spMkLst>
            <pc:docMk/>
            <pc:sldMk cId="3314816067" sldId="896"/>
            <ac:spMk id="5" creationId="{D882823E-4A8E-4737-A0D6-72534C20FE7A}"/>
          </ac:spMkLst>
        </pc:spChg>
        <pc:spChg chg="del">
          <ac:chgData name="Kaltrina Rexhahmetaj" userId="S::kaltrina.rexhahmetaj@bvh.org::c314e318-93e0-4c36-9995-6aa0f00e0010" providerId="AD" clId="Web-{5F1E348E-7353-61D8-C6BD-B8780B2D8DD1}" dt="2020-03-17T18:00:26.892" v="780"/>
          <ac:spMkLst>
            <pc:docMk/>
            <pc:sldMk cId="3314816067" sldId="896"/>
            <ac:spMk id="6" creationId="{7258A03A-6AAD-4F83-9621-13530E6F1189}"/>
          </ac:spMkLst>
        </pc:spChg>
        <pc:spChg chg="add mod">
          <ac:chgData name="Kaltrina Rexhahmetaj" userId="S::kaltrina.rexhahmetaj@bvh.org::c314e318-93e0-4c36-9995-6aa0f00e0010" providerId="AD" clId="Web-{5F1E348E-7353-61D8-C6BD-B8780B2D8DD1}" dt="2020-03-17T18:10:19.973" v="892"/>
          <ac:spMkLst>
            <pc:docMk/>
            <pc:sldMk cId="3314816067" sldId="896"/>
            <ac:spMk id="7" creationId="{1DBFA305-EFA8-46B1-A5A0-46454B5243A0}"/>
          </ac:spMkLst>
        </pc:spChg>
        <pc:spChg chg="del">
          <ac:chgData name="Kaltrina Rexhahmetaj" userId="S::kaltrina.rexhahmetaj@bvh.org::c314e318-93e0-4c36-9995-6aa0f00e0010" providerId="AD" clId="Web-{5F1E348E-7353-61D8-C6BD-B8780B2D8DD1}" dt="2020-03-17T18:00:26.892" v="779"/>
          <ac:spMkLst>
            <pc:docMk/>
            <pc:sldMk cId="3314816067" sldId="896"/>
            <ac:spMk id="8" creationId="{23B095F9-1431-406C-8C25-2AD8B07536CF}"/>
          </ac:spMkLst>
        </pc:spChg>
        <pc:spChg chg="add del mod">
          <ac:chgData name="Kaltrina Rexhahmetaj" userId="S::kaltrina.rexhahmetaj@bvh.org::c314e318-93e0-4c36-9995-6aa0f00e0010" providerId="AD" clId="Web-{5F1E348E-7353-61D8-C6BD-B8780B2D8DD1}" dt="2020-03-17T18:10:30.364" v="896"/>
          <ac:spMkLst>
            <pc:docMk/>
            <pc:sldMk cId="3314816067" sldId="896"/>
            <ac:spMk id="9" creationId="{5BA4942F-8F75-437D-9135-AFCEFD7F9C11}"/>
          </ac:spMkLst>
        </pc:spChg>
        <pc:spChg chg="del">
          <ac:chgData name="Kaltrina Rexhahmetaj" userId="S::kaltrina.rexhahmetaj@bvh.org::c314e318-93e0-4c36-9995-6aa0f00e0010" providerId="AD" clId="Web-{5F1E348E-7353-61D8-C6BD-B8780B2D8DD1}" dt="2020-03-17T18:00:26.877" v="778"/>
          <ac:spMkLst>
            <pc:docMk/>
            <pc:sldMk cId="3314816067" sldId="896"/>
            <ac:spMk id="10" creationId="{E678A87A-5686-45A0-98A6-508BA813C471}"/>
          </ac:spMkLst>
        </pc:spChg>
        <pc:spChg chg="add del mod">
          <ac:chgData name="Kaltrina Rexhahmetaj" userId="S::kaltrina.rexhahmetaj@bvh.org::c314e318-93e0-4c36-9995-6aa0f00e0010" providerId="AD" clId="Web-{5F1E348E-7353-61D8-C6BD-B8780B2D8DD1}" dt="2020-03-17T18:11:06.507" v="899"/>
          <ac:spMkLst>
            <pc:docMk/>
            <pc:sldMk cId="3314816067" sldId="896"/>
            <ac:spMk id="11" creationId="{B92BA2ED-723D-4CF4-BBE7-F5CF549CB518}"/>
          </ac:spMkLst>
        </pc:spChg>
        <pc:spChg chg="del">
          <ac:chgData name="Kaltrina Rexhahmetaj" userId="S::kaltrina.rexhahmetaj@bvh.org::c314e318-93e0-4c36-9995-6aa0f00e0010" providerId="AD" clId="Web-{5F1E348E-7353-61D8-C6BD-B8780B2D8DD1}" dt="2020-03-17T18:00:26.877" v="777"/>
          <ac:spMkLst>
            <pc:docMk/>
            <pc:sldMk cId="3314816067" sldId="896"/>
            <ac:spMk id="12" creationId="{68ED1016-60AB-43D6-B6BD-A5C24604FA0B}"/>
          </ac:spMkLst>
        </pc:spChg>
        <pc:spChg chg="del">
          <ac:chgData name="Kaltrina Rexhahmetaj" userId="S::kaltrina.rexhahmetaj@bvh.org::c314e318-93e0-4c36-9995-6aa0f00e0010" providerId="AD" clId="Web-{5F1E348E-7353-61D8-C6BD-B8780B2D8DD1}" dt="2020-03-17T18:00:26.877" v="776"/>
          <ac:spMkLst>
            <pc:docMk/>
            <pc:sldMk cId="3314816067" sldId="896"/>
            <ac:spMk id="14" creationId="{F8A8BD11-C0C9-49A8-8428-054161453913}"/>
          </ac:spMkLst>
        </pc:spChg>
        <pc:spChg chg="del">
          <ac:chgData name="Kaltrina Rexhahmetaj" userId="S::kaltrina.rexhahmetaj@bvh.org::c314e318-93e0-4c36-9995-6aa0f00e0010" providerId="AD" clId="Web-{5F1E348E-7353-61D8-C6BD-B8780B2D8DD1}" dt="2020-03-17T18:00:26.877" v="775"/>
          <ac:spMkLst>
            <pc:docMk/>
            <pc:sldMk cId="3314816067" sldId="896"/>
            <ac:spMk id="16" creationId="{2E1E049D-7B5D-4C4A-85A8-FA876DBE7A5A}"/>
          </ac:spMkLst>
        </pc:spChg>
        <pc:spChg chg="del">
          <ac:chgData name="Kaltrina Rexhahmetaj" userId="S::kaltrina.rexhahmetaj@bvh.org::c314e318-93e0-4c36-9995-6aa0f00e0010" providerId="AD" clId="Web-{5F1E348E-7353-61D8-C6BD-B8780B2D8DD1}" dt="2020-03-17T18:00:26.877" v="774"/>
          <ac:spMkLst>
            <pc:docMk/>
            <pc:sldMk cId="3314816067" sldId="896"/>
            <ac:spMk id="18" creationId="{5E710BDB-6AB0-4F62-A12C-70AA4CC9DEDC}"/>
          </ac:spMkLst>
        </pc:spChg>
        <pc:spChg chg="del">
          <ac:chgData name="Kaltrina Rexhahmetaj" userId="S::kaltrina.rexhahmetaj@bvh.org::c314e318-93e0-4c36-9995-6aa0f00e0010" providerId="AD" clId="Web-{5F1E348E-7353-61D8-C6BD-B8780B2D8DD1}" dt="2020-03-17T18:00:26.877" v="773"/>
          <ac:spMkLst>
            <pc:docMk/>
            <pc:sldMk cId="3314816067" sldId="896"/>
            <ac:spMk id="20" creationId="{D18AA2E1-EE40-4490-88CF-6C0E5C926CE0}"/>
          </ac:spMkLst>
        </pc:spChg>
        <pc:spChg chg="del">
          <ac:chgData name="Kaltrina Rexhahmetaj" userId="S::kaltrina.rexhahmetaj@bvh.org::c314e318-93e0-4c36-9995-6aa0f00e0010" providerId="AD" clId="Web-{5F1E348E-7353-61D8-C6BD-B8780B2D8DD1}" dt="2020-03-17T18:00:26.877" v="772"/>
          <ac:spMkLst>
            <pc:docMk/>
            <pc:sldMk cId="3314816067" sldId="896"/>
            <ac:spMk id="22" creationId="{E29EAC7F-3B8B-4902-9363-193E6BDD4804}"/>
          </ac:spMkLst>
        </pc:spChg>
        <pc:spChg chg="del">
          <ac:chgData name="Kaltrina Rexhahmetaj" userId="S::kaltrina.rexhahmetaj@bvh.org::c314e318-93e0-4c36-9995-6aa0f00e0010" providerId="AD" clId="Web-{5F1E348E-7353-61D8-C6BD-B8780B2D8DD1}" dt="2020-03-17T18:00:26.877" v="771"/>
          <ac:spMkLst>
            <pc:docMk/>
            <pc:sldMk cId="3314816067" sldId="896"/>
            <ac:spMk id="26" creationId="{169301C4-47A3-4BBC-8888-4FDAD32A7884}"/>
          </ac:spMkLst>
        </pc:spChg>
        <pc:spChg chg="del">
          <ac:chgData name="Kaltrina Rexhahmetaj" userId="S::kaltrina.rexhahmetaj@bvh.org::c314e318-93e0-4c36-9995-6aa0f00e0010" providerId="AD" clId="Web-{5F1E348E-7353-61D8-C6BD-B8780B2D8DD1}" dt="2020-03-17T18:00:26.877" v="770"/>
          <ac:spMkLst>
            <pc:docMk/>
            <pc:sldMk cId="3314816067" sldId="896"/>
            <ac:spMk id="28" creationId="{2053A036-53C0-46B8-9C61-6115355B4090}"/>
          </ac:spMkLst>
        </pc:spChg>
        <pc:spChg chg="del">
          <ac:chgData name="Kaltrina Rexhahmetaj" userId="S::kaltrina.rexhahmetaj@bvh.org::c314e318-93e0-4c36-9995-6aa0f00e0010" providerId="AD" clId="Web-{5F1E348E-7353-61D8-C6BD-B8780B2D8DD1}" dt="2020-03-17T18:00:26.877" v="769"/>
          <ac:spMkLst>
            <pc:docMk/>
            <pc:sldMk cId="3314816067" sldId="896"/>
            <ac:spMk id="30" creationId="{3ED446D0-3BCA-4EB7-A724-30E5D43BC8AB}"/>
          </ac:spMkLst>
        </pc:spChg>
        <pc:spChg chg="del">
          <ac:chgData name="Kaltrina Rexhahmetaj" userId="S::kaltrina.rexhahmetaj@bvh.org::c314e318-93e0-4c36-9995-6aa0f00e0010" providerId="AD" clId="Web-{5F1E348E-7353-61D8-C6BD-B8780B2D8DD1}" dt="2020-03-17T18:00:26.877" v="768"/>
          <ac:spMkLst>
            <pc:docMk/>
            <pc:sldMk cId="3314816067" sldId="896"/>
            <ac:spMk id="32" creationId="{7F4551B8-7DB0-4DE9-8827-961CD8405E1C}"/>
          </ac:spMkLst>
        </pc:spChg>
        <pc:spChg chg="del">
          <ac:chgData name="Kaltrina Rexhahmetaj" userId="S::kaltrina.rexhahmetaj@bvh.org::c314e318-93e0-4c36-9995-6aa0f00e0010" providerId="AD" clId="Web-{5F1E348E-7353-61D8-C6BD-B8780B2D8DD1}" dt="2020-03-17T18:00:26.877" v="767"/>
          <ac:spMkLst>
            <pc:docMk/>
            <pc:sldMk cId="3314816067" sldId="896"/>
            <ac:spMk id="34" creationId="{EDCCC36B-6EE7-467B-AE73-EFD021901D4D}"/>
          </ac:spMkLst>
        </pc:spChg>
        <pc:spChg chg="del">
          <ac:chgData name="Kaltrina Rexhahmetaj" userId="S::kaltrina.rexhahmetaj@bvh.org::c314e318-93e0-4c36-9995-6aa0f00e0010" providerId="AD" clId="Web-{5F1E348E-7353-61D8-C6BD-B8780B2D8DD1}" dt="2020-03-17T18:00:26.877" v="766"/>
          <ac:spMkLst>
            <pc:docMk/>
            <pc:sldMk cId="3314816067" sldId="896"/>
            <ac:spMk id="36" creationId="{BFF98BC5-37F8-4660-BE0D-385D446C69F0}"/>
          </ac:spMkLst>
        </pc:spChg>
        <pc:spChg chg="del">
          <ac:chgData name="Kaltrina Rexhahmetaj" userId="S::kaltrina.rexhahmetaj@bvh.org::c314e318-93e0-4c36-9995-6aa0f00e0010" providerId="AD" clId="Web-{5F1E348E-7353-61D8-C6BD-B8780B2D8DD1}" dt="2020-03-17T18:00:26.877" v="765"/>
          <ac:spMkLst>
            <pc:docMk/>
            <pc:sldMk cId="3314816067" sldId="896"/>
            <ac:spMk id="38" creationId="{86586B0B-7492-42D9-94DB-7FAD9CEC8D5B}"/>
          </ac:spMkLst>
        </pc:spChg>
        <pc:spChg chg="del">
          <ac:chgData name="Kaltrina Rexhahmetaj" userId="S::kaltrina.rexhahmetaj@bvh.org::c314e318-93e0-4c36-9995-6aa0f00e0010" providerId="AD" clId="Web-{5F1E348E-7353-61D8-C6BD-B8780B2D8DD1}" dt="2020-03-17T18:00:26.877" v="764"/>
          <ac:spMkLst>
            <pc:docMk/>
            <pc:sldMk cId="3314816067" sldId="896"/>
            <ac:spMk id="40" creationId="{22373A95-19D3-4629-A2C4-A9DF6687184E}"/>
          </ac:spMkLst>
        </pc:spChg>
        <pc:spChg chg="add">
          <ac:chgData name="Kaltrina Rexhahmetaj" userId="S::kaltrina.rexhahmetaj@bvh.org::c314e318-93e0-4c36-9995-6aa0f00e0010" providerId="AD" clId="Web-{5F1E348E-7353-61D8-C6BD-B8780B2D8DD1}" dt="2020-03-17T18:00:56.144" v="783"/>
          <ac:spMkLst>
            <pc:docMk/>
            <pc:sldMk cId="3314816067" sldId="896"/>
            <ac:spMk id="41" creationId="{390DD292-339D-42EE-9615-92DA946C9BCD}"/>
          </ac:spMkLst>
        </pc:spChg>
        <pc:spChg chg="del">
          <ac:chgData name="Kaltrina Rexhahmetaj" userId="S::kaltrina.rexhahmetaj@bvh.org::c314e318-93e0-4c36-9995-6aa0f00e0010" providerId="AD" clId="Web-{5F1E348E-7353-61D8-C6BD-B8780B2D8DD1}" dt="2020-03-17T18:00:26.861" v="763"/>
          <ac:spMkLst>
            <pc:docMk/>
            <pc:sldMk cId="3314816067" sldId="896"/>
            <ac:spMk id="42" creationId="{8B4F9362-EAF9-4708-AE61-BF628914347B}"/>
          </ac:spMkLst>
        </pc:spChg>
        <pc:spChg chg="add">
          <ac:chgData name="Kaltrina Rexhahmetaj" userId="S::kaltrina.rexhahmetaj@bvh.org::c314e318-93e0-4c36-9995-6aa0f00e0010" providerId="AD" clId="Web-{5F1E348E-7353-61D8-C6BD-B8780B2D8DD1}" dt="2020-03-17T18:00:56.144" v="783"/>
          <ac:spMkLst>
            <pc:docMk/>
            <pc:sldMk cId="3314816067" sldId="896"/>
            <ac:spMk id="43" creationId="{4EFE2E93-D0D2-4333-8147-95AC041D3DB7}"/>
          </ac:spMkLst>
        </pc:spChg>
        <pc:spChg chg="del">
          <ac:chgData name="Kaltrina Rexhahmetaj" userId="S::kaltrina.rexhahmetaj@bvh.org::c314e318-93e0-4c36-9995-6aa0f00e0010" providerId="AD" clId="Web-{5F1E348E-7353-61D8-C6BD-B8780B2D8DD1}" dt="2020-03-17T18:00:26.861" v="762"/>
          <ac:spMkLst>
            <pc:docMk/>
            <pc:sldMk cId="3314816067" sldId="896"/>
            <ac:spMk id="44" creationId="{D7B1A73E-80BD-49A5-8C8A-F843C873E41C}"/>
          </ac:spMkLst>
        </pc:spChg>
        <pc:spChg chg="add">
          <ac:chgData name="Kaltrina Rexhahmetaj" userId="S::kaltrina.rexhahmetaj@bvh.org::c314e318-93e0-4c36-9995-6aa0f00e0010" providerId="AD" clId="Web-{5F1E348E-7353-61D8-C6BD-B8780B2D8DD1}" dt="2020-03-17T18:00:56.144" v="783"/>
          <ac:spMkLst>
            <pc:docMk/>
            <pc:sldMk cId="3314816067" sldId="896"/>
            <ac:spMk id="45" creationId="{E836E766-1328-4DA5-AFE8-39610A18DBD3}"/>
          </ac:spMkLst>
        </pc:spChg>
        <pc:spChg chg="del">
          <ac:chgData name="Kaltrina Rexhahmetaj" userId="S::kaltrina.rexhahmetaj@bvh.org::c314e318-93e0-4c36-9995-6aa0f00e0010" providerId="AD" clId="Web-{5F1E348E-7353-61D8-C6BD-B8780B2D8DD1}" dt="2020-03-17T18:00:26.861" v="761"/>
          <ac:spMkLst>
            <pc:docMk/>
            <pc:sldMk cId="3314816067" sldId="896"/>
            <ac:spMk id="46" creationId="{309AED41-19DF-4F26-82C4-8FF0D3050E02}"/>
          </ac:spMkLst>
        </pc:spChg>
        <pc:spChg chg="add">
          <ac:chgData name="Kaltrina Rexhahmetaj" userId="S::kaltrina.rexhahmetaj@bvh.org::c314e318-93e0-4c36-9995-6aa0f00e0010" providerId="AD" clId="Web-{5F1E348E-7353-61D8-C6BD-B8780B2D8DD1}" dt="2020-03-17T18:00:56.144" v="783"/>
          <ac:spMkLst>
            <pc:docMk/>
            <pc:sldMk cId="3314816067" sldId="896"/>
            <ac:spMk id="47" creationId="{DACCA194-DDD5-4927-981F-725B4132ADB4}"/>
          </ac:spMkLst>
        </pc:spChg>
        <pc:spChg chg="del">
          <ac:chgData name="Kaltrina Rexhahmetaj" userId="S::kaltrina.rexhahmetaj@bvh.org::c314e318-93e0-4c36-9995-6aa0f00e0010" providerId="AD" clId="Web-{5F1E348E-7353-61D8-C6BD-B8780B2D8DD1}" dt="2020-03-17T18:00:26.861" v="760"/>
          <ac:spMkLst>
            <pc:docMk/>
            <pc:sldMk cId="3314816067" sldId="896"/>
            <ac:spMk id="48" creationId="{7C090B1D-3832-434A-894E-3609AC012D8F}"/>
          </ac:spMkLst>
        </pc:spChg>
        <pc:spChg chg="add">
          <ac:chgData name="Kaltrina Rexhahmetaj" userId="S::kaltrina.rexhahmetaj@bvh.org::c314e318-93e0-4c36-9995-6aa0f00e0010" providerId="AD" clId="Web-{5F1E348E-7353-61D8-C6BD-B8780B2D8DD1}" dt="2020-03-17T18:00:56.144" v="783"/>
          <ac:spMkLst>
            <pc:docMk/>
            <pc:sldMk cId="3314816067" sldId="896"/>
            <ac:spMk id="49" creationId="{B1DA005B-D79D-4550-8B22-F650C7BB7E99}"/>
          </ac:spMkLst>
        </pc:spChg>
        <pc:spChg chg="del">
          <ac:chgData name="Kaltrina Rexhahmetaj" userId="S::kaltrina.rexhahmetaj@bvh.org::c314e318-93e0-4c36-9995-6aa0f00e0010" providerId="AD" clId="Web-{5F1E348E-7353-61D8-C6BD-B8780B2D8DD1}" dt="2020-03-17T18:00:26.861" v="759"/>
          <ac:spMkLst>
            <pc:docMk/>
            <pc:sldMk cId="3314816067" sldId="896"/>
            <ac:spMk id="50" creationId="{255F100D-3261-4765-878B-D050E790CB75}"/>
          </ac:spMkLst>
        </pc:spChg>
        <pc:spChg chg="add">
          <ac:chgData name="Kaltrina Rexhahmetaj" userId="S::kaltrina.rexhahmetaj@bvh.org::c314e318-93e0-4c36-9995-6aa0f00e0010" providerId="AD" clId="Web-{5F1E348E-7353-61D8-C6BD-B8780B2D8DD1}" dt="2020-03-17T18:00:56.144" v="783"/>
          <ac:spMkLst>
            <pc:docMk/>
            <pc:sldMk cId="3314816067" sldId="896"/>
            <ac:spMk id="51" creationId="{E301C806-1DD3-4111-B5AD-DE6D8B75F978}"/>
          </ac:spMkLst>
        </pc:spChg>
        <pc:spChg chg="del">
          <ac:chgData name="Kaltrina Rexhahmetaj" userId="S::kaltrina.rexhahmetaj@bvh.org::c314e318-93e0-4c36-9995-6aa0f00e0010" providerId="AD" clId="Web-{5F1E348E-7353-61D8-C6BD-B8780B2D8DD1}" dt="2020-03-17T18:00:26.861" v="758"/>
          <ac:spMkLst>
            <pc:docMk/>
            <pc:sldMk cId="3314816067" sldId="896"/>
            <ac:spMk id="52" creationId="{C8A8B36A-7F09-477B-9352-1418AF6570BA}"/>
          </ac:spMkLst>
        </pc:spChg>
        <pc:spChg chg="add del mod">
          <ac:chgData name="Kaltrina Rexhahmetaj" userId="S::kaltrina.rexhahmetaj@bvh.org::c314e318-93e0-4c36-9995-6aa0f00e0010" providerId="AD" clId="Web-{5F1E348E-7353-61D8-C6BD-B8780B2D8DD1}" dt="2020-03-17T18:01:44.115" v="806"/>
          <ac:spMkLst>
            <pc:docMk/>
            <pc:sldMk cId="3314816067" sldId="896"/>
            <ac:spMk id="53" creationId="{B27BA0DB-1E81-465B-B649-2D7A1CA7D09F}"/>
          </ac:spMkLst>
        </pc:spChg>
        <pc:spChg chg="del">
          <ac:chgData name="Kaltrina Rexhahmetaj" userId="S::kaltrina.rexhahmetaj@bvh.org::c314e318-93e0-4c36-9995-6aa0f00e0010" providerId="AD" clId="Web-{5F1E348E-7353-61D8-C6BD-B8780B2D8DD1}" dt="2020-03-17T18:00:26.861" v="757"/>
          <ac:spMkLst>
            <pc:docMk/>
            <pc:sldMk cId="3314816067" sldId="896"/>
            <ac:spMk id="54" creationId="{37CF64E9-C492-405E-9FF4-C0D4247065AF}"/>
          </ac:spMkLst>
        </pc:spChg>
        <pc:spChg chg="add del">
          <ac:chgData name="Kaltrina Rexhahmetaj" userId="S::kaltrina.rexhahmetaj@bvh.org::c314e318-93e0-4c36-9995-6aa0f00e0010" providerId="AD" clId="Web-{5F1E348E-7353-61D8-C6BD-B8780B2D8DD1}" dt="2020-03-17T18:01:25.708" v="803"/>
          <ac:spMkLst>
            <pc:docMk/>
            <pc:sldMk cId="3314816067" sldId="896"/>
            <ac:spMk id="55" creationId="{B769A9CD-610C-438E-B9CD-08B97D768C15}"/>
          </ac:spMkLst>
        </pc:spChg>
        <pc:spChg chg="del">
          <ac:chgData name="Kaltrina Rexhahmetaj" userId="S::kaltrina.rexhahmetaj@bvh.org::c314e318-93e0-4c36-9995-6aa0f00e0010" providerId="AD" clId="Web-{5F1E348E-7353-61D8-C6BD-B8780B2D8DD1}" dt="2020-03-17T18:00:26.861" v="756"/>
          <ac:spMkLst>
            <pc:docMk/>
            <pc:sldMk cId="3314816067" sldId="896"/>
            <ac:spMk id="56" creationId="{2B9A0E9B-D3B0-4915-AEE9-F0C5504D0A4B}"/>
          </ac:spMkLst>
        </pc:spChg>
        <pc:spChg chg="del">
          <ac:chgData name="Kaltrina Rexhahmetaj" userId="S::kaltrina.rexhahmetaj@bvh.org::c314e318-93e0-4c36-9995-6aa0f00e0010" providerId="AD" clId="Web-{5F1E348E-7353-61D8-C6BD-B8780B2D8DD1}" dt="2020-03-17T18:00:26.861" v="755"/>
          <ac:spMkLst>
            <pc:docMk/>
            <pc:sldMk cId="3314816067" sldId="896"/>
            <ac:spMk id="58" creationId="{E336D5DA-0A2B-4735-8856-DD5080AC095A}"/>
          </ac:spMkLst>
        </pc:spChg>
        <pc:spChg chg="del">
          <ac:chgData name="Kaltrina Rexhahmetaj" userId="S::kaltrina.rexhahmetaj@bvh.org::c314e318-93e0-4c36-9995-6aa0f00e0010" providerId="AD" clId="Web-{5F1E348E-7353-61D8-C6BD-B8780B2D8DD1}" dt="2020-03-17T18:00:26.861" v="754"/>
          <ac:spMkLst>
            <pc:docMk/>
            <pc:sldMk cId="3314816067" sldId="896"/>
            <ac:spMk id="60" creationId="{7DAD822C-A01B-45DD-A53B-8EBDD399D48C}"/>
          </ac:spMkLst>
        </pc:spChg>
        <pc:spChg chg="del">
          <ac:chgData name="Kaltrina Rexhahmetaj" userId="S::kaltrina.rexhahmetaj@bvh.org::c314e318-93e0-4c36-9995-6aa0f00e0010" providerId="AD" clId="Web-{5F1E348E-7353-61D8-C6BD-B8780B2D8DD1}" dt="2020-03-17T18:00:26.861" v="753"/>
          <ac:spMkLst>
            <pc:docMk/>
            <pc:sldMk cId="3314816067" sldId="896"/>
            <ac:spMk id="62" creationId="{8186043D-28AA-4061-A3E5-73A4B665E0B2}"/>
          </ac:spMkLst>
        </pc:spChg>
        <pc:spChg chg="del">
          <ac:chgData name="Kaltrina Rexhahmetaj" userId="S::kaltrina.rexhahmetaj@bvh.org::c314e318-93e0-4c36-9995-6aa0f00e0010" providerId="AD" clId="Web-{5F1E348E-7353-61D8-C6BD-B8780B2D8DD1}" dt="2020-03-17T18:00:26.861" v="752"/>
          <ac:spMkLst>
            <pc:docMk/>
            <pc:sldMk cId="3314816067" sldId="896"/>
            <ac:spMk id="64" creationId="{6F5C313D-D2E2-4BE0-9B04-3A8ADF96DDBC}"/>
          </ac:spMkLst>
        </pc:spChg>
        <pc:spChg chg="del">
          <ac:chgData name="Kaltrina Rexhahmetaj" userId="S::kaltrina.rexhahmetaj@bvh.org::c314e318-93e0-4c36-9995-6aa0f00e0010" providerId="AD" clId="Web-{5F1E348E-7353-61D8-C6BD-B8780B2D8DD1}" dt="2020-03-17T18:00:26.861" v="751"/>
          <ac:spMkLst>
            <pc:docMk/>
            <pc:sldMk cId="3314816067" sldId="896"/>
            <ac:spMk id="66" creationId="{A594885B-A94F-44E5-9E70-200356452760}"/>
          </ac:spMkLst>
        </pc:spChg>
        <pc:spChg chg="del">
          <ac:chgData name="Kaltrina Rexhahmetaj" userId="S::kaltrina.rexhahmetaj@bvh.org::c314e318-93e0-4c36-9995-6aa0f00e0010" providerId="AD" clId="Web-{5F1E348E-7353-61D8-C6BD-B8780B2D8DD1}" dt="2020-03-17T18:00:26.861" v="750"/>
          <ac:spMkLst>
            <pc:docMk/>
            <pc:sldMk cId="3314816067" sldId="896"/>
            <ac:spMk id="68" creationId="{1E9DF356-2D16-4A89-A8DA-081875C744E6}"/>
          </ac:spMkLst>
        </pc:spChg>
        <pc:picChg chg="add">
          <ac:chgData name="Kaltrina Rexhahmetaj" userId="S::kaltrina.rexhahmetaj@bvh.org::c314e318-93e0-4c36-9995-6aa0f00e0010" providerId="AD" clId="Web-{5F1E348E-7353-61D8-C6BD-B8780B2D8DD1}" dt="2020-03-17T18:00:56.144" v="783"/>
          <ac:picMkLst>
            <pc:docMk/>
            <pc:sldMk cId="3314816067" sldId="896"/>
            <ac:picMk id="37" creationId="{938B371A-69DC-41D3-AD09-DE26AC095D93}"/>
          </ac:picMkLst>
        </pc:picChg>
        <pc:picChg chg="add">
          <ac:chgData name="Kaltrina Rexhahmetaj" userId="S::kaltrina.rexhahmetaj@bvh.org::c314e318-93e0-4c36-9995-6aa0f00e0010" providerId="AD" clId="Web-{5F1E348E-7353-61D8-C6BD-B8780B2D8DD1}" dt="2020-03-17T18:00:56.144" v="783"/>
          <ac:picMkLst>
            <pc:docMk/>
            <pc:sldMk cId="3314816067" sldId="896"/>
            <ac:picMk id="39" creationId="{B7E83E48-1BF2-40F0-88E0-76719CC45AC3}"/>
          </ac:picMkLst>
        </pc:picChg>
      </pc:sldChg>
      <pc:sldChg chg="addSp delSp modSp add del replId">
        <pc:chgData name="Kaltrina Rexhahmetaj" userId="S::kaltrina.rexhahmetaj@bvh.org::c314e318-93e0-4c36-9995-6aa0f00e0010" providerId="AD" clId="Web-{5F1E348E-7353-61D8-C6BD-B8780B2D8DD1}" dt="2020-03-17T18:12:51.732" v="916"/>
        <pc:sldMkLst>
          <pc:docMk/>
          <pc:sldMk cId="995337970" sldId="897"/>
        </pc:sldMkLst>
        <pc:spChg chg="add del mod">
          <ac:chgData name="Kaltrina Rexhahmetaj" userId="S::kaltrina.rexhahmetaj@bvh.org::c314e318-93e0-4c36-9995-6aa0f00e0010" providerId="AD" clId="Web-{5F1E348E-7353-61D8-C6BD-B8780B2D8DD1}" dt="2020-03-17T18:03:30.106" v="823"/>
          <ac:spMkLst>
            <pc:docMk/>
            <pc:sldMk cId="995337970" sldId="897"/>
            <ac:spMk id="4" creationId="{C8D626C2-DF03-43FA-9E02-8467BCF25472}"/>
          </ac:spMkLst>
        </pc:spChg>
        <pc:spChg chg="del">
          <ac:chgData name="Kaltrina Rexhahmetaj" userId="S::kaltrina.rexhahmetaj@bvh.org::c314e318-93e0-4c36-9995-6aa0f00e0010" providerId="AD" clId="Web-{5F1E348E-7353-61D8-C6BD-B8780B2D8DD1}" dt="2020-03-17T18:02:27.790" v="816"/>
          <ac:spMkLst>
            <pc:docMk/>
            <pc:sldMk cId="995337970" sldId="897"/>
            <ac:spMk id="5" creationId="{D882823E-4A8E-4737-A0D6-72534C20FE7A}"/>
          </ac:spMkLst>
        </pc:spChg>
        <pc:spChg chg="add del mod">
          <ac:chgData name="Kaltrina Rexhahmetaj" userId="S::kaltrina.rexhahmetaj@bvh.org::c314e318-93e0-4c36-9995-6aa0f00e0010" providerId="AD" clId="Web-{5F1E348E-7353-61D8-C6BD-B8780B2D8DD1}" dt="2020-03-17T18:02:37.212" v="821"/>
          <ac:spMkLst>
            <pc:docMk/>
            <pc:sldMk cId="995337970" sldId="897"/>
            <ac:spMk id="6" creationId="{56F40FA4-D40A-4108-98C2-7CACE31B6BD6}"/>
          </ac:spMkLst>
        </pc:spChg>
        <pc:spChg chg="add del mod">
          <ac:chgData name="Kaltrina Rexhahmetaj" userId="S::kaltrina.rexhahmetaj@bvh.org::c314e318-93e0-4c36-9995-6aa0f00e0010" providerId="AD" clId="Web-{5F1E348E-7353-61D8-C6BD-B8780B2D8DD1}" dt="2020-03-17T18:03:33.450" v="827"/>
          <ac:spMkLst>
            <pc:docMk/>
            <pc:sldMk cId="995337970" sldId="897"/>
            <ac:spMk id="11" creationId="{E218CDEE-DEBD-4E96-91A1-95E85AE8F39F}"/>
          </ac:spMkLst>
        </pc:spChg>
        <pc:spChg chg="add del mod">
          <ac:chgData name="Kaltrina Rexhahmetaj" userId="S::kaltrina.rexhahmetaj@bvh.org::c314e318-93e0-4c36-9995-6aa0f00e0010" providerId="AD" clId="Web-{5F1E348E-7353-61D8-C6BD-B8780B2D8DD1}" dt="2020-03-17T18:03:46.029" v="830"/>
          <ac:spMkLst>
            <pc:docMk/>
            <pc:sldMk cId="995337970" sldId="897"/>
            <ac:spMk id="13" creationId="{2C82BC9B-BDCB-479D-AF0C-2B60F60814CD}"/>
          </ac:spMkLst>
        </pc:spChg>
        <pc:spChg chg="add del mod">
          <ac:chgData name="Kaltrina Rexhahmetaj" userId="S::kaltrina.rexhahmetaj@bvh.org::c314e318-93e0-4c36-9995-6aa0f00e0010" providerId="AD" clId="Web-{5F1E348E-7353-61D8-C6BD-B8780B2D8DD1}" dt="2020-03-17T18:03:49.919" v="834"/>
          <ac:spMkLst>
            <pc:docMk/>
            <pc:sldMk cId="995337970" sldId="897"/>
            <ac:spMk id="18" creationId="{C7EE9399-9B07-4F96-A009-BF26896E0E50}"/>
          </ac:spMkLst>
        </pc:spChg>
        <pc:spChg chg="add del mod">
          <ac:chgData name="Kaltrina Rexhahmetaj" userId="S::kaltrina.rexhahmetaj@bvh.org::c314e318-93e0-4c36-9995-6aa0f00e0010" providerId="AD" clId="Web-{5F1E348E-7353-61D8-C6BD-B8780B2D8DD1}" dt="2020-03-17T18:04:06.155" v="837"/>
          <ac:spMkLst>
            <pc:docMk/>
            <pc:sldMk cId="995337970" sldId="897"/>
            <ac:spMk id="20" creationId="{4D4D68CF-7BD9-47A2-8089-E6DA65F4C63A}"/>
          </ac:spMkLst>
        </pc:spChg>
        <pc:spChg chg="add del mod">
          <ac:chgData name="Kaltrina Rexhahmetaj" userId="S::kaltrina.rexhahmetaj@bvh.org::c314e318-93e0-4c36-9995-6aa0f00e0010" providerId="AD" clId="Web-{5F1E348E-7353-61D8-C6BD-B8780B2D8DD1}" dt="2020-03-17T18:04:08.858" v="841"/>
          <ac:spMkLst>
            <pc:docMk/>
            <pc:sldMk cId="995337970" sldId="897"/>
            <ac:spMk id="25" creationId="{E1991A22-B393-4D20-BBCB-2E2FD4746561}"/>
          </ac:spMkLst>
        </pc:spChg>
        <pc:spChg chg="add del mod">
          <ac:chgData name="Kaltrina Rexhahmetaj" userId="S::kaltrina.rexhahmetaj@bvh.org::c314e318-93e0-4c36-9995-6aa0f00e0010" providerId="AD" clId="Web-{5F1E348E-7353-61D8-C6BD-B8780B2D8DD1}" dt="2020-03-17T18:04:47.767" v="844"/>
          <ac:spMkLst>
            <pc:docMk/>
            <pc:sldMk cId="995337970" sldId="897"/>
            <ac:spMk id="27" creationId="{253FD611-D3CC-481E-A2A4-2CD1C618123E}"/>
          </ac:spMkLst>
        </pc:spChg>
        <pc:spChg chg="add del mod">
          <ac:chgData name="Kaltrina Rexhahmetaj" userId="S::kaltrina.rexhahmetaj@bvh.org::c314e318-93e0-4c36-9995-6aa0f00e0010" providerId="AD" clId="Web-{5F1E348E-7353-61D8-C6BD-B8780B2D8DD1}" dt="2020-03-17T18:04:51.064" v="848"/>
          <ac:spMkLst>
            <pc:docMk/>
            <pc:sldMk cId="995337970" sldId="897"/>
            <ac:spMk id="32" creationId="{6B84B2A9-7CC2-4BDF-8F3E-D4399C600406}"/>
          </ac:spMkLst>
        </pc:spChg>
        <pc:spChg chg="add del mod">
          <ac:chgData name="Kaltrina Rexhahmetaj" userId="S::kaltrina.rexhahmetaj@bvh.org::c314e318-93e0-4c36-9995-6aa0f00e0010" providerId="AD" clId="Web-{5F1E348E-7353-61D8-C6BD-B8780B2D8DD1}" dt="2020-03-17T18:06:21.678" v="851"/>
          <ac:spMkLst>
            <pc:docMk/>
            <pc:sldMk cId="995337970" sldId="897"/>
            <ac:spMk id="34" creationId="{6D2701BD-310E-494B-8F3C-3D724C571538}"/>
          </ac:spMkLst>
        </pc:spChg>
        <pc:spChg chg="del">
          <ac:chgData name="Kaltrina Rexhahmetaj" userId="S::kaltrina.rexhahmetaj@bvh.org::c314e318-93e0-4c36-9995-6aa0f00e0010" providerId="AD" clId="Web-{5F1E348E-7353-61D8-C6BD-B8780B2D8DD1}" dt="2020-03-17T18:02:27.618" v="813"/>
          <ac:spMkLst>
            <pc:docMk/>
            <pc:sldMk cId="995337970" sldId="897"/>
            <ac:spMk id="41" creationId="{390DD292-339D-42EE-9615-92DA946C9BCD}"/>
          </ac:spMkLst>
        </pc:spChg>
        <pc:spChg chg="add del mod">
          <ac:chgData name="Kaltrina Rexhahmetaj" userId="S::kaltrina.rexhahmetaj@bvh.org::c314e318-93e0-4c36-9995-6aa0f00e0010" providerId="AD" clId="Web-{5F1E348E-7353-61D8-C6BD-B8780B2D8DD1}" dt="2020-03-17T18:06:25.085" v="855"/>
          <ac:spMkLst>
            <pc:docMk/>
            <pc:sldMk cId="995337970" sldId="897"/>
            <ac:spMk id="42" creationId="{84DC4366-FF77-4EE2-A727-B2DDC37C0E26}"/>
          </ac:spMkLst>
        </pc:spChg>
        <pc:spChg chg="del">
          <ac:chgData name="Kaltrina Rexhahmetaj" userId="S::kaltrina.rexhahmetaj@bvh.org::c314e318-93e0-4c36-9995-6aa0f00e0010" providerId="AD" clId="Web-{5F1E348E-7353-61D8-C6BD-B8780B2D8DD1}" dt="2020-03-17T18:02:27.618" v="812"/>
          <ac:spMkLst>
            <pc:docMk/>
            <pc:sldMk cId="995337970" sldId="897"/>
            <ac:spMk id="43" creationId="{4EFE2E93-D0D2-4333-8147-95AC041D3DB7}"/>
          </ac:spMkLst>
        </pc:spChg>
        <pc:spChg chg="del">
          <ac:chgData name="Kaltrina Rexhahmetaj" userId="S::kaltrina.rexhahmetaj@bvh.org::c314e318-93e0-4c36-9995-6aa0f00e0010" providerId="AD" clId="Web-{5F1E348E-7353-61D8-C6BD-B8780B2D8DD1}" dt="2020-03-17T18:02:27.618" v="811"/>
          <ac:spMkLst>
            <pc:docMk/>
            <pc:sldMk cId="995337970" sldId="897"/>
            <ac:spMk id="45" creationId="{E836E766-1328-4DA5-AFE8-39610A18DBD3}"/>
          </ac:spMkLst>
        </pc:spChg>
        <pc:spChg chg="add del mod">
          <ac:chgData name="Kaltrina Rexhahmetaj" userId="S::kaltrina.rexhahmetaj@bvh.org::c314e318-93e0-4c36-9995-6aa0f00e0010" providerId="AD" clId="Web-{5F1E348E-7353-61D8-C6BD-B8780B2D8DD1}" dt="2020-03-17T18:08:59.547" v="858"/>
          <ac:spMkLst>
            <pc:docMk/>
            <pc:sldMk cId="995337970" sldId="897"/>
            <ac:spMk id="46" creationId="{E965881E-48BB-4AED-A98C-5CFA16B97EAE}"/>
          </ac:spMkLst>
        </pc:spChg>
        <pc:spChg chg="del">
          <ac:chgData name="Kaltrina Rexhahmetaj" userId="S::kaltrina.rexhahmetaj@bvh.org::c314e318-93e0-4c36-9995-6aa0f00e0010" providerId="AD" clId="Web-{5F1E348E-7353-61D8-C6BD-B8780B2D8DD1}" dt="2020-03-17T18:02:27.618" v="810"/>
          <ac:spMkLst>
            <pc:docMk/>
            <pc:sldMk cId="995337970" sldId="897"/>
            <ac:spMk id="47" creationId="{DACCA194-DDD5-4927-981F-725B4132ADB4}"/>
          </ac:spMkLst>
        </pc:spChg>
        <pc:spChg chg="del">
          <ac:chgData name="Kaltrina Rexhahmetaj" userId="S::kaltrina.rexhahmetaj@bvh.org::c314e318-93e0-4c36-9995-6aa0f00e0010" providerId="AD" clId="Web-{5F1E348E-7353-61D8-C6BD-B8780B2D8DD1}" dt="2020-03-17T18:02:27.618" v="809"/>
          <ac:spMkLst>
            <pc:docMk/>
            <pc:sldMk cId="995337970" sldId="897"/>
            <ac:spMk id="49" creationId="{B1DA005B-D79D-4550-8B22-F650C7BB7E99}"/>
          </ac:spMkLst>
        </pc:spChg>
        <pc:spChg chg="del">
          <ac:chgData name="Kaltrina Rexhahmetaj" userId="S::kaltrina.rexhahmetaj@bvh.org::c314e318-93e0-4c36-9995-6aa0f00e0010" providerId="AD" clId="Web-{5F1E348E-7353-61D8-C6BD-B8780B2D8DD1}" dt="2020-03-17T18:02:27.618" v="808"/>
          <ac:spMkLst>
            <pc:docMk/>
            <pc:sldMk cId="995337970" sldId="897"/>
            <ac:spMk id="51" creationId="{E301C806-1DD3-4111-B5AD-DE6D8B75F978}"/>
          </ac:spMkLst>
        </pc:spChg>
        <pc:spChg chg="add del mod">
          <ac:chgData name="Kaltrina Rexhahmetaj" userId="S::kaltrina.rexhahmetaj@bvh.org::c314e318-93e0-4c36-9995-6aa0f00e0010" providerId="AD" clId="Web-{5F1E348E-7353-61D8-C6BD-B8780B2D8DD1}" dt="2020-03-17T18:09:02.937" v="862"/>
          <ac:spMkLst>
            <pc:docMk/>
            <pc:sldMk cId="995337970" sldId="897"/>
            <ac:spMk id="54" creationId="{C8316108-FB6E-4F5C-AC09-656503E8D3E6}"/>
          </ac:spMkLst>
        </pc:spChg>
        <pc:spChg chg="add del mod">
          <ac:chgData name="Kaltrina Rexhahmetaj" userId="S::kaltrina.rexhahmetaj@bvh.org::c314e318-93e0-4c36-9995-6aa0f00e0010" providerId="AD" clId="Web-{5F1E348E-7353-61D8-C6BD-B8780B2D8DD1}" dt="2020-03-17T18:09:28.908" v="865"/>
          <ac:spMkLst>
            <pc:docMk/>
            <pc:sldMk cId="995337970" sldId="897"/>
            <ac:spMk id="56" creationId="{FC9816CB-282B-4895-B08B-A7345289F38F}"/>
          </ac:spMkLst>
        </pc:spChg>
        <pc:spChg chg="add del mod">
          <ac:chgData name="Kaltrina Rexhahmetaj" userId="S::kaltrina.rexhahmetaj@bvh.org::c314e318-93e0-4c36-9995-6aa0f00e0010" providerId="AD" clId="Web-{5F1E348E-7353-61D8-C6BD-B8780B2D8DD1}" dt="2020-03-17T18:09:34.080" v="872"/>
          <ac:spMkLst>
            <pc:docMk/>
            <pc:sldMk cId="995337970" sldId="897"/>
            <ac:spMk id="67" creationId="{096721C2-7AB9-4D60-9AE7-318E790A9981}"/>
          </ac:spMkLst>
        </pc:spChg>
        <pc:spChg chg="add del mod">
          <ac:chgData name="Kaltrina Rexhahmetaj" userId="S::kaltrina.rexhahmetaj@bvh.org::c314e318-93e0-4c36-9995-6aa0f00e0010" providerId="AD" clId="Web-{5F1E348E-7353-61D8-C6BD-B8780B2D8DD1}" dt="2020-03-17T18:09:47.877" v="878"/>
          <ac:spMkLst>
            <pc:docMk/>
            <pc:sldMk cId="995337970" sldId="897"/>
            <ac:spMk id="69" creationId="{F99C2D9D-F7C3-42DA-AACE-E0F897657ACF}"/>
          </ac:spMkLst>
        </pc:spChg>
        <pc:spChg chg="add del mod">
          <ac:chgData name="Kaltrina Rexhahmetaj" userId="S::kaltrina.rexhahmetaj@bvh.org::c314e318-93e0-4c36-9995-6aa0f00e0010" providerId="AD" clId="Web-{5F1E348E-7353-61D8-C6BD-B8780B2D8DD1}" dt="2020-03-17T18:09:51.440" v="885"/>
          <ac:spMkLst>
            <pc:docMk/>
            <pc:sldMk cId="995337970" sldId="897"/>
            <ac:spMk id="80" creationId="{F4997752-4B09-480A-81B4-4078E7C9E6FC}"/>
          </ac:spMkLst>
        </pc:spChg>
        <pc:spChg chg="add del mod">
          <ac:chgData name="Kaltrina Rexhahmetaj" userId="S::kaltrina.rexhahmetaj@bvh.org::c314e318-93e0-4c36-9995-6aa0f00e0010" providerId="AD" clId="Web-{5F1E348E-7353-61D8-C6BD-B8780B2D8DD1}" dt="2020-03-17T18:12:18.089" v="903"/>
          <ac:spMkLst>
            <pc:docMk/>
            <pc:sldMk cId="995337970" sldId="897"/>
            <ac:spMk id="82" creationId="{FABA4F48-3508-4697-83CA-60FA1B6E3DC6}"/>
          </ac:spMkLst>
        </pc:spChg>
        <pc:spChg chg="add del mod">
          <ac:chgData name="Kaltrina Rexhahmetaj" userId="S::kaltrina.rexhahmetaj@bvh.org::c314e318-93e0-4c36-9995-6aa0f00e0010" providerId="AD" clId="Web-{5F1E348E-7353-61D8-C6BD-B8780B2D8DD1}" dt="2020-03-17T18:12:02.104" v="902"/>
          <ac:spMkLst>
            <pc:docMk/>
            <pc:sldMk cId="995337970" sldId="897"/>
            <ac:spMk id="83" creationId="{BF4232F4-B3A2-4A8D-8591-A8FC2B2508B0}"/>
          </ac:spMkLst>
        </pc:spChg>
        <pc:spChg chg="add mod">
          <ac:chgData name="Kaltrina Rexhahmetaj" userId="S::kaltrina.rexhahmetaj@bvh.org::c314e318-93e0-4c36-9995-6aa0f00e0010" providerId="AD" clId="Web-{5F1E348E-7353-61D8-C6BD-B8780B2D8DD1}" dt="2020-03-17T18:12:32.887" v="913" actId="1076"/>
          <ac:spMkLst>
            <pc:docMk/>
            <pc:sldMk cId="995337970" sldId="897"/>
            <ac:spMk id="94" creationId="{064A7300-4D67-4A29-B0B7-49AB85FA23AC}"/>
          </ac:spMkLst>
        </pc:spChg>
        <pc:picChg chg="add del mod ord">
          <ac:chgData name="Kaltrina Rexhahmetaj" userId="S::kaltrina.rexhahmetaj@bvh.org::c314e318-93e0-4c36-9995-6aa0f00e0010" providerId="AD" clId="Web-{5F1E348E-7353-61D8-C6BD-B8780B2D8DD1}" dt="2020-03-17T18:03:33.606" v="829"/>
          <ac:picMkLst>
            <pc:docMk/>
            <pc:sldMk cId="995337970" sldId="897"/>
            <ac:picMk id="7" creationId="{2239D426-1167-4EA0-9E9E-FC2434672E80}"/>
          </ac:picMkLst>
        </pc:picChg>
        <pc:picChg chg="add del mod">
          <ac:chgData name="Kaltrina Rexhahmetaj" userId="S::kaltrina.rexhahmetaj@bvh.org::c314e318-93e0-4c36-9995-6aa0f00e0010" providerId="AD" clId="Web-{5F1E348E-7353-61D8-C6BD-B8780B2D8DD1}" dt="2020-03-17T18:03:33.450" v="828"/>
          <ac:picMkLst>
            <pc:docMk/>
            <pc:sldMk cId="995337970" sldId="897"/>
            <ac:picMk id="9" creationId="{A9A5B08C-1E8C-4C34-A3F6-A94CD573346F}"/>
          </ac:picMkLst>
        </pc:picChg>
        <pc:picChg chg="add del mod ord">
          <ac:chgData name="Kaltrina Rexhahmetaj" userId="S::kaltrina.rexhahmetaj@bvh.org::c314e318-93e0-4c36-9995-6aa0f00e0010" providerId="AD" clId="Web-{5F1E348E-7353-61D8-C6BD-B8780B2D8DD1}" dt="2020-03-17T18:03:50.076" v="836"/>
          <ac:picMkLst>
            <pc:docMk/>
            <pc:sldMk cId="995337970" sldId="897"/>
            <ac:picMk id="14" creationId="{3D0601F7-6F94-4216-B76D-860B52423FF5}"/>
          </ac:picMkLst>
        </pc:picChg>
        <pc:picChg chg="add del mod">
          <ac:chgData name="Kaltrina Rexhahmetaj" userId="S::kaltrina.rexhahmetaj@bvh.org::c314e318-93e0-4c36-9995-6aa0f00e0010" providerId="AD" clId="Web-{5F1E348E-7353-61D8-C6BD-B8780B2D8DD1}" dt="2020-03-17T18:03:49.919" v="835"/>
          <ac:picMkLst>
            <pc:docMk/>
            <pc:sldMk cId="995337970" sldId="897"/>
            <ac:picMk id="16" creationId="{A37768EC-905B-4021-92CD-07FC13A5B8BC}"/>
          </ac:picMkLst>
        </pc:picChg>
        <pc:picChg chg="add del mod ord">
          <ac:chgData name="Kaltrina Rexhahmetaj" userId="S::kaltrina.rexhahmetaj@bvh.org::c314e318-93e0-4c36-9995-6aa0f00e0010" providerId="AD" clId="Web-{5F1E348E-7353-61D8-C6BD-B8780B2D8DD1}" dt="2020-03-17T18:04:09.030" v="843"/>
          <ac:picMkLst>
            <pc:docMk/>
            <pc:sldMk cId="995337970" sldId="897"/>
            <ac:picMk id="21" creationId="{630D79F0-4882-4419-8556-6CCA272FFD5B}"/>
          </ac:picMkLst>
        </pc:picChg>
        <pc:picChg chg="add del mod">
          <ac:chgData name="Kaltrina Rexhahmetaj" userId="S::kaltrina.rexhahmetaj@bvh.org::c314e318-93e0-4c36-9995-6aa0f00e0010" providerId="AD" clId="Web-{5F1E348E-7353-61D8-C6BD-B8780B2D8DD1}" dt="2020-03-17T18:04:08.858" v="842"/>
          <ac:picMkLst>
            <pc:docMk/>
            <pc:sldMk cId="995337970" sldId="897"/>
            <ac:picMk id="23" creationId="{36DE35A9-5709-4272-A9ED-00F84D902F49}"/>
          </ac:picMkLst>
        </pc:picChg>
        <pc:picChg chg="add del mod ord">
          <ac:chgData name="Kaltrina Rexhahmetaj" userId="S::kaltrina.rexhahmetaj@bvh.org::c314e318-93e0-4c36-9995-6aa0f00e0010" providerId="AD" clId="Web-{5F1E348E-7353-61D8-C6BD-B8780B2D8DD1}" dt="2020-03-17T18:04:51.220" v="850"/>
          <ac:picMkLst>
            <pc:docMk/>
            <pc:sldMk cId="995337970" sldId="897"/>
            <ac:picMk id="28" creationId="{85B69CF1-A24E-424D-9EF0-BC17C22FA1E1}"/>
          </ac:picMkLst>
        </pc:picChg>
        <pc:picChg chg="add del mod">
          <ac:chgData name="Kaltrina Rexhahmetaj" userId="S::kaltrina.rexhahmetaj@bvh.org::c314e318-93e0-4c36-9995-6aa0f00e0010" providerId="AD" clId="Web-{5F1E348E-7353-61D8-C6BD-B8780B2D8DD1}" dt="2020-03-17T18:04:51.064" v="849"/>
          <ac:picMkLst>
            <pc:docMk/>
            <pc:sldMk cId="995337970" sldId="897"/>
            <ac:picMk id="30" creationId="{3EBCF152-97E3-4055-9ABA-408E25967DC0}"/>
          </ac:picMkLst>
        </pc:picChg>
        <pc:picChg chg="add del mod ord">
          <ac:chgData name="Kaltrina Rexhahmetaj" userId="S::kaltrina.rexhahmetaj@bvh.org::c314e318-93e0-4c36-9995-6aa0f00e0010" providerId="AD" clId="Web-{5F1E348E-7353-61D8-C6BD-B8780B2D8DD1}" dt="2020-03-17T18:06:25.257" v="857"/>
          <ac:picMkLst>
            <pc:docMk/>
            <pc:sldMk cId="995337970" sldId="897"/>
            <ac:picMk id="35" creationId="{DED14CBE-38F4-4A57-A017-11C3C0D81BA2}"/>
          </ac:picMkLst>
        </pc:picChg>
        <pc:picChg chg="del">
          <ac:chgData name="Kaltrina Rexhahmetaj" userId="S::kaltrina.rexhahmetaj@bvh.org::c314e318-93e0-4c36-9995-6aa0f00e0010" providerId="AD" clId="Web-{5F1E348E-7353-61D8-C6BD-B8780B2D8DD1}" dt="2020-03-17T18:02:27.618" v="815"/>
          <ac:picMkLst>
            <pc:docMk/>
            <pc:sldMk cId="995337970" sldId="897"/>
            <ac:picMk id="37" creationId="{938B371A-69DC-41D3-AD09-DE26AC095D93}"/>
          </ac:picMkLst>
        </pc:picChg>
        <pc:picChg chg="add del mod">
          <ac:chgData name="Kaltrina Rexhahmetaj" userId="S::kaltrina.rexhahmetaj@bvh.org::c314e318-93e0-4c36-9995-6aa0f00e0010" providerId="AD" clId="Web-{5F1E348E-7353-61D8-C6BD-B8780B2D8DD1}" dt="2020-03-17T18:06:25.085" v="856"/>
          <ac:picMkLst>
            <pc:docMk/>
            <pc:sldMk cId="995337970" sldId="897"/>
            <ac:picMk id="38" creationId="{974672A2-BA7F-46E8-8FC4-C5B7DB5E4617}"/>
          </ac:picMkLst>
        </pc:picChg>
        <pc:picChg chg="del">
          <ac:chgData name="Kaltrina Rexhahmetaj" userId="S::kaltrina.rexhahmetaj@bvh.org::c314e318-93e0-4c36-9995-6aa0f00e0010" providerId="AD" clId="Web-{5F1E348E-7353-61D8-C6BD-B8780B2D8DD1}" dt="2020-03-17T18:02:27.618" v="814"/>
          <ac:picMkLst>
            <pc:docMk/>
            <pc:sldMk cId="995337970" sldId="897"/>
            <ac:picMk id="39" creationId="{B7E83E48-1BF2-40F0-88E0-76719CC45AC3}"/>
          </ac:picMkLst>
        </pc:picChg>
        <pc:picChg chg="add del mod ord">
          <ac:chgData name="Kaltrina Rexhahmetaj" userId="S::kaltrina.rexhahmetaj@bvh.org::c314e318-93e0-4c36-9995-6aa0f00e0010" providerId="AD" clId="Web-{5F1E348E-7353-61D8-C6BD-B8780B2D8DD1}" dt="2020-03-17T18:09:03.109" v="864"/>
          <ac:picMkLst>
            <pc:docMk/>
            <pc:sldMk cId="995337970" sldId="897"/>
            <ac:picMk id="48" creationId="{BCDB81AC-938C-4FAC-9160-C426B08F8A7C}"/>
          </ac:picMkLst>
        </pc:picChg>
        <pc:picChg chg="add del mod">
          <ac:chgData name="Kaltrina Rexhahmetaj" userId="S::kaltrina.rexhahmetaj@bvh.org::c314e318-93e0-4c36-9995-6aa0f00e0010" providerId="AD" clId="Web-{5F1E348E-7353-61D8-C6BD-B8780B2D8DD1}" dt="2020-03-17T18:09:02.937" v="863"/>
          <ac:picMkLst>
            <pc:docMk/>
            <pc:sldMk cId="995337970" sldId="897"/>
            <ac:picMk id="52" creationId="{433AB33A-3761-48A8-BFF3-6AFF67CEA7F9}"/>
          </ac:picMkLst>
        </pc:picChg>
        <pc:picChg chg="add del mod ord">
          <ac:chgData name="Kaltrina Rexhahmetaj" userId="S::kaltrina.rexhahmetaj@bvh.org::c314e318-93e0-4c36-9995-6aa0f00e0010" providerId="AD" clId="Web-{5F1E348E-7353-61D8-C6BD-B8780B2D8DD1}" dt="2020-03-17T18:09:34.236" v="877"/>
          <ac:picMkLst>
            <pc:docMk/>
            <pc:sldMk cId="995337970" sldId="897"/>
            <ac:picMk id="57" creationId="{CA7396F1-ACA8-4897-A914-AEBBAA3DF733}"/>
          </ac:picMkLst>
        </pc:picChg>
        <pc:picChg chg="add del mod">
          <ac:chgData name="Kaltrina Rexhahmetaj" userId="S::kaltrina.rexhahmetaj@bvh.org::c314e318-93e0-4c36-9995-6aa0f00e0010" providerId="AD" clId="Web-{5F1E348E-7353-61D8-C6BD-B8780B2D8DD1}" dt="2020-03-17T18:09:34.080" v="876"/>
          <ac:picMkLst>
            <pc:docMk/>
            <pc:sldMk cId="995337970" sldId="897"/>
            <ac:picMk id="59" creationId="{4F568031-2913-40BF-AB6D-86A353073732}"/>
          </ac:picMkLst>
        </pc:picChg>
        <pc:picChg chg="add del mod">
          <ac:chgData name="Kaltrina Rexhahmetaj" userId="S::kaltrina.rexhahmetaj@bvh.org::c314e318-93e0-4c36-9995-6aa0f00e0010" providerId="AD" clId="Web-{5F1E348E-7353-61D8-C6BD-B8780B2D8DD1}" dt="2020-03-17T18:09:34.080" v="875"/>
          <ac:picMkLst>
            <pc:docMk/>
            <pc:sldMk cId="995337970" sldId="897"/>
            <ac:picMk id="61" creationId="{1F0E7639-5323-4D6F-AEF3-C10DB566AFEF}"/>
          </ac:picMkLst>
        </pc:picChg>
        <pc:picChg chg="add del mod">
          <ac:chgData name="Kaltrina Rexhahmetaj" userId="S::kaltrina.rexhahmetaj@bvh.org::c314e318-93e0-4c36-9995-6aa0f00e0010" providerId="AD" clId="Web-{5F1E348E-7353-61D8-C6BD-B8780B2D8DD1}" dt="2020-03-17T18:09:34.080" v="874"/>
          <ac:picMkLst>
            <pc:docMk/>
            <pc:sldMk cId="995337970" sldId="897"/>
            <ac:picMk id="63" creationId="{D494194F-B2CE-4AAD-8671-C72E5A460A15}"/>
          </ac:picMkLst>
        </pc:picChg>
        <pc:picChg chg="add del mod">
          <ac:chgData name="Kaltrina Rexhahmetaj" userId="S::kaltrina.rexhahmetaj@bvh.org::c314e318-93e0-4c36-9995-6aa0f00e0010" providerId="AD" clId="Web-{5F1E348E-7353-61D8-C6BD-B8780B2D8DD1}" dt="2020-03-17T18:09:34.080" v="873"/>
          <ac:picMkLst>
            <pc:docMk/>
            <pc:sldMk cId="995337970" sldId="897"/>
            <ac:picMk id="65" creationId="{C8E58E3B-1B07-4B5A-A887-8FB23924B6E1}"/>
          </ac:picMkLst>
        </pc:picChg>
        <pc:picChg chg="add del mod ord">
          <ac:chgData name="Kaltrina Rexhahmetaj" userId="S::kaltrina.rexhahmetaj@bvh.org::c314e318-93e0-4c36-9995-6aa0f00e0010" providerId="AD" clId="Web-{5F1E348E-7353-61D8-C6BD-B8780B2D8DD1}" dt="2020-03-17T18:09:51.596" v="890"/>
          <ac:picMkLst>
            <pc:docMk/>
            <pc:sldMk cId="995337970" sldId="897"/>
            <ac:picMk id="70" creationId="{D91B9823-0C5E-4898-8230-28AD4FCBE2EE}"/>
          </ac:picMkLst>
        </pc:picChg>
        <pc:picChg chg="add del mod">
          <ac:chgData name="Kaltrina Rexhahmetaj" userId="S::kaltrina.rexhahmetaj@bvh.org::c314e318-93e0-4c36-9995-6aa0f00e0010" providerId="AD" clId="Web-{5F1E348E-7353-61D8-C6BD-B8780B2D8DD1}" dt="2020-03-17T18:09:51.440" v="889"/>
          <ac:picMkLst>
            <pc:docMk/>
            <pc:sldMk cId="995337970" sldId="897"/>
            <ac:picMk id="72" creationId="{0228E799-4E09-4861-9FA0-7220D8BEE3B3}"/>
          </ac:picMkLst>
        </pc:picChg>
        <pc:picChg chg="add del mod">
          <ac:chgData name="Kaltrina Rexhahmetaj" userId="S::kaltrina.rexhahmetaj@bvh.org::c314e318-93e0-4c36-9995-6aa0f00e0010" providerId="AD" clId="Web-{5F1E348E-7353-61D8-C6BD-B8780B2D8DD1}" dt="2020-03-17T18:09:51.440" v="888"/>
          <ac:picMkLst>
            <pc:docMk/>
            <pc:sldMk cId="995337970" sldId="897"/>
            <ac:picMk id="74" creationId="{32EDC107-F425-4EA5-8E8A-AB9248647D1F}"/>
          </ac:picMkLst>
        </pc:picChg>
        <pc:picChg chg="add del mod">
          <ac:chgData name="Kaltrina Rexhahmetaj" userId="S::kaltrina.rexhahmetaj@bvh.org::c314e318-93e0-4c36-9995-6aa0f00e0010" providerId="AD" clId="Web-{5F1E348E-7353-61D8-C6BD-B8780B2D8DD1}" dt="2020-03-17T18:09:51.440" v="887"/>
          <ac:picMkLst>
            <pc:docMk/>
            <pc:sldMk cId="995337970" sldId="897"/>
            <ac:picMk id="76" creationId="{A79B289B-A7FF-4B34-84A7-34F6A3C61768}"/>
          </ac:picMkLst>
        </pc:picChg>
        <pc:picChg chg="add del mod">
          <ac:chgData name="Kaltrina Rexhahmetaj" userId="S::kaltrina.rexhahmetaj@bvh.org::c314e318-93e0-4c36-9995-6aa0f00e0010" providerId="AD" clId="Web-{5F1E348E-7353-61D8-C6BD-B8780B2D8DD1}" dt="2020-03-17T18:09:51.440" v="886"/>
          <ac:picMkLst>
            <pc:docMk/>
            <pc:sldMk cId="995337970" sldId="897"/>
            <ac:picMk id="78" creationId="{1CD314D4-05B3-4E25-B796-A949B12A5785}"/>
          </ac:picMkLst>
        </pc:picChg>
        <pc:picChg chg="add mod ord">
          <ac:chgData name="Kaltrina Rexhahmetaj" userId="S::kaltrina.rexhahmetaj@bvh.org::c314e318-93e0-4c36-9995-6aa0f00e0010" providerId="AD" clId="Web-{5F1E348E-7353-61D8-C6BD-B8780B2D8DD1}" dt="2020-03-17T18:12:32.887" v="914" actId="1076"/>
          <ac:picMkLst>
            <pc:docMk/>
            <pc:sldMk cId="995337970" sldId="897"/>
            <ac:picMk id="84" creationId="{82783788-5149-4EDF-B003-03932342F7DA}"/>
          </ac:picMkLst>
        </pc:picChg>
        <pc:picChg chg="add mod">
          <ac:chgData name="Kaltrina Rexhahmetaj" userId="S::kaltrina.rexhahmetaj@bvh.org::c314e318-93e0-4c36-9995-6aa0f00e0010" providerId="AD" clId="Web-{5F1E348E-7353-61D8-C6BD-B8780B2D8DD1}" dt="2020-03-17T18:12:32.871" v="910" actId="1076"/>
          <ac:picMkLst>
            <pc:docMk/>
            <pc:sldMk cId="995337970" sldId="897"/>
            <ac:picMk id="86" creationId="{ED6AA2E1-F038-439F-A3A5-B434AF6EC632}"/>
          </ac:picMkLst>
        </pc:picChg>
        <pc:picChg chg="add mod">
          <ac:chgData name="Kaltrina Rexhahmetaj" userId="S::kaltrina.rexhahmetaj@bvh.org::c314e318-93e0-4c36-9995-6aa0f00e0010" providerId="AD" clId="Web-{5F1E348E-7353-61D8-C6BD-B8780B2D8DD1}" dt="2020-03-17T18:12:32.887" v="911" actId="1076"/>
          <ac:picMkLst>
            <pc:docMk/>
            <pc:sldMk cId="995337970" sldId="897"/>
            <ac:picMk id="88" creationId="{1D575478-3E76-48C9-8F7F-2877A9D2678A}"/>
          </ac:picMkLst>
        </pc:picChg>
        <pc:picChg chg="add mod">
          <ac:chgData name="Kaltrina Rexhahmetaj" userId="S::kaltrina.rexhahmetaj@bvh.org::c314e318-93e0-4c36-9995-6aa0f00e0010" providerId="AD" clId="Web-{5F1E348E-7353-61D8-C6BD-B8780B2D8DD1}" dt="2020-03-17T18:12:32.887" v="912" actId="1076"/>
          <ac:picMkLst>
            <pc:docMk/>
            <pc:sldMk cId="995337970" sldId="897"/>
            <ac:picMk id="90" creationId="{4528F097-7CB5-4AB9-A9A9-36B684D69DB3}"/>
          </ac:picMkLst>
        </pc:picChg>
        <pc:picChg chg="add mod">
          <ac:chgData name="Kaltrina Rexhahmetaj" userId="S::kaltrina.rexhahmetaj@bvh.org::c314e318-93e0-4c36-9995-6aa0f00e0010" providerId="AD" clId="Web-{5F1E348E-7353-61D8-C6BD-B8780B2D8DD1}" dt="2020-03-17T18:12:32.903" v="915" actId="1076"/>
          <ac:picMkLst>
            <pc:docMk/>
            <pc:sldMk cId="995337970" sldId="897"/>
            <ac:picMk id="92" creationId="{B7749BC2-7295-475D-A853-25C9EB0A8753}"/>
          </ac:picMkLst>
        </pc:picChg>
      </pc:sldChg>
      <pc:sldChg chg="addSp delSp modSp add replId modNotes">
        <pc:chgData name="Kaltrina Rexhahmetaj" userId="S::kaltrina.rexhahmetaj@bvh.org::c314e318-93e0-4c36-9995-6aa0f00e0010" providerId="AD" clId="Web-{5F1E348E-7353-61D8-C6BD-B8780B2D8DD1}" dt="2020-03-17T18:27:46.314" v="1019"/>
        <pc:sldMkLst>
          <pc:docMk/>
          <pc:sldMk cId="3635046754" sldId="897"/>
        </pc:sldMkLst>
        <pc:spChg chg="add mod">
          <ac:chgData name="Kaltrina Rexhahmetaj" userId="S::kaltrina.rexhahmetaj@bvh.org::c314e318-93e0-4c36-9995-6aa0f00e0010" providerId="AD" clId="Web-{5F1E348E-7353-61D8-C6BD-B8780B2D8DD1}" dt="2020-03-17T18:22:22.530" v="973" actId="20577"/>
          <ac:spMkLst>
            <pc:docMk/>
            <pc:sldMk cId="3635046754" sldId="897"/>
            <ac:spMk id="4" creationId="{C8722015-4327-4975-8F53-979F07C48E7D}"/>
          </ac:spMkLst>
        </pc:spChg>
        <pc:spChg chg="del">
          <ac:chgData name="Kaltrina Rexhahmetaj" userId="S::kaltrina.rexhahmetaj@bvh.org::c314e318-93e0-4c36-9995-6aa0f00e0010" providerId="AD" clId="Web-{5F1E348E-7353-61D8-C6BD-B8780B2D8DD1}" dt="2020-03-17T18:14:10.658" v="927"/>
          <ac:spMkLst>
            <pc:docMk/>
            <pc:sldMk cId="3635046754" sldId="897"/>
            <ac:spMk id="5" creationId="{D882823E-4A8E-4737-A0D6-72534C20FE7A}"/>
          </ac:spMkLst>
        </pc:spChg>
        <pc:spChg chg="del">
          <ac:chgData name="Kaltrina Rexhahmetaj" userId="S::kaltrina.rexhahmetaj@bvh.org::c314e318-93e0-4c36-9995-6aa0f00e0010" providerId="AD" clId="Web-{5F1E348E-7353-61D8-C6BD-B8780B2D8DD1}" dt="2020-03-17T18:14:10.486" v="918"/>
          <ac:spMkLst>
            <pc:docMk/>
            <pc:sldMk cId="3635046754" sldId="897"/>
            <ac:spMk id="7" creationId="{1DBFA305-EFA8-46B1-A5A0-46454B5243A0}"/>
          </ac:spMkLst>
        </pc:spChg>
        <pc:spChg chg="add del mod">
          <ac:chgData name="Kaltrina Rexhahmetaj" userId="S::kaltrina.rexhahmetaj@bvh.org::c314e318-93e0-4c36-9995-6aa0f00e0010" providerId="AD" clId="Web-{5F1E348E-7353-61D8-C6BD-B8780B2D8DD1}" dt="2020-03-17T18:16:24.822" v="949"/>
          <ac:spMkLst>
            <pc:docMk/>
            <pc:sldMk cId="3635046754" sldId="897"/>
            <ac:spMk id="17" creationId="{6C6D1B3A-617E-4E00-830C-CB24B08F1E11}"/>
          </ac:spMkLst>
        </pc:spChg>
        <pc:spChg chg="add del mod">
          <ac:chgData name="Kaltrina Rexhahmetaj" userId="S::kaltrina.rexhahmetaj@bvh.org::c314e318-93e0-4c36-9995-6aa0f00e0010" providerId="AD" clId="Web-{5F1E348E-7353-61D8-C6BD-B8780B2D8DD1}" dt="2020-03-17T18:27:46.314" v="1015"/>
          <ac:spMkLst>
            <pc:docMk/>
            <pc:sldMk cId="3635046754" sldId="897"/>
            <ac:spMk id="26" creationId="{48A8F097-1A3A-4FDB-9197-2E48F4279AC9}"/>
          </ac:spMkLst>
        </pc:spChg>
        <pc:spChg chg="del">
          <ac:chgData name="Kaltrina Rexhahmetaj" userId="S::kaltrina.rexhahmetaj@bvh.org::c314e318-93e0-4c36-9995-6aa0f00e0010" providerId="AD" clId="Web-{5F1E348E-7353-61D8-C6BD-B8780B2D8DD1}" dt="2020-03-17T18:14:10.502" v="924"/>
          <ac:spMkLst>
            <pc:docMk/>
            <pc:sldMk cId="3635046754" sldId="897"/>
            <ac:spMk id="41" creationId="{390DD292-339D-42EE-9615-92DA946C9BCD}"/>
          </ac:spMkLst>
        </pc:spChg>
        <pc:spChg chg="del">
          <ac:chgData name="Kaltrina Rexhahmetaj" userId="S::kaltrina.rexhahmetaj@bvh.org::c314e318-93e0-4c36-9995-6aa0f00e0010" providerId="AD" clId="Web-{5F1E348E-7353-61D8-C6BD-B8780B2D8DD1}" dt="2020-03-17T18:14:10.502" v="923"/>
          <ac:spMkLst>
            <pc:docMk/>
            <pc:sldMk cId="3635046754" sldId="897"/>
            <ac:spMk id="43" creationId="{4EFE2E93-D0D2-4333-8147-95AC041D3DB7}"/>
          </ac:spMkLst>
        </pc:spChg>
        <pc:spChg chg="del">
          <ac:chgData name="Kaltrina Rexhahmetaj" userId="S::kaltrina.rexhahmetaj@bvh.org::c314e318-93e0-4c36-9995-6aa0f00e0010" providerId="AD" clId="Web-{5F1E348E-7353-61D8-C6BD-B8780B2D8DD1}" dt="2020-03-17T18:14:10.502" v="922"/>
          <ac:spMkLst>
            <pc:docMk/>
            <pc:sldMk cId="3635046754" sldId="897"/>
            <ac:spMk id="45" creationId="{E836E766-1328-4DA5-AFE8-39610A18DBD3}"/>
          </ac:spMkLst>
        </pc:spChg>
        <pc:spChg chg="del">
          <ac:chgData name="Kaltrina Rexhahmetaj" userId="S::kaltrina.rexhahmetaj@bvh.org::c314e318-93e0-4c36-9995-6aa0f00e0010" providerId="AD" clId="Web-{5F1E348E-7353-61D8-C6BD-B8780B2D8DD1}" dt="2020-03-17T18:14:10.502" v="921"/>
          <ac:spMkLst>
            <pc:docMk/>
            <pc:sldMk cId="3635046754" sldId="897"/>
            <ac:spMk id="47" creationId="{DACCA194-DDD5-4927-981F-725B4132ADB4}"/>
          </ac:spMkLst>
        </pc:spChg>
        <pc:spChg chg="del">
          <ac:chgData name="Kaltrina Rexhahmetaj" userId="S::kaltrina.rexhahmetaj@bvh.org::c314e318-93e0-4c36-9995-6aa0f00e0010" providerId="AD" clId="Web-{5F1E348E-7353-61D8-C6BD-B8780B2D8DD1}" dt="2020-03-17T18:14:10.486" v="920"/>
          <ac:spMkLst>
            <pc:docMk/>
            <pc:sldMk cId="3635046754" sldId="897"/>
            <ac:spMk id="49" creationId="{B1DA005B-D79D-4550-8B22-F650C7BB7E99}"/>
          </ac:spMkLst>
        </pc:spChg>
        <pc:spChg chg="del">
          <ac:chgData name="Kaltrina Rexhahmetaj" userId="S::kaltrina.rexhahmetaj@bvh.org::c314e318-93e0-4c36-9995-6aa0f00e0010" providerId="AD" clId="Web-{5F1E348E-7353-61D8-C6BD-B8780B2D8DD1}" dt="2020-03-17T18:14:10.486" v="919"/>
          <ac:spMkLst>
            <pc:docMk/>
            <pc:sldMk cId="3635046754" sldId="897"/>
            <ac:spMk id="51" creationId="{E301C806-1DD3-4111-B5AD-DE6D8B75F978}"/>
          </ac:spMkLst>
        </pc:spChg>
        <pc:picChg chg="add del mod">
          <ac:chgData name="Kaltrina Rexhahmetaj" userId="S::kaltrina.rexhahmetaj@bvh.org::c314e318-93e0-4c36-9995-6aa0f00e0010" providerId="AD" clId="Web-{5F1E348E-7353-61D8-C6BD-B8780B2D8DD1}" dt="2020-03-17T18:16:24.822" v="954"/>
          <ac:picMkLst>
            <pc:docMk/>
            <pc:sldMk cId="3635046754" sldId="897"/>
            <ac:picMk id="6" creationId="{D108C665-B3F5-4FF1-8E8A-6054062B2C9E}"/>
          </ac:picMkLst>
        </pc:picChg>
        <pc:picChg chg="add del mod">
          <ac:chgData name="Kaltrina Rexhahmetaj" userId="S::kaltrina.rexhahmetaj@bvh.org::c314e318-93e0-4c36-9995-6aa0f00e0010" providerId="AD" clId="Web-{5F1E348E-7353-61D8-C6BD-B8780B2D8DD1}" dt="2020-03-17T18:16:24.822" v="953"/>
          <ac:picMkLst>
            <pc:docMk/>
            <pc:sldMk cId="3635046754" sldId="897"/>
            <ac:picMk id="9" creationId="{A80D5C58-98AD-4493-8EA8-8DE072C6AB2C}"/>
          </ac:picMkLst>
        </pc:picChg>
        <pc:picChg chg="add del mod">
          <ac:chgData name="Kaltrina Rexhahmetaj" userId="S::kaltrina.rexhahmetaj@bvh.org::c314e318-93e0-4c36-9995-6aa0f00e0010" providerId="AD" clId="Web-{5F1E348E-7353-61D8-C6BD-B8780B2D8DD1}" dt="2020-03-17T18:16:24.822" v="952"/>
          <ac:picMkLst>
            <pc:docMk/>
            <pc:sldMk cId="3635046754" sldId="897"/>
            <ac:picMk id="11" creationId="{D76B651B-7CA8-4802-8AD1-1B3439A229B4}"/>
          </ac:picMkLst>
        </pc:picChg>
        <pc:picChg chg="add del mod">
          <ac:chgData name="Kaltrina Rexhahmetaj" userId="S::kaltrina.rexhahmetaj@bvh.org::c314e318-93e0-4c36-9995-6aa0f00e0010" providerId="AD" clId="Web-{5F1E348E-7353-61D8-C6BD-B8780B2D8DD1}" dt="2020-03-17T18:16:24.822" v="951"/>
          <ac:picMkLst>
            <pc:docMk/>
            <pc:sldMk cId="3635046754" sldId="897"/>
            <ac:picMk id="13" creationId="{85457F5E-F0FD-47DB-B04E-7F5A855867ED}"/>
          </ac:picMkLst>
        </pc:picChg>
        <pc:picChg chg="add del mod">
          <ac:chgData name="Kaltrina Rexhahmetaj" userId="S::kaltrina.rexhahmetaj@bvh.org::c314e318-93e0-4c36-9995-6aa0f00e0010" providerId="AD" clId="Web-{5F1E348E-7353-61D8-C6BD-B8780B2D8DD1}" dt="2020-03-17T18:16:24.822" v="950"/>
          <ac:picMkLst>
            <pc:docMk/>
            <pc:sldMk cId="3635046754" sldId="897"/>
            <ac:picMk id="15" creationId="{F5E0769D-C7FE-4710-AB75-94FD6ADC4599}"/>
          </ac:picMkLst>
        </pc:picChg>
        <pc:picChg chg="add del mod">
          <ac:chgData name="Kaltrina Rexhahmetaj" userId="S::kaltrina.rexhahmetaj@bvh.org::c314e318-93e0-4c36-9995-6aa0f00e0010" providerId="AD" clId="Web-{5F1E348E-7353-61D8-C6BD-B8780B2D8DD1}" dt="2020-03-17T18:27:46.314" v="1019"/>
          <ac:picMkLst>
            <pc:docMk/>
            <pc:sldMk cId="3635046754" sldId="897"/>
            <ac:picMk id="18" creationId="{277E5BBC-6A87-45A5-B62E-3DA9821BE96E}"/>
          </ac:picMkLst>
        </pc:picChg>
        <pc:picChg chg="add del mod">
          <ac:chgData name="Kaltrina Rexhahmetaj" userId="S::kaltrina.rexhahmetaj@bvh.org::c314e318-93e0-4c36-9995-6aa0f00e0010" providerId="AD" clId="Web-{5F1E348E-7353-61D8-C6BD-B8780B2D8DD1}" dt="2020-03-17T18:27:46.314" v="1018"/>
          <ac:picMkLst>
            <pc:docMk/>
            <pc:sldMk cId="3635046754" sldId="897"/>
            <ac:picMk id="20" creationId="{802662FC-BAE3-499E-A4CF-F02267587035}"/>
          </ac:picMkLst>
        </pc:picChg>
        <pc:picChg chg="add del mod">
          <ac:chgData name="Kaltrina Rexhahmetaj" userId="S::kaltrina.rexhahmetaj@bvh.org::c314e318-93e0-4c36-9995-6aa0f00e0010" providerId="AD" clId="Web-{5F1E348E-7353-61D8-C6BD-B8780B2D8DD1}" dt="2020-03-17T18:27:46.314" v="1017"/>
          <ac:picMkLst>
            <pc:docMk/>
            <pc:sldMk cId="3635046754" sldId="897"/>
            <ac:picMk id="22" creationId="{0A1D8FDA-7BC1-435B-8529-48F9838F5802}"/>
          </ac:picMkLst>
        </pc:picChg>
        <pc:picChg chg="add del mod">
          <ac:chgData name="Kaltrina Rexhahmetaj" userId="S::kaltrina.rexhahmetaj@bvh.org::c314e318-93e0-4c36-9995-6aa0f00e0010" providerId="AD" clId="Web-{5F1E348E-7353-61D8-C6BD-B8780B2D8DD1}" dt="2020-03-17T18:27:46.314" v="1016"/>
          <ac:picMkLst>
            <pc:docMk/>
            <pc:sldMk cId="3635046754" sldId="897"/>
            <ac:picMk id="24" creationId="{FC975007-7A4E-4401-A3E9-6500CA3101B3}"/>
          </ac:picMkLst>
        </pc:picChg>
        <pc:picChg chg="del">
          <ac:chgData name="Kaltrina Rexhahmetaj" userId="S::kaltrina.rexhahmetaj@bvh.org::c314e318-93e0-4c36-9995-6aa0f00e0010" providerId="AD" clId="Web-{5F1E348E-7353-61D8-C6BD-B8780B2D8DD1}" dt="2020-03-17T18:14:10.502" v="926"/>
          <ac:picMkLst>
            <pc:docMk/>
            <pc:sldMk cId="3635046754" sldId="897"/>
            <ac:picMk id="37" creationId="{938B371A-69DC-41D3-AD09-DE26AC095D93}"/>
          </ac:picMkLst>
        </pc:picChg>
        <pc:picChg chg="del">
          <ac:chgData name="Kaltrina Rexhahmetaj" userId="S::kaltrina.rexhahmetaj@bvh.org::c314e318-93e0-4c36-9995-6aa0f00e0010" providerId="AD" clId="Web-{5F1E348E-7353-61D8-C6BD-B8780B2D8DD1}" dt="2020-03-17T18:14:10.502" v="925"/>
          <ac:picMkLst>
            <pc:docMk/>
            <pc:sldMk cId="3635046754" sldId="897"/>
            <ac:picMk id="39" creationId="{B7E83E48-1BF2-40F0-88E0-76719CC45AC3}"/>
          </ac:picMkLst>
        </pc:picChg>
      </pc:sldChg>
      <pc:sldMasterChg chg="addSldLayout">
        <pc:chgData name="Kaltrina Rexhahmetaj" userId="S::kaltrina.rexhahmetaj@bvh.org::c314e318-93e0-4c36-9995-6aa0f00e0010" providerId="AD" clId="Web-{5F1E348E-7353-61D8-C6BD-B8780B2D8DD1}" dt="2020-03-17T16:18:12.908" v="111"/>
        <pc:sldMasterMkLst>
          <pc:docMk/>
          <pc:sldMasterMk cId="3859193514" sldId="2147483824"/>
        </pc:sldMasterMkLst>
        <pc:sldLayoutChg chg="add">
          <pc:chgData name="Kaltrina Rexhahmetaj" userId="S::kaltrina.rexhahmetaj@bvh.org::c314e318-93e0-4c36-9995-6aa0f00e0010" providerId="AD" clId="Web-{5F1E348E-7353-61D8-C6BD-B8780B2D8DD1}" dt="2020-03-17T16:18:12.908" v="111"/>
          <pc:sldLayoutMkLst>
            <pc:docMk/>
            <pc:sldMasterMk cId="3859193514" sldId="2147483824"/>
            <pc:sldLayoutMk cId="2707184498" sldId="2147483808"/>
          </pc:sldLayoutMkLst>
        </pc:sldLayoutChg>
      </pc:sldMasterChg>
    </pc:docChg>
  </pc:docChgLst>
</pc:chgInfo>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a:lstStyle/>
          <a:p>
            <a:pPr>
              <a:defRPr sz="2128" b="1" strike="noStrike" spc="-1">
                <a:solidFill>
                  <a:srgbClr val="44546A"/>
                </a:solidFill>
                <a:latin typeface="Calibri"/>
              </a:defRPr>
            </a:pPr>
            <a:r>
              <a:rPr lang="de-DE" sz="2128" b="1" strike="noStrike" spc="-1">
                <a:solidFill>
                  <a:srgbClr val="44546A"/>
                </a:solidFill>
                <a:latin typeface="Calibri"/>
              </a:rPr>
              <a:t>Volumen des deutschen Zertifikatemarkts in Mrd. € </a:t>
            </a:r>
          </a:p>
        </c:rich>
      </c:tx>
      <c:layout>
        <c:manualLayout>
          <c:xMode val="edge"/>
          <c:yMode val="edge"/>
          <c:x val="0.37035042366795901"/>
          <c:y val="5.6014813835063799E-2"/>
        </c:manualLayout>
      </c:layout>
      <c:overlay val="0"/>
      <c:spPr>
        <a:noFill/>
        <a:ln>
          <a:noFill/>
        </a:ln>
      </c:spPr>
    </c:title>
    <c:autoTitleDeleted val="0"/>
    <c:plotArea>
      <c:layout>
        <c:manualLayout>
          <c:layoutTarget val="inner"/>
          <c:xMode val="edge"/>
          <c:yMode val="edge"/>
          <c:x val="3.9745799224472203E-2"/>
          <c:y val="0.13081145426889801"/>
          <c:w val="0.93321844032744505"/>
          <c:h val="0.76092851001917905"/>
        </c:manualLayout>
      </c:layout>
      <c:lineChart>
        <c:grouping val="standard"/>
        <c:varyColors val="0"/>
        <c:ser>
          <c:idx val="0"/>
          <c:order val="0"/>
          <c:tx>
            <c:strRef>
              <c:f>label 0</c:f>
              <c:strCache>
                <c:ptCount val="1"/>
                <c:pt idx="0">
                  <c:v>Volumen </c:v>
                </c:pt>
              </c:strCache>
            </c:strRef>
          </c:tx>
          <c:spPr>
            <a:ln w="31680">
              <a:solidFill>
                <a:srgbClr val="4472C4"/>
              </a:solidFill>
              <a:round/>
            </a:ln>
          </c:spPr>
          <c:marker>
            <c:symbol val="none"/>
          </c:marker>
          <c:dLbls>
            <c:spPr>
              <a:noFill/>
              <a:ln>
                <a:noFill/>
              </a:ln>
              <a:effectLst/>
            </c:spPr>
            <c:txPr>
              <a:bodyPr/>
              <a:lstStyle/>
              <a:p>
                <a:pPr>
                  <a:defRPr sz="1000" b="0" strike="noStrike" spc="-1">
                    <a:solidFill>
                      <a:srgbClr val="000000"/>
                    </a:solidFill>
                    <a:latin typeface="Calibri"/>
                  </a:defRPr>
                </a:pPr>
                <a:endParaRPr lang="de-DE"/>
              </a:p>
            </c:txPr>
            <c:dLblPos val="r"/>
            <c:showLegendKey val="0"/>
            <c:showVal val="0"/>
            <c:showCatName val="0"/>
            <c:showSerName val="0"/>
            <c:showPercent val="0"/>
            <c:showBubbleSize val="1"/>
            <c:showLeaderLines val="0"/>
            <c:extLst>
              <c:ext xmlns:c15="http://schemas.microsoft.com/office/drawing/2012/chart" uri="{CE6537A1-D6FC-4f65-9D91-7224C49458BB}">
                <c15:showLeaderLines val="0"/>
              </c:ext>
            </c:extLst>
          </c:dLbls>
          <c:cat>
            <c:strRef>
              <c:f>categories</c:f>
              <c:strCache>
                <c:ptCount val="55"/>
                <c:pt idx="0">
                  <c:v>Dez/ 04</c:v>
                </c:pt>
                <c:pt idx="1">
                  <c:v>Mrz/ 05</c:v>
                </c:pt>
                <c:pt idx="2">
                  <c:v>Jun/ 05</c:v>
                </c:pt>
                <c:pt idx="3">
                  <c:v>Sep/ 05</c:v>
                </c:pt>
                <c:pt idx="4">
                  <c:v>Dez/ 05</c:v>
                </c:pt>
                <c:pt idx="5">
                  <c:v>Mrz/ 06</c:v>
                </c:pt>
                <c:pt idx="6">
                  <c:v>Jun/ 06</c:v>
                </c:pt>
                <c:pt idx="7">
                  <c:v>Sep/ 06</c:v>
                </c:pt>
                <c:pt idx="8">
                  <c:v>Dez/ 06</c:v>
                </c:pt>
                <c:pt idx="9">
                  <c:v>Mrz/ 07</c:v>
                </c:pt>
                <c:pt idx="10">
                  <c:v>Jun/ 07</c:v>
                </c:pt>
                <c:pt idx="11">
                  <c:v>Sep/ 07</c:v>
                </c:pt>
                <c:pt idx="12">
                  <c:v>Dez/ 07</c:v>
                </c:pt>
                <c:pt idx="13">
                  <c:v>Mrz/ 08</c:v>
                </c:pt>
                <c:pt idx="14">
                  <c:v>Jun/ 08</c:v>
                </c:pt>
                <c:pt idx="15">
                  <c:v>Sep/ 08</c:v>
                </c:pt>
                <c:pt idx="16">
                  <c:v>Dez/ 08</c:v>
                </c:pt>
                <c:pt idx="17">
                  <c:v>Mrz/ 09</c:v>
                </c:pt>
                <c:pt idx="18">
                  <c:v>Jun/ 09</c:v>
                </c:pt>
                <c:pt idx="19">
                  <c:v>Sep/ 09</c:v>
                </c:pt>
                <c:pt idx="20">
                  <c:v>Dez/ 09</c:v>
                </c:pt>
                <c:pt idx="21">
                  <c:v>Mrz/ 10</c:v>
                </c:pt>
                <c:pt idx="22">
                  <c:v>Jun/ 10</c:v>
                </c:pt>
                <c:pt idx="23">
                  <c:v>Sep/ 10</c:v>
                </c:pt>
                <c:pt idx="24">
                  <c:v>Dez/ 10</c:v>
                </c:pt>
                <c:pt idx="25">
                  <c:v>Mrz/ 11</c:v>
                </c:pt>
                <c:pt idx="26">
                  <c:v>Jun/ 11</c:v>
                </c:pt>
                <c:pt idx="27">
                  <c:v>Sep/ 11</c:v>
                </c:pt>
                <c:pt idx="28">
                  <c:v>Dez/ 11</c:v>
                </c:pt>
                <c:pt idx="29">
                  <c:v>Mrz/ 12</c:v>
                </c:pt>
                <c:pt idx="30">
                  <c:v>Jun/ 12</c:v>
                </c:pt>
                <c:pt idx="31">
                  <c:v>Sep/ 12</c:v>
                </c:pt>
                <c:pt idx="32">
                  <c:v>Dez/ 12</c:v>
                </c:pt>
                <c:pt idx="33">
                  <c:v>Mrz/ 13</c:v>
                </c:pt>
                <c:pt idx="34">
                  <c:v>Jun/ 13</c:v>
                </c:pt>
                <c:pt idx="35">
                  <c:v>Sep/ 13</c:v>
                </c:pt>
                <c:pt idx="36">
                  <c:v>Dez/ 13</c:v>
                </c:pt>
                <c:pt idx="37">
                  <c:v>Mrz/ 14</c:v>
                </c:pt>
                <c:pt idx="38">
                  <c:v>Jun/ 14</c:v>
                </c:pt>
                <c:pt idx="39">
                  <c:v>Sep/ 14</c:v>
                </c:pt>
                <c:pt idx="40">
                  <c:v>Dez/ 14</c:v>
                </c:pt>
                <c:pt idx="41">
                  <c:v>Mrz/ 15</c:v>
                </c:pt>
                <c:pt idx="42">
                  <c:v>Jun/ 15</c:v>
                </c:pt>
                <c:pt idx="43">
                  <c:v>Sep/ 15</c:v>
                </c:pt>
                <c:pt idx="44">
                  <c:v>Dez/ 15</c:v>
                </c:pt>
                <c:pt idx="45">
                  <c:v>Mrz/ 16</c:v>
                </c:pt>
                <c:pt idx="46">
                  <c:v>Jun/ 16</c:v>
                </c:pt>
                <c:pt idx="47">
                  <c:v>Sep/ 16</c:v>
                </c:pt>
                <c:pt idx="48">
                  <c:v>Dez/ 16</c:v>
                </c:pt>
                <c:pt idx="49">
                  <c:v>Mrz/ 17</c:v>
                </c:pt>
                <c:pt idx="50">
                  <c:v>Jun/ 17</c:v>
                </c:pt>
                <c:pt idx="51">
                  <c:v>Sep/ 17</c:v>
                </c:pt>
                <c:pt idx="52">
                  <c:v>Dez/ 17</c:v>
                </c:pt>
                <c:pt idx="53">
                  <c:v>Mrz/ 18</c:v>
                </c:pt>
                <c:pt idx="54">
                  <c:v>Jun/ 18</c:v>
                </c:pt>
              </c:strCache>
            </c:strRef>
          </c:cat>
          <c:val>
            <c:numRef>
              <c:f>0</c:f>
              <c:numCache>
                <c:formatCode>General</c:formatCode>
                <c:ptCount val="55"/>
                <c:pt idx="0">
                  <c:v>48</c:v>
                </c:pt>
                <c:pt idx="1">
                  <c:v>55</c:v>
                </c:pt>
                <c:pt idx="2">
                  <c:v>63</c:v>
                </c:pt>
                <c:pt idx="3">
                  <c:v>75</c:v>
                </c:pt>
                <c:pt idx="4">
                  <c:v>80</c:v>
                </c:pt>
                <c:pt idx="5">
                  <c:v>94</c:v>
                </c:pt>
                <c:pt idx="6">
                  <c:v>97</c:v>
                </c:pt>
                <c:pt idx="7">
                  <c:v>106</c:v>
                </c:pt>
                <c:pt idx="8">
                  <c:v>110</c:v>
                </c:pt>
                <c:pt idx="9">
                  <c:v>126</c:v>
                </c:pt>
                <c:pt idx="10">
                  <c:v>136</c:v>
                </c:pt>
                <c:pt idx="11">
                  <c:v>139</c:v>
                </c:pt>
                <c:pt idx="12">
                  <c:v>135</c:v>
                </c:pt>
                <c:pt idx="13">
                  <c:v>128</c:v>
                </c:pt>
                <c:pt idx="14">
                  <c:v>125.2</c:v>
                </c:pt>
                <c:pt idx="15">
                  <c:v>110</c:v>
                </c:pt>
                <c:pt idx="16">
                  <c:v>80.2</c:v>
                </c:pt>
                <c:pt idx="17">
                  <c:v>79.900000000000006</c:v>
                </c:pt>
                <c:pt idx="18">
                  <c:v>88.7</c:v>
                </c:pt>
                <c:pt idx="19">
                  <c:v>101</c:v>
                </c:pt>
                <c:pt idx="20">
                  <c:v>103.2</c:v>
                </c:pt>
                <c:pt idx="21">
                  <c:v>106.1</c:v>
                </c:pt>
                <c:pt idx="22">
                  <c:v>105.4</c:v>
                </c:pt>
                <c:pt idx="23">
                  <c:v>108</c:v>
                </c:pt>
                <c:pt idx="24">
                  <c:v>106.4</c:v>
                </c:pt>
                <c:pt idx="25">
                  <c:v>108.6</c:v>
                </c:pt>
                <c:pt idx="26">
                  <c:v>109.3</c:v>
                </c:pt>
                <c:pt idx="27">
                  <c:v>100.4</c:v>
                </c:pt>
                <c:pt idx="28">
                  <c:v>98.7</c:v>
                </c:pt>
                <c:pt idx="29">
                  <c:v>101.7</c:v>
                </c:pt>
                <c:pt idx="30">
                  <c:v>100.2</c:v>
                </c:pt>
                <c:pt idx="31">
                  <c:v>99.8</c:v>
                </c:pt>
                <c:pt idx="32">
                  <c:v>96.7</c:v>
                </c:pt>
                <c:pt idx="33">
                  <c:v>95.9</c:v>
                </c:pt>
                <c:pt idx="34">
                  <c:v>92.6</c:v>
                </c:pt>
                <c:pt idx="35">
                  <c:v>91.8</c:v>
                </c:pt>
                <c:pt idx="36">
                  <c:v>90.2</c:v>
                </c:pt>
                <c:pt idx="37">
                  <c:v>90.6</c:v>
                </c:pt>
                <c:pt idx="38">
                  <c:v>90.4</c:v>
                </c:pt>
                <c:pt idx="39">
                  <c:v>84.9</c:v>
                </c:pt>
                <c:pt idx="40">
                  <c:v>79.400000000000006</c:v>
                </c:pt>
                <c:pt idx="41">
                  <c:v>75.400000000000006</c:v>
                </c:pt>
                <c:pt idx="42">
                  <c:v>72.599999999999994</c:v>
                </c:pt>
                <c:pt idx="43">
                  <c:v>68.8</c:v>
                </c:pt>
                <c:pt idx="44">
                  <c:v>68.599999999999994</c:v>
                </c:pt>
                <c:pt idx="45">
                  <c:v>68.3</c:v>
                </c:pt>
                <c:pt idx="46">
                  <c:v>67.900000000000006</c:v>
                </c:pt>
                <c:pt idx="47">
                  <c:v>68.400000000000006</c:v>
                </c:pt>
                <c:pt idx="48">
                  <c:v>67</c:v>
                </c:pt>
                <c:pt idx="49">
                  <c:v>69.5</c:v>
                </c:pt>
                <c:pt idx="50">
                  <c:v>69.2</c:v>
                </c:pt>
                <c:pt idx="51">
                  <c:v>69.900000000000006</c:v>
                </c:pt>
                <c:pt idx="52">
                  <c:v>68.900000000000006</c:v>
                </c:pt>
                <c:pt idx="53">
                  <c:v>69.5</c:v>
                </c:pt>
                <c:pt idx="54">
                  <c:v>70.3</c:v>
                </c:pt>
              </c:numCache>
            </c:numRef>
          </c:val>
          <c:smooth val="0"/>
          <c:extLst>
            <c:ext xmlns:c16="http://schemas.microsoft.com/office/drawing/2014/chart" uri="{C3380CC4-5D6E-409C-BE32-E72D297353CC}">
              <c16:uniqueId val="{00000000-D37C-44A3-AE9A-38C76B404CF5}"/>
            </c:ext>
          </c:extLst>
        </c:ser>
        <c:dLbls>
          <c:showLegendKey val="0"/>
          <c:showVal val="0"/>
          <c:showCatName val="0"/>
          <c:showSerName val="0"/>
          <c:showPercent val="0"/>
          <c:showBubbleSize val="0"/>
        </c:dLbls>
        <c:hiLowLines>
          <c:spPr>
            <a:ln>
              <a:noFill/>
            </a:ln>
          </c:spPr>
        </c:hiLowLines>
        <c:smooth val="0"/>
        <c:axId val="35269676"/>
        <c:axId val="40688268"/>
      </c:lineChart>
      <c:catAx>
        <c:axId val="35269676"/>
        <c:scaling>
          <c:orientation val="minMax"/>
        </c:scaling>
        <c:delete val="0"/>
        <c:axPos val="b"/>
        <c:numFmt formatCode="General" sourceLinked="1"/>
        <c:majorTickMark val="out"/>
        <c:minorTickMark val="none"/>
        <c:tickLblPos val="nextTo"/>
        <c:spPr>
          <a:ln w="9360">
            <a:solidFill>
              <a:srgbClr val="E0E5EB"/>
            </a:solidFill>
            <a:round/>
          </a:ln>
        </c:spPr>
        <c:txPr>
          <a:bodyPr/>
          <a:lstStyle/>
          <a:p>
            <a:pPr>
              <a:defRPr sz="1197" b="0" strike="noStrike" spc="-1">
                <a:solidFill>
                  <a:srgbClr val="44546A"/>
                </a:solidFill>
                <a:latin typeface="Calibri"/>
              </a:defRPr>
            </a:pPr>
            <a:endParaRPr lang="de-DE"/>
          </a:p>
        </c:txPr>
        <c:crossAx val="40688268"/>
        <c:crosses val="autoZero"/>
        <c:auto val="1"/>
        <c:lblAlgn val="ctr"/>
        <c:lblOffset val="100"/>
        <c:noMultiLvlLbl val="1"/>
      </c:catAx>
      <c:valAx>
        <c:axId val="40688268"/>
        <c:scaling>
          <c:orientation val="minMax"/>
        </c:scaling>
        <c:delete val="0"/>
        <c:axPos val="l"/>
        <c:majorGridlines>
          <c:spPr>
            <a:ln w="9360">
              <a:solidFill>
                <a:srgbClr val="E0E5EB"/>
              </a:solidFill>
              <a:round/>
            </a:ln>
          </c:spPr>
        </c:majorGridlines>
        <c:numFmt formatCode="0" sourceLinked="0"/>
        <c:majorTickMark val="none"/>
        <c:minorTickMark val="none"/>
        <c:tickLblPos val="nextTo"/>
        <c:spPr>
          <a:ln w="6480">
            <a:noFill/>
          </a:ln>
        </c:spPr>
        <c:txPr>
          <a:bodyPr/>
          <a:lstStyle/>
          <a:p>
            <a:pPr>
              <a:defRPr sz="1197" b="0" strike="noStrike" spc="-1">
                <a:solidFill>
                  <a:srgbClr val="44546A"/>
                </a:solidFill>
                <a:latin typeface="Calibri"/>
              </a:defRPr>
            </a:pPr>
            <a:endParaRPr lang="de-DE"/>
          </a:p>
        </c:txPr>
        <c:crossAx val="35269676"/>
        <c:crosses val="autoZero"/>
        <c:crossBetween val="midCat"/>
      </c:valAx>
      <c:spPr>
        <a:noFill/>
        <a:ln>
          <a:noFill/>
        </a:ln>
      </c:spPr>
    </c:plotArea>
    <c:plotVisOnly val="1"/>
    <c:dispBlanksAs val="gap"/>
    <c:showDLblsOverMax val="1"/>
  </c:chart>
  <c:spPr>
    <a:noFill/>
    <a:ln>
      <a:noFill/>
    </a:ln>
  </c:spPr>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1446CC6-600B-4E8C-B35E-11D61A5764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87897175-57F4-40C2-8323-97A6AF4AD3A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ED2306F-7DBE-4643-88C3-1364ADE292FB}" type="datetimeFigureOut">
              <a:rPr lang="de-DE" smtClean="0"/>
              <a:t>05.11.2020</a:t>
            </a:fld>
            <a:endParaRPr lang="de-DE"/>
          </a:p>
        </p:txBody>
      </p:sp>
      <p:sp>
        <p:nvSpPr>
          <p:cNvPr id="4" name="Fußzeilenplatzhalter 3">
            <a:extLst>
              <a:ext uri="{FF2B5EF4-FFF2-40B4-BE49-F238E27FC236}">
                <a16:creationId xmlns:a16="http://schemas.microsoft.com/office/drawing/2014/main" id="{9DC6854F-DE39-4BFE-B60D-996608AE9AA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80C7D368-9F87-4E3B-8F9C-73693ED6D9B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C67F6-F76C-4C63-BB11-13545656EF8B}" type="slidenum">
              <a:rPr lang="de-DE" smtClean="0"/>
              <a:t>‹Nr.›</a:t>
            </a:fld>
            <a:endParaRPr lang="de-DE"/>
          </a:p>
        </p:txBody>
      </p:sp>
    </p:spTree>
    <p:extLst>
      <p:ext uri="{BB962C8B-B14F-4D97-AF65-F5344CB8AC3E}">
        <p14:creationId xmlns:p14="http://schemas.microsoft.com/office/powerpoint/2010/main" val="22528598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5B0EDA-B622-4B5B-8B2C-5385A6ED6F68}" type="datetimeFigureOut">
              <a:rPr lang="de-DE" smtClean="0"/>
              <a:t>05.11.20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CC5797-8412-4050-BB86-6F6420888D01}" type="slidenum">
              <a:rPr lang="de-DE" smtClean="0"/>
              <a:t>‹Nr.›</a:t>
            </a:fld>
            <a:endParaRPr lang="de-DE"/>
          </a:p>
        </p:txBody>
      </p:sp>
    </p:spTree>
    <p:extLst>
      <p:ext uri="{BB962C8B-B14F-4D97-AF65-F5344CB8AC3E}">
        <p14:creationId xmlns:p14="http://schemas.microsoft.com/office/powerpoint/2010/main" val="2196669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derivateverband.de/DEU/Statistiken/Marktvolumen"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www.spiegel.de/wirtschaft/unternehmen/franken-kurs-ingenieur-setzt-2800-und-verliert-280-000-euro-a-1023799.html"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en.wikipedia.org/wiki/Contango#/media/File:Contangobackwardation.png"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Bauer säht sein Getreide im Frühjahr aus, weiß wie viel Tonnen Getreide ca. entstehen – kann aber trotzdem nicht planen wie viel Geld ihm das bringen wird, da die Marktpreise schwanken. -&gt; Lösung: Einigung mit dem Müller eine bestimmte Menge zu einem heute festgelegten Preis zu verkaufen =&gt; Planungssicherheit</a:t>
            </a:r>
            <a:endParaRPr lang="en-US" dirty="0"/>
          </a:p>
          <a:p>
            <a:pPr marL="215900" indent="-215900"/>
            <a:endParaRPr lang="de-DE" dirty="0"/>
          </a:p>
          <a:p>
            <a:pPr marL="215900" indent="-215900"/>
            <a:r>
              <a:rPr lang="de-DE" dirty="0"/>
              <a:t>Wichtige Begriffe: Long und Short</a:t>
            </a:r>
            <a:endParaRPr lang="en-US" dirty="0"/>
          </a:p>
          <a:p>
            <a:pPr marL="215900" indent="-215900"/>
            <a:r>
              <a:rPr lang="de-DE" dirty="0" err="1"/>
              <a:t>Longposition</a:t>
            </a:r>
            <a:r>
              <a:rPr lang="de-DE" dirty="0"/>
              <a:t> = Besitzer (hier Bauer)</a:t>
            </a:r>
            <a:endParaRPr lang="en-US" dirty="0"/>
          </a:p>
          <a:p>
            <a:pPr marL="215900" indent="-215900"/>
            <a:r>
              <a:rPr lang="de-DE" dirty="0"/>
              <a:t>Shortposition = Käufer (hier Müller)</a:t>
            </a:r>
            <a:endParaRPr lang="en-US" dirty="0"/>
          </a:p>
          <a:p>
            <a:pPr marL="215900" indent="-215900"/>
            <a:r>
              <a:rPr lang="de-DE" dirty="0"/>
              <a:t>-&gt; Details später</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9</a:t>
            </a:fld>
            <a:endParaRPr lang="de-DE"/>
          </a:p>
        </p:txBody>
      </p:sp>
    </p:spTree>
    <p:extLst>
      <p:ext uri="{BB962C8B-B14F-4D97-AF65-F5344CB8AC3E}">
        <p14:creationId xmlns:p14="http://schemas.microsoft.com/office/powerpoint/2010/main" val="2786129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Im Gegensatz zu Futures welches </a:t>
            </a:r>
            <a:r>
              <a:rPr lang="de-DE" b="1" dirty="0"/>
              <a:t>unbedingte Termingeschäfte </a:t>
            </a:r>
            <a:r>
              <a:rPr lang="de-DE" dirty="0"/>
              <a:t>darstellen, bezeichnet man Optionsgeschäfte daher als </a:t>
            </a:r>
            <a:r>
              <a:rPr lang="de-DE" b="1" dirty="0"/>
              <a:t>bedingte Termingeschäfte</a:t>
            </a:r>
            <a:r>
              <a:rPr lang="de-DE" dirty="0"/>
              <a:t>.</a:t>
            </a:r>
            <a:endParaRPr lang="en-US" dirty="0"/>
          </a:p>
          <a:p>
            <a:pPr marL="215900" indent="-215900"/>
            <a:r>
              <a:rPr lang="de-DE" dirty="0"/>
              <a:t>Deren Erfüllung hängt davon ab, ob der Käufer der jeweiligen Option sich dafür entscheidet diese auszuüben (einzulösen). Er hat in diesem Sinne das Optionsrecht, sprich die Wahl.</a:t>
            </a:r>
          </a:p>
        </p:txBody>
      </p:sp>
      <p:sp>
        <p:nvSpPr>
          <p:cNvPr id="4" name="Foliennummernplatzhalter 3"/>
          <p:cNvSpPr>
            <a:spLocks noGrp="1"/>
          </p:cNvSpPr>
          <p:nvPr>
            <p:ph type="sldNum" sz="quarter" idx="5"/>
          </p:nvPr>
        </p:nvSpPr>
        <p:spPr/>
        <p:txBody>
          <a:bodyPr/>
          <a:lstStyle/>
          <a:p>
            <a:fld id="{E7CC5797-8412-4050-BB86-6F6420888D01}" type="slidenum">
              <a:rPr lang="de-DE" smtClean="0"/>
              <a:t>25</a:t>
            </a:fld>
            <a:endParaRPr lang="de-DE"/>
          </a:p>
        </p:txBody>
      </p:sp>
    </p:spTree>
    <p:extLst>
      <p:ext uri="{BB962C8B-B14F-4D97-AF65-F5344CB8AC3E}">
        <p14:creationId xmlns:p14="http://schemas.microsoft.com/office/powerpoint/2010/main" val="2200470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Optionen sind auf alle möglichen Underlyings möglich. </a:t>
            </a:r>
            <a:endParaRPr lang="en-US" dirty="0"/>
          </a:p>
          <a:p>
            <a:pPr marL="215900" indent="-215900"/>
            <a:r>
              <a:rPr lang="de-DE" dirty="0"/>
              <a:t>Wie auch für die Futures gilt auch für die Optionen: mit ihnen kann man Positionen in diesen Underlyings sichern (Hedging: Gold kaufen und Put auf Gold kaufen) oder bewusst Risiken eingehen/Spekulieren (nur Put auf Gold kaufe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28</a:t>
            </a:fld>
            <a:endParaRPr lang="de-DE"/>
          </a:p>
        </p:txBody>
      </p:sp>
    </p:spTree>
    <p:extLst>
      <p:ext uri="{BB962C8B-B14F-4D97-AF65-F5344CB8AC3E}">
        <p14:creationId xmlns:p14="http://schemas.microsoft.com/office/powerpoint/2010/main" val="143803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Call: Kauf (einer Option)</a:t>
            </a:r>
            <a:endParaRPr lang="en-US" dirty="0"/>
          </a:p>
          <a:p>
            <a:pPr marL="215900" indent="-215900"/>
            <a:r>
              <a:rPr lang="de-DE" dirty="0"/>
              <a:t>Put: Verkauf (beispielsweise Bank)</a:t>
            </a:r>
            <a:endParaRPr lang="en-US" dirty="0"/>
          </a:p>
          <a:p>
            <a:pPr marL="215900" indent="-215900"/>
            <a:endParaRPr lang="de-DE" dirty="0"/>
          </a:p>
          <a:p>
            <a:pPr marL="215900" indent="-215900"/>
            <a:r>
              <a:rPr lang="de-DE" dirty="0"/>
              <a:t>Long: Recht zu (</a:t>
            </a:r>
            <a:r>
              <a:rPr lang="de-DE" dirty="0" err="1"/>
              <a:t>ver</a:t>
            </a:r>
            <a:r>
              <a:rPr lang="de-DE" dirty="0"/>
              <a:t>-)kaufen</a:t>
            </a:r>
            <a:endParaRPr lang="en-US" dirty="0"/>
          </a:p>
          <a:p>
            <a:r>
              <a:rPr lang="de-DE" dirty="0"/>
              <a:t>Short: Pflicht zu (</a:t>
            </a:r>
            <a:r>
              <a:rPr lang="de-DE" dirty="0" err="1"/>
              <a:t>ver</a:t>
            </a:r>
            <a:r>
              <a:rPr lang="de-DE" dirty="0"/>
              <a:t>-)kaufen</a:t>
            </a:r>
            <a:endParaRPr lang="en-US" dirty="0"/>
          </a:p>
          <a:p>
            <a:endParaRPr lang="de-DE" dirty="0"/>
          </a:p>
          <a:p>
            <a:endParaRPr lang="de-DE" dirty="0"/>
          </a:p>
          <a:p>
            <a:r>
              <a:rPr lang="de-DE" dirty="0"/>
              <a:t>Motivation für Short Position: garantierte Einnahme des Preises der Option, auch wenn das Recht des Inhabers nicht ausgeübt wird</a:t>
            </a:r>
            <a:endParaRPr lang="de-DE" dirty="0">
              <a:cs typeface="Calibri"/>
            </a:endParaRPr>
          </a:p>
        </p:txBody>
      </p:sp>
      <p:sp>
        <p:nvSpPr>
          <p:cNvPr id="4" name="Foliennummernplatzhalter 3"/>
          <p:cNvSpPr>
            <a:spLocks noGrp="1"/>
          </p:cNvSpPr>
          <p:nvPr>
            <p:ph type="sldNum" sz="quarter" idx="5"/>
          </p:nvPr>
        </p:nvSpPr>
        <p:spPr/>
        <p:txBody>
          <a:bodyPr/>
          <a:lstStyle/>
          <a:p>
            <a:fld id="{E7CC5797-8412-4050-BB86-6F6420888D01}" type="slidenum">
              <a:rPr lang="de-DE" smtClean="0"/>
              <a:t>29</a:t>
            </a:fld>
            <a:endParaRPr lang="de-DE"/>
          </a:p>
        </p:txBody>
      </p:sp>
    </p:spTree>
    <p:extLst>
      <p:ext uri="{BB962C8B-B14F-4D97-AF65-F5344CB8AC3E}">
        <p14:creationId xmlns:p14="http://schemas.microsoft.com/office/powerpoint/2010/main" val="35833977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3 Optionstypen, unterschieden nach Ausübungsart (amerikanische Option in der Praxis am gebräuchlichsten)</a:t>
            </a:r>
            <a:endParaRPr lang="en-US" dirty="0"/>
          </a:p>
          <a:p>
            <a:pPr marL="215900" indent="-215900"/>
            <a:endParaRPr lang="de-DE" dirty="0"/>
          </a:p>
          <a:p>
            <a:pPr marL="215900" indent="-215900"/>
            <a:endParaRPr lang="de-DE" dirty="0"/>
          </a:p>
          <a:p>
            <a:pPr marL="215900" indent="-215900"/>
            <a:r>
              <a:rPr lang="de-DE" dirty="0"/>
              <a:t>Eine amerikanische Option kann jederzeit während der Laufzeit ausgeübt werden. Sie bietet am meisten Flexibilität.</a:t>
            </a:r>
            <a:endParaRPr lang="en-US" dirty="0"/>
          </a:p>
          <a:p>
            <a:pPr marL="215900" indent="-215900"/>
            <a:endParaRPr lang="de-DE" dirty="0"/>
          </a:p>
          <a:p>
            <a:pPr marL="215900" indent="-215900"/>
            <a:r>
              <a:rPr lang="de-DE" dirty="0"/>
              <a:t>Eine Bermuda-Option kann zu festgelegten Fälligkeitsterminen ausgeübt werden. Es handelt sich um eine Mischform zwischen der amerikanischen und der europäischen Option.</a:t>
            </a:r>
            <a:endParaRPr lang="en-US" dirty="0"/>
          </a:p>
          <a:p>
            <a:pPr marL="215900" indent="-215900"/>
            <a:endParaRPr lang="de-DE" dirty="0"/>
          </a:p>
          <a:p>
            <a:pPr marL="215900" indent="-215900"/>
            <a:r>
              <a:rPr lang="de-DE" dirty="0"/>
              <a:t>Eine europäische Option kann nur zum festgelegten Auslauftermin ausgeübt werden.</a:t>
            </a:r>
          </a:p>
        </p:txBody>
      </p:sp>
      <p:sp>
        <p:nvSpPr>
          <p:cNvPr id="4" name="Foliennummernplatzhalter 3"/>
          <p:cNvSpPr>
            <a:spLocks noGrp="1"/>
          </p:cNvSpPr>
          <p:nvPr>
            <p:ph type="sldNum" sz="quarter" idx="5"/>
          </p:nvPr>
        </p:nvSpPr>
        <p:spPr/>
        <p:txBody>
          <a:bodyPr/>
          <a:lstStyle/>
          <a:p>
            <a:fld id="{E7CC5797-8412-4050-BB86-6F6420888D01}" type="slidenum">
              <a:rPr lang="de-DE" smtClean="0"/>
              <a:t>31</a:t>
            </a:fld>
            <a:endParaRPr lang="de-DE"/>
          </a:p>
        </p:txBody>
      </p:sp>
    </p:spTree>
    <p:extLst>
      <p:ext uri="{BB962C8B-B14F-4D97-AF65-F5344CB8AC3E}">
        <p14:creationId xmlns:p14="http://schemas.microsoft.com/office/powerpoint/2010/main" val="8363841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err="1"/>
              <a:t>Worst</a:t>
            </a:r>
            <a:r>
              <a:rPr lang="de-DE" dirty="0"/>
              <a:t> </a:t>
            </a:r>
            <a:r>
              <a:rPr lang="de-DE" dirty="0" err="1"/>
              <a:t>case</a:t>
            </a:r>
            <a:r>
              <a:rPr lang="de-DE" dirty="0"/>
              <a:t> für Käufer (Long): Option wird nicht ausgeübt, lediglich Optionsprämie verloren</a:t>
            </a:r>
            <a:endParaRPr lang="en-US" dirty="0"/>
          </a:p>
          <a:p>
            <a:pPr marL="215900" indent="-215900"/>
            <a:endParaRPr lang="de-DE" dirty="0"/>
          </a:p>
          <a:p>
            <a:pPr marL="215900" indent="-215900"/>
            <a:r>
              <a:rPr lang="de-DE" dirty="0" err="1"/>
              <a:t>Worst</a:t>
            </a:r>
            <a:r>
              <a:rPr lang="de-DE" dirty="0"/>
              <a:t> </a:t>
            </a:r>
            <a:r>
              <a:rPr lang="de-DE" dirty="0" err="1"/>
              <a:t>case</a:t>
            </a:r>
            <a:r>
              <a:rPr lang="de-DE" dirty="0"/>
              <a:t> für Verkäufer (Short): Underlying muss zu ausgemachtem Preis verkauft werden, auch wenn der Marktpreis viel höher liegt -&gt; unbegrenzte Verlustmöglichkeit</a:t>
            </a:r>
          </a:p>
        </p:txBody>
      </p:sp>
      <p:sp>
        <p:nvSpPr>
          <p:cNvPr id="4" name="Foliennummernplatzhalter 3"/>
          <p:cNvSpPr>
            <a:spLocks noGrp="1"/>
          </p:cNvSpPr>
          <p:nvPr>
            <p:ph type="sldNum" sz="quarter" idx="5"/>
          </p:nvPr>
        </p:nvSpPr>
        <p:spPr/>
        <p:txBody>
          <a:bodyPr/>
          <a:lstStyle/>
          <a:p>
            <a:fld id="{E7CC5797-8412-4050-BB86-6F6420888D01}" type="slidenum">
              <a:rPr lang="de-DE" smtClean="0"/>
              <a:t>32</a:t>
            </a:fld>
            <a:endParaRPr lang="de-DE"/>
          </a:p>
        </p:txBody>
      </p:sp>
    </p:spTree>
    <p:extLst>
      <p:ext uri="{BB962C8B-B14F-4D97-AF65-F5344CB8AC3E}">
        <p14:creationId xmlns:p14="http://schemas.microsoft.com/office/powerpoint/2010/main" val="2209064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err="1"/>
              <a:t>Worst</a:t>
            </a:r>
            <a:r>
              <a:rPr lang="de-DE" dirty="0"/>
              <a:t> </a:t>
            </a:r>
            <a:r>
              <a:rPr lang="de-DE" dirty="0" err="1"/>
              <a:t>case</a:t>
            </a:r>
            <a:r>
              <a:rPr lang="de-DE" dirty="0"/>
              <a:t> für Käufer (Long): Option wird nicht ausgeübt, lediglich Optionsprämie verloren</a:t>
            </a:r>
            <a:endParaRPr lang="en-US" dirty="0"/>
          </a:p>
          <a:p>
            <a:pPr marL="215900" indent="-215900"/>
            <a:endParaRPr lang="de-DE" dirty="0"/>
          </a:p>
          <a:p>
            <a:pPr marL="215900" indent="-215900"/>
            <a:r>
              <a:rPr lang="de-DE" dirty="0" err="1"/>
              <a:t>Worst</a:t>
            </a:r>
            <a:r>
              <a:rPr lang="de-DE" dirty="0"/>
              <a:t> </a:t>
            </a:r>
            <a:r>
              <a:rPr lang="de-DE" dirty="0" err="1"/>
              <a:t>case</a:t>
            </a:r>
            <a:r>
              <a:rPr lang="de-DE" dirty="0"/>
              <a:t> für Verkäufer (Short): Underlying muss zu ausgemachtem Preis gekauft werden, auch wenn der Marktpreis viel tiefer liegt -&gt; Maximalverlust wenn Underlying wertlos geworde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33</a:t>
            </a:fld>
            <a:endParaRPr lang="de-DE"/>
          </a:p>
        </p:txBody>
      </p:sp>
    </p:spTree>
    <p:extLst>
      <p:ext uri="{BB962C8B-B14F-4D97-AF65-F5344CB8AC3E}">
        <p14:creationId xmlns:p14="http://schemas.microsoft.com/office/powerpoint/2010/main" val="3704377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b="1" dirty="0"/>
              <a:t>In </a:t>
            </a:r>
            <a:r>
              <a:rPr lang="de-DE" b="1" dirty="0" err="1"/>
              <a:t>the</a:t>
            </a:r>
            <a:r>
              <a:rPr lang="de-DE" b="1" dirty="0"/>
              <a:t> </a:t>
            </a:r>
            <a:r>
              <a:rPr lang="de-DE" b="1" dirty="0" err="1"/>
              <a:t>money</a:t>
            </a:r>
            <a:r>
              <a:rPr lang="de-DE" dirty="0"/>
              <a:t>: Die Option steht „im Geld“! Bei einem Call liegt der aktuelle Kurs des Basiswerts über dem Basispreis. Gleiches gilt für einen Put, dessen Basispreis über dem aktuellen Kurs des Underlying liegt. Es gibt einen inneren Wert. </a:t>
            </a:r>
          </a:p>
          <a:p>
            <a:pPr marL="215900" indent="-215900"/>
            <a:endParaRPr lang="de-DE" dirty="0"/>
          </a:p>
          <a:p>
            <a:pPr marL="215900" indent="-215900"/>
            <a:r>
              <a:rPr lang="de-DE" b="1" dirty="0"/>
              <a:t>At </a:t>
            </a:r>
            <a:r>
              <a:rPr lang="de-DE" b="1" dirty="0" err="1"/>
              <a:t>the</a:t>
            </a:r>
            <a:r>
              <a:rPr lang="de-DE" b="1" dirty="0"/>
              <a:t> </a:t>
            </a:r>
            <a:r>
              <a:rPr lang="de-DE" b="1" dirty="0" err="1"/>
              <a:t>money</a:t>
            </a:r>
            <a:r>
              <a:rPr lang="de-DE" dirty="0"/>
              <a:t>: Die Option steht „am Geld“! Der Basispreis entspricht dem aktuellen Kurs des Basiswerts.</a:t>
            </a:r>
          </a:p>
          <a:p>
            <a:pPr marL="215900" indent="-215900"/>
            <a:endParaRPr lang="de-DE" dirty="0"/>
          </a:p>
          <a:p>
            <a:pPr marL="215900" indent="-215900"/>
            <a:r>
              <a:rPr lang="de-DE" b="1" dirty="0"/>
              <a:t>Out </a:t>
            </a:r>
            <a:r>
              <a:rPr lang="de-DE" b="1" dirty="0" err="1"/>
              <a:t>of</a:t>
            </a:r>
            <a:r>
              <a:rPr lang="de-DE" b="1" dirty="0"/>
              <a:t> </a:t>
            </a:r>
            <a:r>
              <a:rPr lang="de-DE" b="1" dirty="0" err="1"/>
              <a:t>the</a:t>
            </a:r>
            <a:r>
              <a:rPr lang="de-DE" b="1" dirty="0"/>
              <a:t> </a:t>
            </a:r>
            <a:r>
              <a:rPr lang="de-DE" b="1" dirty="0" err="1"/>
              <a:t>money</a:t>
            </a:r>
            <a:r>
              <a:rPr lang="de-DE" dirty="0"/>
              <a:t>: Die Option steht „aus dem Geld“! Der Basiswert notiert unter, bzw. bei einem Put über dem Basispreis. Die Option hat keinen inneren Wert. </a:t>
            </a:r>
          </a:p>
        </p:txBody>
      </p:sp>
      <p:sp>
        <p:nvSpPr>
          <p:cNvPr id="4" name="Foliennummernplatzhalter 3"/>
          <p:cNvSpPr>
            <a:spLocks noGrp="1"/>
          </p:cNvSpPr>
          <p:nvPr>
            <p:ph type="sldNum" sz="quarter" idx="5"/>
          </p:nvPr>
        </p:nvSpPr>
        <p:spPr/>
        <p:txBody>
          <a:bodyPr/>
          <a:lstStyle/>
          <a:p>
            <a:fld id="{E7CC5797-8412-4050-BB86-6F6420888D01}" type="slidenum">
              <a:rPr lang="de-DE" smtClean="0"/>
              <a:t>34</a:t>
            </a:fld>
            <a:endParaRPr lang="de-DE"/>
          </a:p>
        </p:txBody>
      </p:sp>
    </p:spTree>
    <p:extLst>
      <p:ext uri="{BB962C8B-B14F-4D97-AF65-F5344CB8AC3E}">
        <p14:creationId xmlns:p14="http://schemas.microsoft.com/office/powerpoint/2010/main" val="3446371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Preis und Preisentwicklung bei Optionen hängen ab</a:t>
            </a:r>
            <a:endParaRPr lang="en-US" dirty="0"/>
          </a:p>
          <a:p>
            <a:pPr marL="215900" indent="-215900"/>
            <a:r>
              <a:rPr lang="de-DE" b="1" dirty="0"/>
              <a:t> </a:t>
            </a:r>
            <a:r>
              <a:rPr lang="de-DE" dirty="0"/>
              <a:t>- vom Verhältnis des Kassakurses des Basiswertes zum Basispreis der Option</a:t>
            </a:r>
            <a:endParaRPr lang="en-US" dirty="0"/>
          </a:p>
          <a:p>
            <a:pPr marL="215900" indent="-215900"/>
            <a:r>
              <a:rPr lang="de-DE" dirty="0"/>
              <a:t> - vom Zinsniveau</a:t>
            </a:r>
            <a:endParaRPr lang="en-US" dirty="0"/>
          </a:p>
          <a:p>
            <a:pPr marL="215900" indent="-215900"/>
            <a:r>
              <a:rPr lang="de-DE" dirty="0"/>
              <a:t> - von der impliziten Volatilität, d.h. von der erwarteten Kursschwankungsintensivität des Basiswerts</a:t>
            </a:r>
            <a:endParaRPr lang="en-US" dirty="0"/>
          </a:p>
          <a:p>
            <a:pPr marL="215900" indent="-215900"/>
            <a:r>
              <a:rPr lang="de-DE" dirty="0"/>
              <a:t> - von der Restlaufzeit der Option</a:t>
            </a:r>
            <a:endParaRPr lang="en-US" dirty="0"/>
          </a:p>
          <a:p>
            <a:pPr marL="215900" indent="-215900"/>
            <a:endParaRPr lang="de-DE" dirty="0"/>
          </a:p>
          <a:p>
            <a:pPr marL="215900" indent="-215900"/>
            <a:r>
              <a:rPr lang="de-DE" dirty="0"/>
              <a:t>Der theoretisch richtige oder faire Preis für Optionen (Fair Value) ist derjenige Preis, der keinen der Beteiligten übervorteilt. Er setzt sich aus dem Inneren Wert und dem Zeitwert zusamme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36</a:t>
            </a:fld>
            <a:endParaRPr lang="de-DE"/>
          </a:p>
        </p:txBody>
      </p:sp>
    </p:spTree>
    <p:extLst>
      <p:ext uri="{BB962C8B-B14F-4D97-AF65-F5344CB8AC3E}">
        <p14:creationId xmlns:p14="http://schemas.microsoft.com/office/powerpoint/2010/main" val="283357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Preis und Preisentwicklung bei Optionen hängen ab</a:t>
            </a:r>
            <a:endParaRPr lang="en-US" dirty="0"/>
          </a:p>
          <a:p>
            <a:pPr marL="215900" indent="-215900"/>
            <a:r>
              <a:rPr lang="de-DE" b="1" dirty="0"/>
              <a:t> </a:t>
            </a:r>
            <a:r>
              <a:rPr lang="de-DE" dirty="0"/>
              <a:t>- vom Verhältnis des Kassakurses des Basiswertes zum Basispreis der Option</a:t>
            </a:r>
            <a:endParaRPr lang="en-US" dirty="0"/>
          </a:p>
          <a:p>
            <a:pPr marL="215900" indent="-215900"/>
            <a:r>
              <a:rPr lang="de-DE" dirty="0"/>
              <a:t> - vom Zinsniveau</a:t>
            </a:r>
            <a:endParaRPr lang="en-US" dirty="0"/>
          </a:p>
          <a:p>
            <a:pPr marL="215900" indent="-215900"/>
            <a:r>
              <a:rPr lang="de-DE" dirty="0"/>
              <a:t> - von der impliziten Volatilität, d.h. von der erwarteten Kursschwankungsintensivität des Basiswerts</a:t>
            </a:r>
            <a:endParaRPr lang="en-US" dirty="0"/>
          </a:p>
          <a:p>
            <a:pPr marL="215900" indent="-215900"/>
            <a:r>
              <a:rPr lang="de-DE" dirty="0"/>
              <a:t> - von der Restlaufzeit der Option</a:t>
            </a:r>
            <a:endParaRPr lang="en-US" dirty="0"/>
          </a:p>
          <a:p>
            <a:pPr marL="215900" indent="-215900"/>
            <a:endParaRPr lang="de-DE" dirty="0"/>
          </a:p>
          <a:p>
            <a:pPr marL="215900" indent="-215900"/>
            <a:r>
              <a:rPr lang="de-DE" dirty="0"/>
              <a:t>Der theoretisch richtige oder faire Preis für Optionen (Fair Value) ist derjenige Preis, der keinen der Beteiligten übervorteilt. Er setzt sich aus dem Inneren Wert und dem Zeitwert zusamme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37</a:t>
            </a:fld>
            <a:endParaRPr lang="de-DE"/>
          </a:p>
        </p:txBody>
      </p:sp>
    </p:spTree>
    <p:extLst>
      <p:ext uri="{BB962C8B-B14F-4D97-AF65-F5344CB8AC3E}">
        <p14:creationId xmlns:p14="http://schemas.microsoft.com/office/powerpoint/2010/main" val="1114615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360"/>
              </a:spcBef>
            </a:pPr>
            <a:r>
              <a:rPr lang="de-DE" b="1" dirty="0"/>
              <a:t>Eine Put-Option verbrieft</a:t>
            </a:r>
            <a:endParaRPr lang="de-DE" dirty="0"/>
          </a:p>
          <a:p>
            <a:pPr>
              <a:spcBef>
                <a:spcPts val="360"/>
              </a:spcBef>
            </a:pPr>
            <a:r>
              <a:rPr lang="de-DE" dirty="0"/>
              <a:t>Ein Verkaufsrecht auf einen Basiswert (zum Basispreis)</a:t>
            </a:r>
          </a:p>
          <a:p>
            <a:pPr>
              <a:spcBef>
                <a:spcPts val="360"/>
              </a:spcBef>
            </a:pPr>
            <a:r>
              <a:rPr lang="de-DE" dirty="0"/>
              <a:t>Ein Verkaufsrecht auf ein Underlying (zum </a:t>
            </a:r>
            <a:r>
              <a:rPr lang="de-DE" dirty="0" err="1"/>
              <a:t>Strikepreis</a:t>
            </a:r>
            <a:r>
              <a:rPr lang="de-DE" dirty="0"/>
              <a:t>)</a:t>
            </a:r>
          </a:p>
          <a:p>
            <a:endParaRPr lang="de-DE" dirty="0"/>
          </a:p>
          <a:p>
            <a:pPr>
              <a:spcBef>
                <a:spcPts val="360"/>
              </a:spcBef>
            </a:pPr>
            <a:r>
              <a:rPr lang="de-DE" b="1" dirty="0"/>
              <a:t>Notiert der Kassakurs eines Basiswerts über dem Basispreis, so befindet sich eine Call-Option</a:t>
            </a:r>
            <a:endParaRPr lang="de-DE" dirty="0"/>
          </a:p>
          <a:p>
            <a:pPr>
              <a:spcBef>
                <a:spcPts val="360"/>
              </a:spcBef>
            </a:pPr>
            <a:r>
              <a:rPr lang="de-DE" dirty="0"/>
              <a:t>im Geld</a:t>
            </a:r>
          </a:p>
        </p:txBody>
      </p:sp>
      <p:sp>
        <p:nvSpPr>
          <p:cNvPr id="4" name="Foliennummernplatzhalter 3"/>
          <p:cNvSpPr>
            <a:spLocks noGrp="1"/>
          </p:cNvSpPr>
          <p:nvPr>
            <p:ph type="sldNum" sz="quarter" idx="5"/>
          </p:nvPr>
        </p:nvSpPr>
        <p:spPr/>
        <p:txBody>
          <a:bodyPr/>
          <a:lstStyle/>
          <a:p>
            <a:fld id="{E7CC5797-8412-4050-BB86-6F6420888D01}" type="slidenum">
              <a:rPr lang="de-DE" smtClean="0"/>
              <a:t>41</a:t>
            </a:fld>
            <a:endParaRPr lang="de-DE"/>
          </a:p>
        </p:txBody>
      </p:sp>
    </p:spTree>
    <p:extLst>
      <p:ext uri="{BB962C8B-B14F-4D97-AF65-F5344CB8AC3E}">
        <p14:creationId xmlns:p14="http://schemas.microsoft.com/office/powerpoint/2010/main" val="1326131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rsprung der Termingeschäfte: Landwirtschaft, bis heute viel genutztes Instrument -&gt; Individuelle, nicht börslich gehandelte Verträge heutzutage Forwards genannt</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11</a:t>
            </a:fld>
            <a:endParaRPr lang="de-DE"/>
          </a:p>
        </p:txBody>
      </p:sp>
    </p:spTree>
    <p:extLst>
      <p:ext uri="{BB962C8B-B14F-4D97-AF65-F5344CB8AC3E}">
        <p14:creationId xmlns:p14="http://schemas.microsoft.com/office/powerpoint/2010/main" val="41841723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360"/>
              </a:spcBef>
            </a:pPr>
            <a:endParaRPr lang="de-DE" b="1" dirty="0">
              <a:cs typeface="Calibri"/>
            </a:endParaRPr>
          </a:p>
        </p:txBody>
      </p:sp>
      <p:sp>
        <p:nvSpPr>
          <p:cNvPr id="4" name="Foliennummernplatzhalter 3"/>
          <p:cNvSpPr>
            <a:spLocks noGrp="1"/>
          </p:cNvSpPr>
          <p:nvPr>
            <p:ph type="sldNum" sz="quarter" idx="5"/>
          </p:nvPr>
        </p:nvSpPr>
        <p:spPr/>
        <p:txBody>
          <a:bodyPr/>
          <a:lstStyle/>
          <a:p>
            <a:fld id="{E7CC5797-8412-4050-BB86-6F6420888D01}" type="slidenum">
              <a:rPr lang="de-DE" smtClean="0"/>
              <a:t>43</a:t>
            </a:fld>
            <a:endParaRPr lang="de-DE"/>
          </a:p>
        </p:txBody>
      </p:sp>
    </p:spTree>
    <p:extLst>
      <p:ext uri="{BB962C8B-B14F-4D97-AF65-F5344CB8AC3E}">
        <p14:creationId xmlns:p14="http://schemas.microsoft.com/office/powerpoint/2010/main" val="1815300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Retail Produkte für Privatkunden: Abbilden teils sehr komplizierter Strategien &amp; Erweiterung Anlageuniversum (Extrem große Auswahl an Produkten)</a:t>
            </a:r>
            <a:endParaRPr lang="en-US" dirty="0"/>
          </a:p>
          <a:p>
            <a:pPr marL="215900" indent="-215900"/>
            <a:endParaRPr lang="de-DE" dirty="0"/>
          </a:p>
          <a:p>
            <a:pPr marL="215900" indent="-215900"/>
            <a:r>
              <a:rPr lang="de-DE" dirty="0"/>
              <a:t>Im Kern Inhaberschuldverschreibungen = Fremdkapitalbeschaffung -&gt; </a:t>
            </a:r>
            <a:r>
              <a:rPr lang="de-DE" dirty="0" err="1"/>
              <a:t>Emmitentenrisiko</a:t>
            </a:r>
            <a:r>
              <a:rPr lang="de-DE" dirty="0"/>
              <a:t>, siehe nächste Folie (Lehman) </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44</a:t>
            </a:fld>
            <a:endParaRPr lang="de-DE"/>
          </a:p>
        </p:txBody>
      </p:sp>
    </p:spTree>
    <p:extLst>
      <p:ext uri="{BB962C8B-B14F-4D97-AF65-F5344CB8AC3E}">
        <p14:creationId xmlns:p14="http://schemas.microsoft.com/office/powerpoint/2010/main" val="34321905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Datenquelle: </a:t>
            </a:r>
            <a:r>
              <a:rPr lang="de-DE" dirty="0">
                <a:hlinkClick r:id="rId3"/>
              </a:rPr>
              <a:t>https://www.derivateverband.de/DEU/Statistiken/Marktvolumen</a:t>
            </a:r>
            <a:endParaRPr lang="de-DE" dirty="0"/>
          </a:p>
          <a:p>
            <a:pPr marL="215900" indent="-215900"/>
            <a:endParaRPr lang="de-DE" dirty="0"/>
          </a:p>
          <a:p>
            <a:pPr marL="215900" indent="-215900"/>
            <a:r>
              <a:rPr lang="de-DE" dirty="0"/>
              <a:t>Das </a:t>
            </a:r>
            <a:r>
              <a:rPr lang="de-DE" dirty="0" err="1"/>
              <a:t>Zertifikatevolumen</a:t>
            </a:r>
            <a:r>
              <a:rPr lang="de-DE" dirty="0"/>
              <a:t> stieg bis zum Ausbruch der Finanzkrise 2007 auf ein Volumen von fast 140 Mrd. Euro an.</a:t>
            </a:r>
            <a:endParaRPr lang="en-US" dirty="0"/>
          </a:p>
          <a:p>
            <a:pPr marL="215900" indent="-215900"/>
            <a:r>
              <a:rPr lang="de-DE" dirty="0"/>
              <a:t>Als vielen Anleger bewusst wurde, dass ein Emittentenrisiko eben doch Berücksichtigung finden muss, verlor die </a:t>
            </a:r>
            <a:r>
              <a:rPr lang="de-DE" dirty="0" err="1"/>
              <a:t>Zertifikatebranche</a:t>
            </a:r>
            <a:r>
              <a:rPr lang="de-DE" dirty="0"/>
              <a:t> viele Anleger und das Volumen ging auf etwa 80 Mrd. Euro zurück.</a:t>
            </a:r>
            <a:endParaRPr lang="en-US" dirty="0"/>
          </a:p>
          <a:p>
            <a:pPr marL="215900" indent="-215900"/>
            <a:r>
              <a:rPr lang="de-DE" dirty="0"/>
              <a:t>Seitdem konnten die 100 Mrd. Euro nicht mehr überschritten werden und durch das verstärkte Aufkommen von ETFs sind auch vermehrt Anlegergelder aus Zertifikaten in diese, durch Sondervermögen vor der Insolvenz des Emittenten geschützte, Fonds umgeschichtet worden.</a:t>
            </a:r>
            <a:endParaRPr lang="en-US" dirty="0"/>
          </a:p>
          <a:p>
            <a:pPr marL="215900" indent="-215900"/>
            <a:endParaRPr lang="de-DE" dirty="0"/>
          </a:p>
          <a:p>
            <a:pPr marL="215900" indent="-215900"/>
            <a:endParaRPr lang="de-DE" dirty="0"/>
          </a:p>
          <a:p>
            <a:pPr marL="215900" indent="-215900"/>
            <a:r>
              <a:rPr lang="de-DE" dirty="0"/>
              <a:t>Seit 2015: relativ konstant um 70 Mrd. Euro, unter anderem der großen Popularität von </a:t>
            </a:r>
            <a:r>
              <a:rPr lang="de-DE" dirty="0" err="1"/>
              <a:t>CFD‘s</a:t>
            </a:r>
            <a:r>
              <a:rPr lang="de-DE" dirty="0"/>
              <a:t> und ETFs geschuldet -&gt; Viel Öffentlichkeitsarbeit (e.g. Plus500, "Fondssparen",…)</a:t>
            </a:r>
            <a:endParaRPr lang="de-DE" dirty="0">
              <a:cs typeface="Calibri"/>
            </a:endParaRPr>
          </a:p>
        </p:txBody>
      </p:sp>
      <p:sp>
        <p:nvSpPr>
          <p:cNvPr id="4" name="Foliennummernplatzhalter 3"/>
          <p:cNvSpPr>
            <a:spLocks noGrp="1"/>
          </p:cNvSpPr>
          <p:nvPr>
            <p:ph type="sldNum" sz="quarter" idx="5"/>
          </p:nvPr>
        </p:nvSpPr>
        <p:spPr/>
        <p:txBody>
          <a:bodyPr/>
          <a:lstStyle/>
          <a:p>
            <a:fld id="{E7CC5797-8412-4050-BB86-6F6420888D01}" type="slidenum">
              <a:rPr lang="de-DE" smtClean="0"/>
              <a:t>47</a:t>
            </a:fld>
            <a:endParaRPr lang="de-DE"/>
          </a:p>
        </p:txBody>
      </p:sp>
    </p:spTree>
    <p:extLst>
      <p:ext uri="{BB962C8B-B14F-4D97-AF65-F5344CB8AC3E}">
        <p14:creationId xmlns:p14="http://schemas.microsoft.com/office/powerpoint/2010/main" val="3745881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b="1" u="sng" dirty="0"/>
              <a:t>Für einen besseren Überblick kann man Zertifikate in 2 Gruppen einteilen:</a:t>
            </a:r>
            <a:endParaRPr lang="de-DE" dirty="0"/>
          </a:p>
          <a:p>
            <a:pPr marL="215900" indent="-215900"/>
            <a:r>
              <a:rPr lang="de-DE" dirty="0"/>
              <a:t> </a:t>
            </a:r>
            <a:endParaRPr lang="en-US" dirty="0"/>
          </a:p>
          <a:p>
            <a:pPr marL="215900" indent="-215900"/>
            <a:r>
              <a:rPr lang="de-DE" dirty="0"/>
              <a:t> </a:t>
            </a:r>
            <a:endParaRPr lang="en-US" dirty="0"/>
          </a:p>
          <a:p>
            <a:pPr marL="215900" indent="-215900"/>
            <a:r>
              <a:rPr lang="de-DE" b="1" dirty="0"/>
              <a:t>Partizipationszertifikate</a:t>
            </a:r>
            <a:r>
              <a:rPr lang="de-DE" dirty="0"/>
              <a:t> </a:t>
            </a:r>
            <a:endParaRPr lang="en-US" dirty="0"/>
          </a:p>
          <a:p>
            <a:pPr marL="215900" indent="-215900"/>
            <a:r>
              <a:rPr lang="de-DE" dirty="0"/>
              <a:t>Beispiele</a:t>
            </a:r>
            <a:endParaRPr lang="en-US" dirty="0"/>
          </a:p>
          <a:p>
            <a:pPr marL="215900" indent="-215900"/>
            <a:r>
              <a:rPr lang="de-DE" dirty="0"/>
              <a:t>Index-, Basket-Zertifikate </a:t>
            </a:r>
            <a:endParaRPr lang="en-US" dirty="0"/>
          </a:p>
          <a:p>
            <a:pPr marL="215900" indent="-215900"/>
            <a:endParaRPr lang="de-DE" dirty="0"/>
          </a:p>
          <a:p>
            <a:pPr marL="215900" indent="-215900"/>
            <a:r>
              <a:rPr lang="de-DE" b="1" dirty="0"/>
              <a:t>Zertifikate mit definiertem Rückzahlungsprofil</a:t>
            </a:r>
            <a:endParaRPr lang="de-DE" dirty="0"/>
          </a:p>
          <a:p>
            <a:pPr marL="215900" indent="-215900"/>
            <a:r>
              <a:rPr lang="de-DE" dirty="0"/>
              <a:t>Discount-, Bonus-, Outperformance-, Express-Zertifikate</a:t>
            </a:r>
            <a:endParaRPr lang="en-US" dirty="0"/>
          </a:p>
          <a:p>
            <a:pPr marL="215900" indent="-215900"/>
            <a:r>
              <a:rPr lang="de-DE" dirty="0"/>
              <a:t> </a:t>
            </a:r>
            <a:endParaRPr lang="en-US" dirty="0"/>
          </a:p>
          <a:p>
            <a:pPr marL="215900" indent="-215900"/>
            <a:r>
              <a:rPr lang="de-DE" dirty="0"/>
              <a:t>Es gibt fast unzählbar viele Möglichkeiten derivative Strategien in Inhaberschuldverschreibungen zu verpacken und so Zertifikate zu basteln, denn mit einem Zertifikat kann man jede nur denkbare Börsenstrategie abbilden.</a:t>
            </a:r>
            <a:endParaRPr lang="en-US" dirty="0"/>
          </a:p>
          <a:p>
            <a:pPr marL="215900" indent="-215900"/>
            <a:endParaRPr lang="de-DE" dirty="0"/>
          </a:p>
          <a:p>
            <a:pPr marL="215900" indent="-215900"/>
            <a:r>
              <a:rPr lang="de-DE" dirty="0"/>
              <a:t>Wie stark man mit den in den Zertifikaten verpackten Derivaten hebelt, hängt von den gewählten derivativen Produkten ab. Den Möglichkeiten sind hier keine Grenzen gesetzt. Folie 31 wiederholt noch einmal den wichtigen Unterschied zwischen den traditionellen Anlageprodukten und den Hebelprodukten, die durch einen geringeren Kapitaleinsatz über derivative Finanzprodukte ermöglicht werde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48</a:t>
            </a:fld>
            <a:endParaRPr lang="de-DE"/>
          </a:p>
        </p:txBody>
      </p:sp>
    </p:spTree>
    <p:extLst>
      <p:ext uri="{BB962C8B-B14F-4D97-AF65-F5344CB8AC3E}">
        <p14:creationId xmlns:p14="http://schemas.microsoft.com/office/powerpoint/2010/main" val="36158101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Im Prinzip dürfte die Hebelwirkung bereits im Bereich der Optionen deutlich geworden sein, doch weil sie für Zertifikate so wichtig ist, wird sie noch einmal kurz vereinfachend wiederholt:</a:t>
            </a:r>
            <a:endParaRPr lang="en-US" dirty="0"/>
          </a:p>
          <a:p>
            <a:pPr marL="215900" indent="-215900"/>
            <a:endParaRPr lang="de-DE" dirty="0"/>
          </a:p>
          <a:p>
            <a:pPr marL="215900" indent="-215900"/>
            <a:r>
              <a:rPr lang="de-DE" dirty="0"/>
              <a:t>Vereinfachtes Bsp.: Wir gehen vom Ende der Optionsfrist aus (Zeitwert=0):</a:t>
            </a:r>
            <a:endParaRPr lang="en-US" dirty="0"/>
          </a:p>
          <a:p>
            <a:pPr marL="215900" indent="-215900"/>
            <a:r>
              <a:rPr lang="de-DE" dirty="0"/>
              <a:t> </a:t>
            </a:r>
            <a:endParaRPr lang="en-US" dirty="0"/>
          </a:p>
          <a:p>
            <a:pPr marL="215900" indent="-215900"/>
            <a:r>
              <a:rPr lang="de-DE" dirty="0"/>
              <a:t>Underlying: 100 €</a:t>
            </a:r>
            <a:endParaRPr lang="en-US" dirty="0"/>
          </a:p>
          <a:p>
            <a:pPr marL="215900" indent="-215900"/>
            <a:r>
              <a:rPr lang="de-DE" dirty="0"/>
              <a:t>Strike: 90 €</a:t>
            </a:r>
            <a:endParaRPr lang="en-US" dirty="0"/>
          </a:p>
          <a:p>
            <a:pPr marL="215900" indent="-215900"/>
            <a:r>
              <a:rPr lang="de-DE" dirty="0"/>
              <a:t>Wert der Option: 10€, denn mit 10€ kann ich eine 100€-Aktie für 90€ kaufen.</a:t>
            </a:r>
            <a:endParaRPr lang="en-US" dirty="0"/>
          </a:p>
          <a:p>
            <a:pPr marL="215900" indent="-215900"/>
            <a:r>
              <a:rPr lang="de-DE" dirty="0"/>
              <a:t> </a:t>
            </a:r>
            <a:endParaRPr lang="en-US" dirty="0"/>
          </a:p>
          <a:p>
            <a:pPr marL="215900" indent="-215900"/>
            <a:r>
              <a:rPr lang="de-DE" dirty="0"/>
              <a:t>Underlying steigt um 10% auf 110</a:t>
            </a:r>
            <a:endParaRPr lang="en-US" dirty="0"/>
          </a:p>
          <a:p>
            <a:pPr marL="215900" indent="-215900"/>
            <a:r>
              <a:rPr lang="de-DE" dirty="0"/>
              <a:t>Option steigt von 10€ auf 20€ (100%)</a:t>
            </a:r>
            <a:endParaRPr lang="en-US" dirty="0"/>
          </a:p>
          <a:p>
            <a:pPr marL="215900" indent="-215900"/>
            <a:r>
              <a:rPr lang="de-DE" dirty="0"/>
              <a:t>100€ in Optionen investieren -&gt; man erhält 200€; 100€ in Underlying investieren -&gt; man erhält 110€</a:t>
            </a:r>
            <a:endParaRPr lang="en-US" dirty="0"/>
          </a:p>
          <a:p>
            <a:pPr marL="215900" indent="-215900"/>
            <a:endParaRPr lang="de-DE" dirty="0"/>
          </a:p>
          <a:p>
            <a:pPr marL="215900" indent="-215900"/>
            <a:r>
              <a:rPr lang="de-DE" dirty="0"/>
              <a:t>Aber Vorsicht: der Hebel funktioniert natürlich auch in den negativen Bereich hinein!</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49</a:t>
            </a:fld>
            <a:endParaRPr lang="de-DE"/>
          </a:p>
        </p:txBody>
      </p:sp>
    </p:spTree>
    <p:extLst>
      <p:ext uri="{BB962C8B-B14F-4D97-AF65-F5344CB8AC3E}">
        <p14:creationId xmlns:p14="http://schemas.microsoft.com/office/powerpoint/2010/main" val="2129908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etails zu den </a:t>
            </a:r>
            <a:r>
              <a:rPr lang="de-DE" dirty="0" err="1"/>
              <a:t>Zertifikatetypen</a:t>
            </a:r>
            <a:r>
              <a:rPr lang="de-DE" dirty="0"/>
              <a:t> im Dokument Hintergrundinformationen</a:t>
            </a:r>
          </a:p>
        </p:txBody>
      </p:sp>
      <p:sp>
        <p:nvSpPr>
          <p:cNvPr id="4" name="Foliennummernplatzhalter 3"/>
          <p:cNvSpPr>
            <a:spLocks noGrp="1"/>
          </p:cNvSpPr>
          <p:nvPr>
            <p:ph type="sldNum" sz="quarter" idx="5"/>
          </p:nvPr>
        </p:nvSpPr>
        <p:spPr/>
        <p:txBody>
          <a:bodyPr/>
          <a:lstStyle/>
          <a:p>
            <a:fld id="{E7CC5797-8412-4050-BB86-6F6420888D01}" type="slidenum">
              <a:rPr lang="de-DE" smtClean="0"/>
              <a:t>50</a:t>
            </a:fld>
            <a:endParaRPr lang="de-DE"/>
          </a:p>
        </p:txBody>
      </p:sp>
    </p:spTree>
    <p:extLst>
      <p:ext uri="{BB962C8B-B14F-4D97-AF65-F5344CB8AC3E}">
        <p14:creationId xmlns:p14="http://schemas.microsoft.com/office/powerpoint/2010/main" val="35563563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etails zu den </a:t>
            </a:r>
            <a:r>
              <a:rPr lang="de-DE" dirty="0" err="1"/>
              <a:t>Zertifikatetypen</a:t>
            </a:r>
            <a:r>
              <a:rPr lang="de-DE" dirty="0"/>
              <a:t> im Dokument Hintergrundinformationen</a:t>
            </a:r>
          </a:p>
          <a:p>
            <a:endParaRPr lang="de-DE" dirty="0"/>
          </a:p>
        </p:txBody>
      </p:sp>
      <p:sp>
        <p:nvSpPr>
          <p:cNvPr id="4" name="Foliennummernplatzhalter 3"/>
          <p:cNvSpPr>
            <a:spLocks noGrp="1"/>
          </p:cNvSpPr>
          <p:nvPr>
            <p:ph type="sldNum" sz="quarter" idx="5"/>
          </p:nvPr>
        </p:nvSpPr>
        <p:spPr/>
        <p:txBody>
          <a:bodyPr/>
          <a:lstStyle/>
          <a:p>
            <a:fld id="{E7CC5797-8412-4050-BB86-6F6420888D01}" type="slidenum">
              <a:rPr lang="de-DE" smtClean="0"/>
              <a:t>51</a:t>
            </a:fld>
            <a:endParaRPr lang="de-DE"/>
          </a:p>
        </p:txBody>
      </p:sp>
    </p:spTree>
    <p:extLst>
      <p:ext uri="{BB962C8B-B14F-4D97-AF65-F5344CB8AC3E}">
        <p14:creationId xmlns:p14="http://schemas.microsoft.com/office/powerpoint/2010/main" val="1380462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etails zu den </a:t>
            </a:r>
            <a:r>
              <a:rPr lang="de-DE" dirty="0" err="1"/>
              <a:t>Zertifikatetypen</a:t>
            </a:r>
            <a:r>
              <a:rPr lang="de-DE" dirty="0"/>
              <a:t> im Dokument Hintergrundinformationen</a:t>
            </a:r>
          </a:p>
          <a:p>
            <a:endParaRPr lang="de-DE" dirty="0"/>
          </a:p>
        </p:txBody>
      </p:sp>
      <p:sp>
        <p:nvSpPr>
          <p:cNvPr id="4" name="Foliennummernplatzhalter 3"/>
          <p:cNvSpPr>
            <a:spLocks noGrp="1"/>
          </p:cNvSpPr>
          <p:nvPr>
            <p:ph type="sldNum" sz="quarter" idx="5"/>
          </p:nvPr>
        </p:nvSpPr>
        <p:spPr/>
        <p:txBody>
          <a:bodyPr/>
          <a:lstStyle/>
          <a:p>
            <a:fld id="{E7CC5797-8412-4050-BB86-6F6420888D01}" type="slidenum">
              <a:rPr lang="de-DE" smtClean="0"/>
              <a:t>52</a:t>
            </a:fld>
            <a:endParaRPr lang="de-DE"/>
          </a:p>
        </p:txBody>
      </p:sp>
    </p:spTree>
    <p:extLst>
      <p:ext uri="{BB962C8B-B14F-4D97-AF65-F5344CB8AC3E}">
        <p14:creationId xmlns:p14="http://schemas.microsoft.com/office/powerpoint/2010/main" val="15816135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äufig auch von unseriösen Anbietern online empfohlen, Vorsicht für Privatanleger ist geboten!</a:t>
            </a:r>
          </a:p>
        </p:txBody>
      </p:sp>
      <p:sp>
        <p:nvSpPr>
          <p:cNvPr id="4" name="Foliennummernplatzhalter 3"/>
          <p:cNvSpPr>
            <a:spLocks noGrp="1"/>
          </p:cNvSpPr>
          <p:nvPr>
            <p:ph type="sldNum" sz="quarter" idx="5"/>
          </p:nvPr>
        </p:nvSpPr>
        <p:spPr/>
        <p:txBody>
          <a:bodyPr/>
          <a:lstStyle/>
          <a:p>
            <a:fld id="{E7CC5797-8412-4050-BB86-6F6420888D01}" type="slidenum">
              <a:rPr lang="de-DE" smtClean="0"/>
              <a:t>53</a:t>
            </a:fld>
            <a:endParaRPr lang="de-DE"/>
          </a:p>
        </p:txBody>
      </p:sp>
    </p:spTree>
    <p:extLst>
      <p:ext uri="{BB962C8B-B14F-4D97-AF65-F5344CB8AC3E}">
        <p14:creationId xmlns:p14="http://schemas.microsoft.com/office/powerpoint/2010/main" val="7722477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360"/>
              </a:spcBef>
            </a:pPr>
            <a:r>
              <a:rPr lang="de-DE" b="1" dirty="0"/>
              <a:t>Bei Garantiezertifikaten</a:t>
            </a:r>
            <a:endParaRPr lang="de-DE" dirty="0"/>
          </a:p>
          <a:p>
            <a:r>
              <a:rPr lang="de-DE" dirty="0"/>
              <a:t>handelt es sich um Inhaberschuldverschreibungen</a:t>
            </a:r>
          </a:p>
          <a:p>
            <a:r>
              <a:rPr lang="de-DE" dirty="0"/>
              <a:t>(siehe Folie 37)</a:t>
            </a:r>
          </a:p>
          <a:p>
            <a:endParaRPr lang="de-DE" dirty="0"/>
          </a:p>
          <a:p>
            <a:pPr>
              <a:spcBef>
                <a:spcPts val="360"/>
              </a:spcBef>
            </a:pPr>
            <a:r>
              <a:rPr lang="de-DE" b="1" dirty="0"/>
              <a:t>Bei Differenzkontrakten</a:t>
            </a:r>
            <a:endParaRPr lang="de-DE" dirty="0"/>
          </a:p>
          <a:p>
            <a:pPr>
              <a:spcBef>
                <a:spcPts val="360"/>
              </a:spcBef>
            </a:pPr>
            <a:r>
              <a:rPr lang="de-DE" dirty="0"/>
              <a:t>kann der Verlust über den Einsatz (Margin) hinausgehen</a:t>
            </a:r>
          </a:p>
          <a:p>
            <a:r>
              <a:rPr lang="de-DE" dirty="0"/>
              <a:t>Anm.: seit 10.08.17 (BaFin Beschluss) kann der Verlust jedoch nicht mehr über das Kontokapital hinausgehen (kein negativer Kontostand mehr möglich)</a:t>
            </a:r>
          </a:p>
          <a:p>
            <a:r>
              <a:rPr lang="de-DE" dirty="0"/>
              <a:t>Vergl. </a:t>
            </a:r>
            <a:r>
              <a:rPr lang="de-DE" dirty="0">
                <a:hlinkClick r:id="rId3"/>
              </a:rPr>
              <a:t>http://www.spiegel.de/wirtschaft/unternehmen/franken-kurs-ingenieur-setzt-2800-und-verliert-280-000-euro-a-1023799.html</a:t>
            </a:r>
            <a:endParaRPr lang="de-DE" dirty="0"/>
          </a:p>
        </p:txBody>
      </p:sp>
      <p:sp>
        <p:nvSpPr>
          <p:cNvPr id="4" name="Foliennummernplatzhalter 3"/>
          <p:cNvSpPr>
            <a:spLocks noGrp="1"/>
          </p:cNvSpPr>
          <p:nvPr>
            <p:ph type="sldNum" sz="quarter" idx="5"/>
          </p:nvPr>
        </p:nvSpPr>
        <p:spPr/>
        <p:txBody>
          <a:bodyPr/>
          <a:lstStyle/>
          <a:p>
            <a:fld id="{E7CC5797-8412-4050-BB86-6F6420888D01}" type="slidenum">
              <a:rPr lang="de-DE" smtClean="0"/>
              <a:t>57</a:t>
            </a:fld>
            <a:endParaRPr lang="de-DE"/>
          </a:p>
        </p:txBody>
      </p:sp>
    </p:spTree>
    <p:extLst>
      <p:ext uri="{BB962C8B-B14F-4D97-AF65-F5344CB8AC3E}">
        <p14:creationId xmlns:p14="http://schemas.microsoft.com/office/powerpoint/2010/main" val="1326131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Unterscheidung nach </a:t>
            </a:r>
            <a:r>
              <a:rPr lang="de-DE" b="1" dirty="0"/>
              <a:t>Underlying</a:t>
            </a:r>
            <a:r>
              <a:rPr lang="de-DE" dirty="0"/>
              <a:t>: Finanzprodukte oder physische Rohstoffe</a:t>
            </a:r>
          </a:p>
        </p:txBody>
      </p:sp>
      <p:sp>
        <p:nvSpPr>
          <p:cNvPr id="4" name="Foliennummernplatzhalter 3"/>
          <p:cNvSpPr>
            <a:spLocks noGrp="1"/>
          </p:cNvSpPr>
          <p:nvPr>
            <p:ph type="sldNum" sz="quarter" idx="5"/>
          </p:nvPr>
        </p:nvSpPr>
        <p:spPr/>
        <p:txBody>
          <a:bodyPr/>
          <a:lstStyle/>
          <a:p>
            <a:fld id="{E7CC5797-8412-4050-BB86-6F6420888D01}" type="slidenum">
              <a:rPr lang="de-DE" smtClean="0"/>
              <a:t>12</a:t>
            </a:fld>
            <a:endParaRPr lang="de-DE"/>
          </a:p>
        </p:txBody>
      </p:sp>
    </p:spTree>
    <p:extLst>
      <p:ext uri="{BB962C8B-B14F-4D97-AF65-F5344CB8AC3E}">
        <p14:creationId xmlns:p14="http://schemas.microsoft.com/office/powerpoint/2010/main" val="338404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utzutage üblich: Finanzielles Settlement. Physische Lieferung üblicherweise nur bei Produzenten/Abnehmern der Rohstoffe</a:t>
            </a:r>
            <a:endParaRPr lang="de-DE" dirty="0">
              <a:cs typeface="Calibri" panose="020F0502020204030204"/>
            </a:endParaRPr>
          </a:p>
        </p:txBody>
      </p:sp>
      <p:sp>
        <p:nvSpPr>
          <p:cNvPr id="4" name="Foliennummernplatzhalter 3"/>
          <p:cNvSpPr>
            <a:spLocks noGrp="1"/>
          </p:cNvSpPr>
          <p:nvPr>
            <p:ph type="sldNum" sz="quarter" idx="5"/>
          </p:nvPr>
        </p:nvSpPr>
        <p:spPr/>
        <p:txBody>
          <a:bodyPr/>
          <a:lstStyle/>
          <a:p>
            <a:fld id="{E7CC5797-8412-4050-BB86-6F6420888D01}" type="slidenum">
              <a:rPr lang="de-DE" smtClean="0"/>
              <a:t>14</a:t>
            </a:fld>
            <a:endParaRPr lang="de-DE"/>
          </a:p>
        </p:txBody>
      </p:sp>
    </p:spTree>
    <p:extLst>
      <p:ext uri="{BB962C8B-B14F-4D97-AF65-F5344CB8AC3E}">
        <p14:creationId xmlns:p14="http://schemas.microsoft.com/office/powerpoint/2010/main" val="2518432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Verlust/Gewinnmöglichkeit quasi unbegrenzt</a:t>
            </a:r>
          </a:p>
        </p:txBody>
      </p:sp>
      <p:sp>
        <p:nvSpPr>
          <p:cNvPr id="4" name="Foliennummernplatzhalter 3"/>
          <p:cNvSpPr>
            <a:spLocks noGrp="1"/>
          </p:cNvSpPr>
          <p:nvPr>
            <p:ph type="sldNum" sz="quarter" idx="5"/>
          </p:nvPr>
        </p:nvSpPr>
        <p:spPr/>
        <p:txBody>
          <a:bodyPr/>
          <a:lstStyle/>
          <a:p>
            <a:fld id="{E7CC5797-8412-4050-BB86-6F6420888D01}" type="slidenum">
              <a:rPr lang="de-DE" smtClean="0"/>
              <a:t>15</a:t>
            </a:fld>
            <a:endParaRPr lang="de-DE"/>
          </a:p>
        </p:txBody>
      </p:sp>
    </p:spTree>
    <p:extLst>
      <p:ext uri="{BB962C8B-B14F-4D97-AF65-F5344CB8AC3E}">
        <p14:creationId xmlns:p14="http://schemas.microsoft.com/office/powerpoint/2010/main" val="13520198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Welche Bedingungen machen Futures interessant? -&gt; erwarteter Preisverfall &amp; Bedürfnis nach Planbarkeit</a:t>
            </a:r>
            <a:endParaRPr lang="en-US" dirty="0"/>
          </a:p>
          <a:p>
            <a:pPr marL="215900" indent="-215900"/>
            <a:endParaRPr lang="de-DE" dirty="0"/>
          </a:p>
          <a:p>
            <a:pPr marL="215900" indent="-215900"/>
            <a:r>
              <a:rPr lang="de-DE" dirty="0"/>
              <a:t>Weiteres Beispiel: Airline sichert sich gegen steigende Kerosinpreise ab</a:t>
            </a:r>
            <a:endParaRPr lang="en-US" dirty="0"/>
          </a:p>
        </p:txBody>
      </p:sp>
      <p:sp>
        <p:nvSpPr>
          <p:cNvPr id="4" name="Foliennummernplatzhalter 3"/>
          <p:cNvSpPr>
            <a:spLocks noGrp="1"/>
          </p:cNvSpPr>
          <p:nvPr>
            <p:ph type="sldNum" sz="quarter" idx="5"/>
          </p:nvPr>
        </p:nvSpPr>
        <p:spPr/>
        <p:txBody>
          <a:bodyPr/>
          <a:lstStyle/>
          <a:p>
            <a:fld id="{E7CC5797-8412-4050-BB86-6F6420888D01}" type="slidenum">
              <a:rPr lang="de-DE" smtClean="0"/>
              <a:t>16</a:t>
            </a:fld>
            <a:endParaRPr lang="de-DE"/>
          </a:p>
        </p:txBody>
      </p:sp>
    </p:spTree>
    <p:extLst>
      <p:ext uri="{BB962C8B-B14F-4D97-AF65-F5344CB8AC3E}">
        <p14:creationId xmlns:p14="http://schemas.microsoft.com/office/powerpoint/2010/main" val="2006429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a:t>Ob die weiter in der Zukunft liegenden Preise höher oder niedriger sind als aktuellere Preise (Kassapreise und näher liegende Terminpreise), hängt von den sog. </a:t>
            </a:r>
            <a:r>
              <a:rPr lang="de-DE" dirty="0" err="1"/>
              <a:t>Cost</a:t>
            </a:r>
            <a:r>
              <a:rPr lang="de-DE" dirty="0"/>
              <a:t>-</a:t>
            </a:r>
            <a:r>
              <a:rPr lang="de-DE" dirty="0" err="1"/>
              <a:t>of</a:t>
            </a:r>
            <a:r>
              <a:rPr lang="de-DE" dirty="0"/>
              <a:t>-Carry ab.</a:t>
            </a:r>
            <a:endParaRPr lang="en-US" dirty="0"/>
          </a:p>
          <a:p>
            <a:pPr marL="215900" indent="-215900"/>
            <a:r>
              <a:rPr lang="de-DE" dirty="0"/>
              <a:t>Man kann das Gut ja schon heute oder in der nächsten Zeit erwerben und bis zum Fälligkeitszeitpunkt lagern, anstelle es per Termin zu kaufen! Dies bringt Haltekosten (z.B. Lagerkosten) und Halteerträge (z.B. Dividende, wenn das Underlying eine Aktie ist) mit sich!</a:t>
            </a:r>
            <a:endParaRPr lang="en-US" dirty="0"/>
          </a:p>
          <a:p>
            <a:pPr marL="215900" indent="-215900"/>
            <a:endParaRPr lang="de-DE" dirty="0"/>
          </a:p>
          <a:p>
            <a:pPr marL="215900" indent="-215900"/>
            <a:r>
              <a:rPr lang="de-DE" dirty="0" err="1"/>
              <a:t>Cost</a:t>
            </a:r>
            <a:r>
              <a:rPr lang="de-DE" dirty="0"/>
              <a:t>-</a:t>
            </a:r>
            <a:r>
              <a:rPr lang="de-DE" dirty="0" err="1"/>
              <a:t>of</a:t>
            </a:r>
            <a:r>
              <a:rPr lang="de-DE" dirty="0"/>
              <a:t>-Carry = Haltekosten – Halteerträge -&gt; wenn die Halterträge überwiegen, ist der Terminpreis in ferner Zukunft günstiger als jener in naher Zukunft. (Beispielsweise</a:t>
            </a:r>
            <a:endParaRPr lang="en-US" dirty="0"/>
          </a:p>
          <a:p>
            <a:pPr marL="215900" indent="-215900"/>
            <a:endParaRPr lang="de-DE" dirty="0"/>
          </a:p>
          <a:p>
            <a:pPr marL="215900" indent="-215900"/>
            <a:r>
              <a:rPr lang="de-DE" dirty="0"/>
              <a:t>Es gilt (VEREINFACHT!): Terminkurs = Kassakurs + </a:t>
            </a:r>
            <a:r>
              <a:rPr lang="de-DE" dirty="0" err="1"/>
              <a:t>Cost</a:t>
            </a:r>
            <a:r>
              <a:rPr lang="de-DE" dirty="0"/>
              <a:t>-</a:t>
            </a:r>
            <a:r>
              <a:rPr lang="de-DE" dirty="0" err="1"/>
              <a:t>of</a:t>
            </a:r>
            <a:r>
              <a:rPr lang="de-DE" dirty="0"/>
              <a:t>-Carry</a:t>
            </a:r>
            <a:endParaRPr lang="en-US" dirty="0"/>
          </a:p>
          <a:p>
            <a:pPr marL="215900" indent="-215900"/>
            <a:endParaRPr lang="de-DE" dirty="0"/>
          </a:p>
          <a:p>
            <a:pPr marL="215900" indent="-215900"/>
            <a:r>
              <a:rPr lang="de-DE" dirty="0"/>
              <a:t>Der risikolose Zins beeinflusst sämtliche Bepreisungen am Markt. Dies ist schon mehrmals durchgedrungen (Präsentation 2). Hier ist ein Einfluss gegeben, weil der risikolose Zins zu den </a:t>
            </a:r>
            <a:r>
              <a:rPr lang="de-DE" dirty="0" err="1"/>
              <a:t>Cost</a:t>
            </a:r>
            <a:r>
              <a:rPr lang="de-DE" dirty="0"/>
              <a:t>-</a:t>
            </a:r>
            <a:r>
              <a:rPr lang="de-DE" dirty="0" err="1"/>
              <a:t>of</a:t>
            </a:r>
            <a:r>
              <a:rPr lang="de-DE" dirty="0"/>
              <a:t>-Carry zählt. Will ich heute schon kaufen und lagern, so verzichte ich darauf das Kapital stattdessen verzinslich anzulegen. Dieses Wissen beeinflusst die rationale Festsetzung eines Terminpreises !</a:t>
            </a:r>
          </a:p>
        </p:txBody>
      </p:sp>
      <p:sp>
        <p:nvSpPr>
          <p:cNvPr id="4" name="Foliennummernplatzhalter 3"/>
          <p:cNvSpPr>
            <a:spLocks noGrp="1"/>
          </p:cNvSpPr>
          <p:nvPr>
            <p:ph type="sldNum" sz="quarter" idx="5"/>
          </p:nvPr>
        </p:nvSpPr>
        <p:spPr/>
        <p:txBody>
          <a:bodyPr/>
          <a:lstStyle/>
          <a:p>
            <a:fld id="{E7CC5797-8412-4050-BB86-6F6420888D01}" type="slidenum">
              <a:rPr lang="de-DE" smtClean="0"/>
              <a:t>19</a:t>
            </a:fld>
            <a:endParaRPr lang="de-DE"/>
          </a:p>
        </p:txBody>
      </p:sp>
    </p:spTree>
    <p:extLst>
      <p:ext uri="{BB962C8B-B14F-4D97-AF65-F5344CB8AC3E}">
        <p14:creationId xmlns:p14="http://schemas.microsoft.com/office/powerpoint/2010/main" val="3964132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15900" indent="-215900"/>
            <a:r>
              <a:rPr lang="de-DE" dirty="0" err="1"/>
              <a:t>Contango</a:t>
            </a:r>
            <a:r>
              <a:rPr lang="de-DE" dirty="0"/>
              <a:t> bei physischen Futures beispielsweise aufgrund der </a:t>
            </a:r>
            <a:r>
              <a:rPr lang="de-DE" dirty="0" err="1"/>
              <a:t>Cost</a:t>
            </a:r>
            <a:r>
              <a:rPr lang="de-DE" dirty="0"/>
              <a:t>-</a:t>
            </a:r>
            <a:r>
              <a:rPr lang="de-DE" dirty="0" err="1"/>
              <a:t>of</a:t>
            </a:r>
            <a:r>
              <a:rPr lang="de-DE" dirty="0"/>
              <a:t>-Carry, Lagerung und Versicherung</a:t>
            </a:r>
            <a:endParaRPr lang="en-US" dirty="0"/>
          </a:p>
          <a:p>
            <a:pPr marL="215900" indent="-215900"/>
            <a:endParaRPr lang="de-DE" dirty="0"/>
          </a:p>
          <a:p>
            <a:pPr marL="215900" indent="-215900"/>
            <a:r>
              <a:rPr lang="de-DE" dirty="0"/>
              <a:t>Wenn Vorteil aus physischem Besitz des Underlyings: </a:t>
            </a:r>
            <a:r>
              <a:rPr lang="de-DE" dirty="0" err="1"/>
              <a:t>Backwardation</a:t>
            </a:r>
            <a:endParaRPr lang="de-DE" dirty="0"/>
          </a:p>
          <a:p>
            <a:pPr marL="215900" indent="-215900"/>
            <a:endParaRPr lang="de-DE" dirty="0"/>
          </a:p>
          <a:p>
            <a:pPr marL="215900" indent="-215900"/>
            <a:r>
              <a:rPr lang="de-DE" dirty="0"/>
              <a:t>-&gt; Zum Verfall entspricht der Preis eines Terminprodukts immer dem Kassapreis (für sofortige Lieferung)</a:t>
            </a:r>
            <a:endParaRPr lang="en-US" dirty="0"/>
          </a:p>
          <a:p>
            <a:pPr marL="215900" indent="-215900"/>
            <a:endParaRPr lang="de-DE" dirty="0"/>
          </a:p>
          <a:p>
            <a:pPr marL="215900" indent="-215900"/>
            <a:r>
              <a:rPr lang="de-DE" dirty="0"/>
              <a:t>Bildquelle: </a:t>
            </a:r>
            <a:r>
              <a:rPr lang="de-DE" dirty="0">
                <a:hlinkClick r:id="rId3"/>
              </a:rPr>
              <a:t>https://en.wikipedia.org/wiki/Contango#/media/File:Contangobackwardation.png</a:t>
            </a:r>
            <a:endParaRPr lang="de-DE" dirty="0"/>
          </a:p>
        </p:txBody>
      </p:sp>
      <p:sp>
        <p:nvSpPr>
          <p:cNvPr id="4" name="Foliennummernplatzhalter 3"/>
          <p:cNvSpPr>
            <a:spLocks noGrp="1"/>
          </p:cNvSpPr>
          <p:nvPr>
            <p:ph type="sldNum" sz="quarter" idx="5"/>
          </p:nvPr>
        </p:nvSpPr>
        <p:spPr/>
        <p:txBody>
          <a:bodyPr/>
          <a:lstStyle/>
          <a:p>
            <a:fld id="{E7CC5797-8412-4050-BB86-6F6420888D01}" type="slidenum">
              <a:rPr lang="de-DE" smtClean="0"/>
              <a:t>22</a:t>
            </a:fld>
            <a:endParaRPr lang="de-DE"/>
          </a:p>
        </p:txBody>
      </p:sp>
    </p:spTree>
    <p:extLst>
      <p:ext uri="{BB962C8B-B14F-4D97-AF65-F5344CB8AC3E}">
        <p14:creationId xmlns:p14="http://schemas.microsoft.com/office/powerpoint/2010/main" val="123094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http://deutsche-boerse.com/dbg-de/ueber-uns/gruppe-deutsche-boerse/unternehmensgeschichte</a:t>
            </a:r>
          </a:p>
          <a:p>
            <a:endParaRPr lang="de-DE" dirty="0"/>
          </a:p>
        </p:txBody>
      </p:sp>
      <p:sp>
        <p:nvSpPr>
          <p:cNvPr id="4" name="Foliennummernplatzhalter 3"/>
          <p:cNvSpPr>
            <a:spLocks noGrp="1"/>
          </p:cNvSpPr>
          <p:nvPr>
            <p:ph type="sldNum" sz="quarter" idx="5"/>
          </p:nvPr>
        </p:nvSpPr>
        <p:spPr/>
        <p:txBody>
          <a:bodyPr/>
          <a:lstStyle/>
          <a:p>
            <a:fld id="{E7CC5797-8412-4050-BB86-6F6420888D01}" type="slidenum">
              <a:rPr lang="de-DE" smtClean="0"/>
              <a:t>23</a:t>
            </a:fld>
            <a:endParaRPr lang="de-DE"/>
          </a:p>
        </p:txBody>
      </p:sp>
    </p:spTree>
    <p:extLst>
      <p:ext uri="{BB962C8B-B14F-4D97-AF65-F5344CB8AC3E}">
        <p14:creationId xmlns:p14="http://schemas.microsoft.com/office/powerpoint/2010/main" val="13261314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3.jpeg"/><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Master" Target="../slideMasters/slideMaster1.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_Agenda ohne Seitenzahl">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F293ADE-2721-4042-A824-3B763D7D16A7}"/>
              </a:ext>
            </a:extLst>
          </p:cNvPr>
          <p:cNvPicPr>
            <a:picLocks noChangeAspect="1"/>
          </p:cNvPicPr>
          <p:nvPr userDrawn="1"/>
        </p:nvPicPr>
        <p:blipFill rotWithShape="1">
          <a:blip r:embed="rId26"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Agenda</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grpSp>
        <p:nvGrpSpPr>
          <p:cNvPr id="10" name="Gruppieren 9">
            <a:extLst>
              <a:ext uri="{FF2B5EF4-FFF2-40B4-BE49-F238E27FC236}">
                <a16:creationId xmlns:a16="http://schemas.microsoft.com/office/drawing/2014/main" id="{339F0590-3385-4156-9C6C-62F03EE80320}"/>
              </a:ext>
            </a:extLst>
          </p:cNvPr>
          <p:cNvGrpSpPr/>
          <p:nvPr userDrawn="1"/>
        </p:nvGrpSpPr>
        <p:grpSpPr>
          <a:xfrm>
            <a:off x="1919289" y="1700213"/>
            <a:ext cx="8353424" cy="3645380"/>
            <a:chOff x="1919289" y="1700213"/>
            <a:chExt cx="8353424" cy="3645380"/>
          </a:xfrm>
        </p:grpSpPr>
        <p:sp>
          <p:nvSpPr>
            <p:cNvPr id="11" name="Rechteck 10">
              <a:extLst>
                <a:ext uri="{FF2B5EF4-FFF2-40B4-BE49-F238E27FC236}">
                  <a16:creationId xmlns:a16="http://schemas.microsoft.com/office/drawing/2014/main" id="{7BC13F65-A1D6-43C6-AB0C-5F260C8B5A63}"/>
                </a:ext>
              </a:extLst>
            </p:cNvPr>
            <p:cNvSpPr/>
            <p:nvPr>
              <p:custDataLst>
                <p:tags r:id="rId1"/>
              </p:custDataLst>
            </p:nvPr>
          </p:nvSpPr>
          <p:spPr>
            <a:xfrm>
              <a:off x="2382897" y="494548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12" name="Rechteck 11">
              <a:hlinkClick r:id="" action="ppaction://noaction"/>
              <a:extLst>
                <a:ext uri="{FF2B5EF4-FFF2-40B4-BE49-F238E27FC236}">
                  <a16:creationId xmlns:a16="http://schemas.microsoft.com/office/drawing/2014/main" id="{2EAC88F2-FDB4-4884-8670-73167F4FAE10}"/>
                </a:ext>
              </a:extLst>
            </p:cNvPr>
            <p:cNvSpPr/>
            <p:nvPr>
              <p:custDataLst>
                <p:tags r:id="rId2"/>
              </p:custDataLst>
            </p:nvPr>
          </p:nvSpPr>
          <p:spPr>
            <a:xfrm>
              <a:off x="2382898" y="494548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13" name="Rechteck 12">
              <a:hlinkClick r:id="" action="ppaction://noaction"/>
              <a:extLst>
                <a:ext uri="{FF2B5EF4-FFF2-40B4-BE49-F238E27FC236}">
                  <a16:creationId xmlns:a16="http://schemas.microsoft.com/office/drawing/2014/main" id="{761A58A9-6F16-4EDB-9D1C-23FFD8BBF402}"/>
                </a:ext>
              </a:extLst>
            </p:cNvPr>
            <p:cNvSpPr/>
            <p:nvPr>
              <p:custDataLst>
                <p:tags r:id="rId3"/>
              </p:custDataLst>
            </p:nvPr>
          </p:nvSpPr>
          <p:spPr>
            <a:xfrm>
              <a:off x="1919289" y="494548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8</a:t>
              </a:r>
            </a:p>
          </p:txBody>
        </p:sp>
        <p:sp>
          <p:nvSpPr>
            <p:cNvPr id="14" name="Rechteck 13">
              <a:extLst>
                <a:ext uri="{FF2B5EF4-FFF2-40B4-BE49-F238E27FC236}">
                  <a16:creationId xmlns:a16="http://schemas.microsoft.com/office/drawing/2014/main" id="{253B76B8-C7B4-411C-B721-ED234C6A1A77}"/>
                </a:ext>
              </a:extLst>
            </p:cNvPr>
            <p:cNvSpPr/>
            <p:nvPr>
              <p:custDataLst>
                <p:tags r:id="rId4"/>
              </p:custDataLst>
            </p:nvPr>
          </p:nvSpPr>
          <p:spPr>
            <a:xfrm>
              <a:off x="2382897" y="448187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15" name="Rechteck 14">
              <a:hlinkClick r:id="" action="ppaction://noaction"/>
              <a:extLst>
                <a:ext uri="{FF2B5EF4-FFF2-40B4-BE49-F238E27FC236}">
                  <a16:creationId xmlns:a16="http://schemas.microsoft.com/office/drawing/2014/main" id="{8961707F-E113-40F8-A9E1-83D1DDC5997C}"/>
                </a:ext>
              </a:extLst>
            </p:cNvPr>
            <p:cNvSpPr/>
            <p:nvPr>
              <p:custDataLst>
                <p:tags r:id="rId5"/>
              </p:custDataLst>
            </p:nvPr>
          </p:nvSpPr>
          <p:spPr>
            <a:xfrm>
              <a:off x="2382898" y="448187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16" name="Rechteck 15">
              <a:hlinkClick r:id="" action="ppaction://noaction"/>
              <a:extLst>
                <a:ext uri="{FF2B5EF4-FFF2-40B4-BE49-F238E27FC236}">
                  <a16:creationId xmlns:a16="http://schemas.microsoft.com/office/drawing/2014/main" id="{B99B202B-D4FB-46DA-A3E3-5D8C9AFC066C}"/>
                </a:ext>
              </a:extLst>
            </p:cNvPr>
            <p:cNvSpPr/>
            <p:nvPr>
              <p:custDataLst>
                <p:tags r:id="rId6"/>
              </p:custDataLst>
            </p:nvPr>
          </p:nvSpPr>
          <p:spPr>
            <a:xfrm>
              <a:off x="1919289" y="448187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7</a:t>
              </a:r>
            </a:p>
          </p:txBody>
        </p:sp>
        <p:sp>
          <p:nvSpPr>
            <p:cNvPr id="17" name="Rechteck 16">
              <a:extLst>
                <a:ext uri="{FF2B5EF4-FFF2-40B4-BE49-F238E27FC236}">
                  <a16:creationId xmlns:a16="http://schemas.microsoft.com/office/drawing/2014/main" id="{6ED68D1C-5068-4910-A35C-7CF77EC94ECB}"/>
                </a:ext>
              </a:extLst>
            </p:cNvPr>
            <p:cNvSpPr/>
            <p:nvPr>
              <p:custDataLst>
                <p:tags r:id="rId7"/>
              </p:custDataLst>
            </p:nvPr>
          </p:nvSpPr>
          <p:spPr>
            <a:xfrm>
              <a:off x="2382897" y="401826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18" name="Rechteck 17">
              <a:hlinkClick r:id="" action="ppaction://noaction"/>
              <a:extLst>
                <a:ext uri="{FF2B5EF4-FFF2-40B4-BE49-F238E27FC236}">
                  <a16:creationId xmlns:a16="http://schemas.microsoft.com/office/drawing/2014/main" id="{BBFE140B-1A6B-468E-AE0B-5E090ABC9547}"/>
                </a:ext>
              </a:extLst>
            </p:cNvPr>
            <p:cNvSpPr/>
            <p:nvPr>
              <p:custDataLst>
                <p:tags r:id="rId8"/>
              </p:custDataLst>
            </p:nvPr>
          </p:nvSpPr>
          <p:spPr>
            <a:xfrm>
              <a:off x="2382898" y="401826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19" name="Rechteck 18">
              <a:hlinkClick r:id="" action="ppaction://noaction"/>
              <a:extLst>
                <a:ext uri="{FF2B5EF4-FFF2-40B4-BE49-F238E27FC236}">
                  <a16:creationId xmlns:a16="http://schemas.microsoft.com/office/drawing/2014/main" id="{27E4DFC2-5BCE-47BF-8265-A8D5905FDD8E}"/>
                </a:ext>
              </a:extLst>
            </p:cNvPr>
            <p:cNvSpPr/>
            <p:nvPr>
              <p:custDataLst>
                <p:tags r:id="rId9"/>
              </p:custDataLst>
            </p:nvPr>
          </p:nvSpPr>
          <p:spPr>
            <a:xfrm>
              <a:off x="1919289" y="401826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6</a:t>
              </a:r>
            </a:p>
          </p:txBody>
        </p:sp>
        <p:sp>
          <p:nvSpPr>
            <p:cNvPr id="20" name="Rechteck 19">
              <a:extLst>
                <a:ext uri="{FF2B5EF4-FFF2-40B4-BE49-F238E27FC236}">
                  <a16:creationId xmlns:a16="http://schemas.microsoft.com/office/drawing/2014/main" id="{3FC3A69F-D84B-47D7-8A28-21019F409C63}"/>
                </a:ext>
              </a:extLst>
            </p:cNvPr>
            <p:cNvSpPr/>
            <p:nvPr>
              <p:custDataLst>
                <p:tags r:id="rId10"/>
              </p:custDataLst>
            </p:nvPr>
          </p:nvSpPr>
          <p:spPr>
            <a:xfrm>
              <a:off x="2382897" y="355465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21" name="Rechteck 20">
              <a:hlinkClick r:id="" action="ppaction://noaction"/>
              <a:extLst>
                <a:ext uri="{FF2B5EF4-FFF2-40B4-BE49-F238E27FC236}">
                  <a16:creationId xmlns:a16="http://schemas.microsoft.com/office/drawing/2014/main" id="{F3EF5BA7-1EE9-405E-B0C7-995326201536}"/>
                </a:ext>
              </a:extLst>
            </p:cNvPr>
            <p:cNvSpPr/>
            <p:nvPr>
              <p:custDataLst>
                <p:tags r:id="rId11"/>
              </p:custDataLst>
            </p:nvPr>
          </p:nvSpPr>
          <p:spPr>
            <a:xfrm>
              <a:off x="2382898" y="355465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22" name="Rechteck 21">
              <a:hlinkClick r:id="" action="ppaction://noaction"/>
              <a:extLst>
                <a:ext uri="{FF2B5EF4-FFF2-40B4-BE49-F238E27FC236}">
                  <a16:creationId xmlns:a16="http://schemas.microsoft.com/office/drawing/2014/main" id="{F86AFF47-6716-4E42-A6EC-92D0B8EE0072}"/>
                </a:ext>
              </a:extLst>
            </p:cNvPr>
            <p:cNvSpPr/>
            <p:nvPr>
              <p:custDataLst>
                <p:tags r:id="rId12"/>
              </p:custDataLst>
            </p:nvPr>
          </p:nvSpPr>
          <p:spPr>
            <a:xfrm>
              <a:off x="1919289" y="355465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5</a:t>
              </a:r>
            </a:p>
          </p:txBody>
        </p:sp>
        <p:sp>
          <p:nvSpPr>
            <p:cNvPr id="23" name="Rechteck 22">
              <a:extLst>
                <a:ext uri="{FF2B5EF4-FFF2-40B4-BE49-F238E27FC236}">
                  <a16:creationId xmlns:a16="http://schemas.microsoft.com/office/drawing/2014/main" id="{775D6911-BAC2-4397-900A-F79452972764}"/>
                </a:ext>
              </a:extLst>
            </p:cNvPr>
            <p:cNvSpPr/>
            <p:nvPr>
              <p:custDataLst>
                <p:tags r:id="rId13"/>
              </p:custDataLst>
            </p:nvPr>
          </p:nvSpPr>
          <p:spPr>
            <a:xfrm>
              <a:off x="2382897" y="309104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24" name="Rechteck 23">
              <a:hlinkClick r:id="" action="ppaction://noaction"/>
              <a:extLst>
                <a:ext uri="{FF2B5EF4-FFF2-40B4-BE49-F238E27FC236}">
                  <a16:creationId xmlns:a16="http://schemas.microsoft.com/office/drawing/2014/main" id="{3015FE27-8F35-4C07-9400-33A1FD5F87B7}"/>
                </a:ext>
              </a:extLst>
            </p:cNvPr>
            <p:cNvSpPr/>
            <p:nvPr>
              <p:custDataLst>
                <p:tags r:id="rId14"/>
              </p:custDataLst>
            </p:nvPr>
          </p:nvSpPr>
          <p:spPr>
            <a:xfrm>
              <a:off x="2382898" y="309104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25" name="Rechteck 24">
              <a:hlinkClick r:id="" action="ppaction://noaction"/>
              <a:extLst>
                <a:ext uri="{FF2B5EF4-FFF2-40B4-BE49-F238E27FC236}">
                  <a16:creationId xmlns:a16="http://schemas.microsoft.com/office/drawing/2014/main" id="{DBDDA58D-8E6B-44D5-970A-1D5A9C3649F0}"/>
                </a:ext>
              </a:extLst>
            </p:cNvPr>
            <p:cNvSpPr/>
            <p:nvPr>
              <p:custDataLst>
                <p:tags r:id="rId15"/>
              </p:custDataLst>
            </p:nvPr>
          </p:nvSpPr>
          <p:spPr>
            <a:xfrm>
              <a:off x="1919289" y="309104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4</a:t>
              </a:r>
            </a:p>
          </p:txBody>
        </p:sp>
        <p:sp>
          <p:nvSpPr>
            <p:cNvPr id="26" name="Rechteck 25">
              <a:extLst>
                <a:ext uri="{FF2B5EF4-FFF2-40B4-BE49-F238E27FC236}">
                  <a16:creationId xmlns:a16="http://schemas.microsoft.com/office/drawing/2014/main" id="{5BCCF2C4-82E4-41FB-8F09-8C70BCA46AE3}"/>
                </a:ext>
              </a:extLst>
            </p:cNvPr>
            <p:cNvSpPr/>
            <p:nvPr>
              <p:custDataLst>
                <p:tags r:id="rId16"/>
              </p:custDataLst>
            </p:nvPr>
          </p:nvSpPr>
          <p:spPr>
            <a:xfrm>
              <a:off x="2382897" y="2627433"/>
              <a:ext cx="7889816"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27" name="Rechteck 26">
              <a:hlinkClick r:id="" action="ppaction://noaction"/>
              <a:extLst>
                <a:ext uri="{FF2B5EF4-FFF2-40B4-BE49-F238E27FC236}">
                  <a16:creationId xmlns:a16="http://schemas.microsoft.com/office/drawing/2014/main" id="{6A1674C6-943E-4BCF-BD5F-5CFEE165C710}"/>
                </a:ext>
              </a:extLst>
            </p:cNvPr>
            <p:cNvSpPr/>
            <p:nvPr>
              <p:custDataLst>
                <p:tags r:id="rId17"/>
              </p:custDataLst>
            </p:nvPr>
          </p:nvSpPr>
          <p:spPr>
            <a:xfrm>
              <a:off x="2382898" y="262743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28" name="Rechteck 27">
              <a:hlinkClick r:id="" action="ppaction://noaction"/>
              <a:extLst>
                <a:ext uri="{FF2B5EF4-FFF2-40B4-BE49-F238E27FC236}">
                  <a16:creationId xmlns:a16="http://schemas.microsoft.com/office/drawing/2014/main" id="{ED40FBEB-A852-47CA-866F-1A1AF4A0CDDE}"/>
                </a:ext>
              </a:extLst>
            </p:cNvPr>
            <p:cNvSpPr/>
            <p:nvPr>
              <p:custDataLst>
                <p:tags r:id="rId18"/>
              </p:custDataLst>
            </p:nvPr>
          </p:nvSpPr>
          <p:spPr>
            <a:xfrm>
              <a:off x="1919289" y="262743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3</a:t>
              </a:r>
            </a:p>
          </p:txBody>
        </p:sp>
        <p:sp>
          <p:nvSpPr>
            <p:cNvPr id="29" name="Rechteck 28">
              <a:extLst>
                <a:ext uri="{FF2B5EF4-FFF2-40B4-BE49-F238E27FC236}">
                  <a16:creationId xmlns:a16="http://schemas.microsoft.com/office/drawing/2014/main" id="{F824F43C-7D9D-4D3D-8CAB-0D4DD507252C}"/>
                </a:ext>
              </a:extLst>
            </p:cNvPr>
            <p:cNvSpPr/>
            <p:nvPr>
              <p:custDataLst>
                <p:tags r:id="rId19"/>
              </p:custDataLst>
            </p:nvPr>
          </p:nvSpPr>
          <p:spPr>
            <a:xfrm>
              <a:off x="2382897" y="2163824"/>
              <a:ext cx="7889816" cy="400109"/>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30" name="Rechteck 29">
              <a:hlinkClick r:id="" action="ppaction://noaction"/>
              <a:extLst>
                <a:ext uri="{FF2B5EF4-FFF2-40B4-BE49-F238E27FC236}">
                  <a16:creationId xmlns:a16="http://schemas.microsoft.com/office/drawing/2014/main" id="{0C22BC17-2040-4906-BC95-94FCF7A00EEE}"/>
                </a:ext>
              </a:extLst>
            </p:cNvPr>
            <p:cNvSpPr/>
            <p:nvPr>
              <p:custDataLst>
                <p:tags r:id="rId20"/>
              </p:custDataLst>
            </p:nvPr>
          </p:nvSpPr>
          <p:spPr>
            <a:xfrm>
              <a:off x="2382898" y="216382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31" name="Rechteck 30">
              <a:hlinkClick r:id="" action="ppaction://noaction"/>
              <a:extLst>
                <a:ext uri="{FF2B5EF4-FFF2-40B4-BE49-F238E27FC236}">
                  <a16:creationId xmlns:a16="http://schemas.microsoft.com/office/drawing/2014/main" id="{68054860-F0E6-4320-8A21-6A0DD97CB3A5}"/>
                </a:ext>
              </a:extLst>
            </p:cNvPr>
            <p:cNvSpPr/>
            <p:nvPr>
              <p:custDataLst>
                <p:tags r:id="rId21"/>
              </p:custDataLst>
            </p:nvPr>
          </p:nvSpPr>
          <p:spPr>
            <a:xfrm>
              <a:off x="1919289" y="216382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a:solidFill>
                    <a:srgbClr val="FFFFFF">
                      <a:lumMod val="100000"/>
                    </a:srgbClr>
                  </a:solidFill>
                  <a:latin typeface="Arial" panose="020B0604020202020204" pitchFamily="34" charset="0"/>
                </a:rPr>
                <a:t>2</a:t>
              </a:r>
            </a:p>
          </p:txBody>
        </p:sp>
        <p:sp>
          <p:nvSpPr>
            <p:cNvPr id="32" name="Rechteck 31">
              <a:extLst>
                <a:ext uri="{FF2B5EF4-FFF2-40B4-BE49-F238E27FC236}">
                  <a16:creationId xmlns:a16="http://schemas.microsoft.com/office/drawing/2014/main" id="{EBA51DE6-FA07-49F3-A8F7-332DFA0956A7}"/>
                </a:ext>
              </a:extLst>
            </p:cNvPr>
            <p:cNvSpPr/>
            <p:nvPr>
              <p:custDataLst>
                <p:tags r:id="rId22"/>
              </p:custDataLst>
            </p:nvPr>
          </p:nvSpPr>
          <p:spPr>
            <a:xfrm>
              <a:off x="2382897" y="1700214"/>
              <a:ext cx="7889816" cy="400109"/>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76200" rIns="0" bIns="76200" numCol="1" spcCol="0" rtlCol="0" fromWordArt="0" anchor="t" anchorCtr="0" forceAA="0" compatLnSpc="1">
              <a:prstTxWarp prst="textNoShape">
                <a:avLst/>
              </a:prstTxWarp>
              <a:noAutofit/>
            </a:bodyPr>
            <a:lstStyle/>
            <a:p>
              <a:pPr algn="ctr">
                <a:spcBef>
                  <a:spcPct val="0"/>
                </a:spcBef>
                <a:spcAft>
                  <a:spcPct val="0"/>
                </a:spcAft>
              </a:pPr>
              <a:endParaRPr lang="de-DE" sz="1600">
                <a:solidFill>
                  <a:srgbClr val="000000">
                    <a:lumMod val="100000"/>
                  </a:srgbClr>
                </a:solidFill>
                <a:latin typeface="Arial" panose="020B0604020202020204" pitchFamily="34" charset="0"/>
              </a:endParaRPr>
            </a:p>
          </p:txBody>
        </p:sp>
        <p:sp>
          <p:nvSpPr>
            <p:cNvPr id="33" name="Rechteck 32">
              <a:hlinkClick r:id="" action="ppaction://noaction"/>
              <a:extLst>
                <a:ext uri="{FF2B5EF4-FFF2-40B4-BE49-F238E27FC236}">
                  <a16:creationId xmlns:a16="http://schemas.microsoft.com/office/drawing/2014/main" id="{CD3A3B92-3F15-42CD-BBCC-4D23212D2EF8}"/>
                </a:ext>
              </a:extLst>
            </p:cNvPr>
            <p:cNvSpPr/>
            <p:nvPr>
              <p:custDataLst>
                <p:tags r:id="rId23"/>
              </p:custDataLst>
            </p:nvPr>
          </p:nvSpPr>
          <p:spPr>
            <a:xfrm>
              <a:off x="2382898" y="1700213"/>
              <a:ext cx="1728039" cy="400110"/>
            </a:xfrm>
            <a:prstGeom prst="rect">
              <a:avLst/>
            </a:prstGeom>
            <a:solidFill>
              <a:schemeClr val="accent5">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0" bIns="76200" numCol="1" spcCol="0" rtlCol="0" fromWordArt="0" anchor="t" anchorCtr="0" forceAA="0" compatLnSpc="1">
              <a:prstTxWarp prst="textNoShape">
                <a:avLst/>
              </a:prstTxWarp>
              <a:noAutofit/>
            </a:bodyPr>
            <a:lstStyle/>
            <a:p>
              <a:pPr>
                <a:spcBef>
                  <a:spcPct val="0"/>
                </a:spcBef>
                <a:spcAft>
                  <a:spcPct val="0"/>
                </a:spcAft>
              </a:pPr>
              <a:r>
                <a:rPr lang="de-DE" sz="1600" dirty="0">
                  <a:solidFill>
                    <a:srgbClr val="000000">
                      <a:lumMod val="100000"/>
                    </a:srgbClr>
                  </a:solidFill>
                  <a:latin typeface="Arial" panose="020B0604020202020204" pitchFamily="34" charset="0"/>
                </a:rPr>
                <a:t>…</a:t>
              </a:r>
            </a:p>
          </p:txBody>
        </p:sp>
        <p:sp>
          <p:nvSpPr>
            <p:cNvPr id="34" name="Rechteck 33">
              <a:hlinkClick r:id="" action="ppaction://noaction"/>
              <a:extLst>
                <a:ext uri="{FF2B5EF4-FFF2-40B4-BE49-F238E27FC236}">
                  <a16:creationId xmlns:a16="http://schemas.microsoft.com/office/drawing/2014/main" id="{BFC10BA0-07DE-4655-AC52-EA33A79D7323}"/>
                </a:ext>
              </a:extLst>
            </p:cNvPr>
            <p:cNvSpPr/>
            <p:nvPr>
              <p:custDataLst>
                <p:tags r:id="rId24"/>
              </p:custDataLst>
            </p:nvPr>
          </p:nvSpPr>
          <p:spPr>
            <a:xfrm>
              <a:off x="1919289" y="1700213"/>
              <a:ext cx="400109" cy="400110"/>
            </a:xfrm>
            <a:prstGeom prst="rect">
              <a:avLst/>
            </a:prstGeom>
            <a:solidFill>
              <a:srgbClr val="19305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6200" tIns="76200" rIns="76200" bIns="76200" numCol="1" spcCol="0" rtlCol="0" fromWordArt="0" anchor="ctr" anchorCtr="0" forceAA="0" compatLnSpc="1">
              <a:prstTxWarp prst="textNoShape">
                <a:avLst/>
              </a:prstTxWarp>
              <a:noAutofit/>
            </a:bodyPr>
            <a:lstStyle/>
            <a:p>
              <a:pPr algn="ctr">
                <a:spcBef>
                  <a:spcPct val="0"/>
                </a:spcBef>
                <a:spcAft>
                  <a:spcPct val="0"/>
                </a:spcAft>
              </a:pPr>
              <a:r>
                <a:rPr lang="de-DE" sz="1600" b="1" dirty="0">
                  <a:solidFill>
                    <a:srgbClr val="FFFFFF">
                      <a:lumMod val="100000"/>
                    </a:srgbClr>
                  </a:solidFill>
                  <a:latin typeface="Arial" panose="020B0604020202020204" pitchFamily="34" charset="0"/>
                </a:rPr>
                <a:t>1</a:t>
              </a:r>
            </a:p>
          </p:txBody>
        </p:sp>
      </p:grpSp>
    </p:spTree>
    <p:extLst>
      <p:ext uri="{BB962C8B-B14F-4D97-AF65-F5344CB8AC3E}">
        <p14:creationId xmlns:p14="http://schemas.microsoft.com/office/powerpoint/2010/main" val="2328561226"/>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VH BFS - Leer">
    <p:spTree>
      <p:nvGrpSpPr>
        <p:cNvPr id="1" name=""/>
        <p:cNvGrpSpPr/>
        <p:nvPr/>
      </p:nvGrpSpPr>
      <p:grpSpPr>
        <a:xfrm>
          <a:off x="0" y="0"/>
          <a:ext cx="0" cy="0"/>
          <a:chOff x="0" y="0"/>
          <a:chExt cx="0" cy="0"/>
        </a:xfrm>
      </p:grpSpPr>
      <p:sp>
        <p:nvSpPr>
          <p:cNvPr id="4" name="Titel 1"/>
          <p:cNvSpPr>
            <a:spLocks noGrp="1"/>
          </p:cNvSpPr>
          <p:nvPr>
            <p:ph type="title"/>
          </p:nvPr>
        </p:nvSpPr>
        <p:spPr>
          <a:xfrm>
            <a:off x="203202" y="48423"/>
            <a:ext cx="9821404" cy="968475"/>
          </a:xfrm>
          <a:prstGeom prst="rect">
            <a:avLst/>
          </a:prstGeom>
        </p:spPr>
        <p:txBody>
          <a:bodyPr anchor="b"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Tree>
    <p:extLst>
      <p:ext uri="{BB962C8B-B14F-4D97-AF65-F5344CB8AC3E}">
        <p14:creationId xmlns:p14="http://schemas.microsoft.com/office/powerpoint/2010/main" val="27071844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_CFS-Folie">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5ADA9C89-ED7D-40C3-809D-C945204699E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04272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1229D62-D545-484F-AC11-5191502D42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06"/>
          <a:stretch/>
        </p:blipFill>
        <p:spPr>
          <a:xfrm>
            <a:off x="0" y="0"/>
            <a:ext cx="12208624" cy="6858000"/>
          </a:xfrm>
          <a:prstGeom prst="rect">
            <a:avLst/>
          </a:prstGeom>
        </p:spPr>
      </p:pic>
      <p:sp>
        <p:nvSpPr>
          <p:cNvPr id="15" name="Rectangle 10">
            <a:extLst>
              <a:ext uri="{FF2B5EF4-FFF2-40B4-BE49-F238E27FC236}">
                <a16:creationId xmlns:a16="http://schemas.microsoft.com/office/drawing/2014/main" id="{4CEB8B17-D662-574B-B699-16D2CB47619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73DA3714-F198-344B-AB28-5AB7E2246B3F}"/>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8EF97607-1B15-3741-A61B-247D8C27A3A9}"/>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E72D32FE-05B1-4F40-8944-7E49196A6845}"/>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2" name="Grafik 1">
            <a:extLst>
              <a:ext uri="{FF2B5EF4-FFF2-40B4-BE49-F238E27FC236}">
                <a16:creationId xmlns:a16="http://schemas.microsoft.com/office/drawing/2014/main" id="{28D0FB75-D064-4852-82BB-A691336F50C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16216254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9ECA7A32-59A1-AF48-85C7-D7FAB099850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20" y="0"/>
            <a:ext cx="12193520" cy="6858000"/>
          </a:xfrm>
          <a:prstGeom prst="rect">
            <a:avLst/>
          </a:prstGeom>
        </p:spPr>
      </p:pic>
      <p:sp>
        <p:nvSpPr>
          <p:cNvPr id="15" name="Rectangle 10">
            <a:extLst>
              <a:ext uri="{FF2B5EF4-FFF2-40B4-BE49-F238E27FC236}">
                <a16:creationId xmlns:a16="http://schemas.microsoft.com/office/drawing/2014/main" id="{4CEB8B17-D662-574B-B699-16D2CB47619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73DA3714-F198-344B-AB28-5AB7E2246B3F}"/>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8EF97607-1B15-3741-A61B-247D8C27A3A9}"/>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E72D32FE-05B1-4F40-8944-7E49196A6845}"/>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2" name="Grafik 1">
            <a:extLst>
              <a:ext uri="{FF2B5EF4-FFF2-40B4-BE49-F238E27FC236}">
                <a16:creationId xmlns:a16="http://schemas.microsoft.com/office/drawing/2014/main" id="{2C4AC1B1-9B94-483D-B29C-51C65721EA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1086464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D88D387-A8C2-5D4D-B7C6-F4900CCAC37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0">
            <a:extLst>
              <a:ext uri="{FF2B5EF4-FFF2-40B4-BE49-F238E27FC236}">
                <a16:creationId xmlns:a16="http://schemas.microsoft.com/office/drawing/2014/main" id="{541193BA-99FA-4F49-A930-D48F18515AA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0664311E-0B80-EC47-B74F-51E3700AA26A}"/>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7F7B13EE-8683-9347-B971-1236D5F0ED8B}"/>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869CABD3-5A99-2A44-8879-AF2FEEE6F2F6}"/>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2" name="Grafik 1">
            <a:extLst>
              <a:ext uri="{FF2B5EF4-FFF2-40B4-BE49-F238E27FC236}">
                <a16:creationId xmlns:a16="http://schemas.microsoft.com/office/drawing/2014/main" id="{5DC8C623-FB0B-4544-BF9A-E1C4927E16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9269475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D94EB45E-1150-674F-8661-12A19522B8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0">
            <a:extLst>
              <a:ext uri="{FF2B5EF4-FFF2-40B4-BE49-F238E27FC236}">
                <a16:creationId xmlns:a16="http://schemas.microsoft.com/office/drawing/2014/main" id="{88296887-8993-49E6-B857-80980E49E248}"/>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4" name="Straight Connector 5">
            <a:extLst>
              <a:ext uri="{FF2B5EF4-FFF2-40B4-BE49-F238E27FC236}">
                <a16:creationId xmlns:a16="http://schemas.microsoft.com/office/drawing/2014/main" id="{13EE465C-73CA-49C7-857A-71B577D6F569}"/>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17837A7C-B2D9-49AF-AD1B-5423E61638F6}"/>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FFC94D79-A0AA-4F54-B326-4EF111B3333F}"/>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4" name="Grafik 3">
            <a:extLst>
              <a:ext uri="{FF2B5EF4-FFF2-40B4-BE49-F238E27FC236}">
                <a16:creationId xmlns:a16="http://schemas.microsoft.com/office/drawing/2014/main" id="{7BBD6774-FDE2-4089-8AA7-5DA53B613A0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9316211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0965A92-3F3C-4A37-AC54-5956A24843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06"/>
          <a:stretch/>
        </p:blipFill>
        <p:spPr>
          <a:xfrm>
            <a:off x="8312" y="0"/>
            <a:ext cx="1220031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2039008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0B868D4-8C5A-BE4F-9CCD-8BE7660B19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1054216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Abschnitts-&#10;überschrift">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991D82B-DAD5-584D-BD28-72BBE696454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1">
            <a:extLst>
              <a:ext uri="{FF2B5EF4-FFF2-40B4-BE49-F238E27FC236}">
                <a16:creationId xmlns:a16="http://schemas.microsoft.com/office/drawing/2014/main" id="{052E00C8-0879-4986-84EF-32FD336B21AA}"/>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National Book" charset="0"/>
              <a:cs typeface="National Book" charset="0"/>
            </a:endParaRPr>
          </a:p>
        </p:txBody>
      </p:sp>
      <p:grpSp>
        <p:nvGrpSpPr>
          <p:cNvPr id="10" name="Group 27">
            <a:extLst>
              <a:ext uri="{FF2B5EF4-FFF2-40B4-BE49-F238E27FC236}">
                <a16:creationId xmlns:a16="http://schemas.microsoft.com/office/drawing/2014/main" id="{754CB806-DB16-458C-B715-E05E1A6FE54A}"/>
              </a:ext>
            </a:extLst>
          </p:cNvPr>
          <p:cNvGrpSpPr/>
          <p:nvPr userDrawn="1"/>
        </p:nvGrpSpPr>
        <p:grpSpPr>
          <a:xfrm>
            <a:off x="558594" y="2228498"/>
            <a:ext cx="2818959" cy="1107996"/>
            <a:chOff x="409905" y="1905027"/>
            <a:chExt cx="3597639" cy="1107996"/>
          </a:xfrm>
        </p:grpSpPr>
        <p:sp>
          <p:nvSpPr>
            <p:cNvPr id="11" name="TextBox 2">
              <a:extLst>
                <a:ext uri="{FF2B5EF4-FFF2-40B4-BE49-F238E27FC236}">
                  <a16:creationId xmlns:a16="http://schemas.microsoft.com/office/drawing/2014/main" id="{8F910E87-D55F-4EC3-87D4-10AFA1812BBD}"/>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B7199212-5A6D-4710-AD9E-41054FE40C97}"/>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Titel 1">
            <a:extLst>
              <a:ext uri="{FF2B5EF4-FFF2-40B4-BE49-F238E27FC236}">
                <a16:creationId xmlns:a16="http://schemas.microsoft.com/office/drawing/2014/main" id="{23F229BC-378E-483E-91AE-0711952269D2}"/>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6" name="Untertitel 2">
            <a:extLst>
              <a:ext uri="{FF2B5EF4-FFF2-40B4-BE49-F238E27FC236}">
                <a16:creationId xmlns:a16="http://schemas.microsoft.com/office/drawing/2014/main" id="{D6DBCE09-5C25-42F6-B840-6A1C2B905CBB}"/>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2143048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933582BF-E8DC-9244-A11A-6BD1F923BDF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5036" y="0"/>
            <a:ext cx="394997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1678087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 und Inhalt Hintergrund I">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4F293ADE-2721-4042-A824-3B763D7D16A7}"/>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6" name="Inhaltsplatzhalter 2">
            <a:extLst>
              <a:ext uri="{FF2B5EF4-FFF2-40B4-BE49-F238E27FC236}">
                <a16:creationId xmlns:a16="http://schemas.microsoft.com/office/drawing/2014/main" id="{6AE68404-5809-4057-9A04-06EC4A214CF7}"/>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Tree>
    <p:extLst>
      <p:ext uri="{BB962C8B-B14F-4D97-AF65-F5344CB8AC3E}">
        <p14:creationId xmlns:p14="http://schemas.microsoft.com/office/powerpoint/2010/main" val="2562247784"/>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5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8747EC2B-ABD9-8343-AE78-D1CC82D5184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1" y="391151"/>
            <a:ext cx="479703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Tree>
    <p:extLst>
      <p:ext uri="{BB962C8B-B14F-4D97-AF65-F5344CB8AC3E}">
        <p14:creationId xmlns:p14="http://schemas.microsoft.com/office/powerpoint/2010/main" val="3307653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Abschnitts-&#10;überschrif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0E0894F9-65EA-5B4C-BAFD-657DA74536D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
            <a:extLst>
              <a:ext uri="{FF2B5EF4-FFF2-40B4-BE49-F238E27FC236}">
                <a16:creationId xmlns:a16="http://schemas.microsoft.com/office/drawing/2014/main" id="{E0CA7360-3286-4940-9094-CB61EAB3EFAB}"/>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4" name="Group 27">
            <a:extLst>
              <a:ext uri="{FF2B5EF4-FFF2-40B4-BE49-F238E27FC236}">
                <a16:creationId xmlns:a16="http://schemas.microsoft.com/office/drawing/2014/main" id="{FF4F8314-FA9F-46EE-88E7-A7E251549671}"/>
              </a:ext>
            </a:extLst>
          </p:cNvPr>
          <p:cNvGrpSpPr/>
          <p:nvPr userDrawn="1"/>
        </p:nvGrpSpPr>
        <p:grpSpPr>
          <a:xfrm>
            <a:off x="1" y="391151"/>
            <a:ext cx="4797039" cy="1107996"/>
            <a:chOff x="409905" y="1905027"/>
            <a:chExt cx="3597639" cy="1107996"/>
          </a:xfrm>
        </p:grpSpPr>
        <p:sp>
          <p:nvSpPr>
            <p:cNvPr id="17" name="TextBox 2">
              <a:extLst>
                <a:ext uri="{FF2B5EF4-FFF2-40B4-BE49-F238E27FC236}">
                  <a16:creationId xmlns:a16="http://schemas.microsoft.com/office/drawing/2014/main" id="{C6625462-1F8D-40A5-8107-D3497ABE9EA5}"/>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8" name="Straight Connector 25">
              <a:extLst>
                <a:ext uri="{FF2B5EF4-FFF2-40B4-BE49-F238E27FC236}">
                  <a16:creationId xmlns:a16="http://schemas.microsoft.com/office/drawing/2014/main" id="{4C1D05BA-B07F-4A50-9DFC-D6F7DAD095F8}"/>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Untertitel 2">
            <a:extLst>
              <a:ext uri="{FF2B5EF4-FFF2-40B4-BE49-F238E27FC236}">
                <a16:creationId xmlns:a16="http://schemas.microsoft.com/office/drawing/2014/main" id="{268855A9-8E63-4AFF-842B-A28BA7276DD5}"/>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20" name="Titel 1">
            <a:extLst>
              <a:ext uri="{FF2B5EF4-FFF2-40B4-BE49-F238E27FC236}">
                <a16:creationId xmlns:a16="http://schemas.microsoft.com/office/drawing/2014/main" id="{6A4ED599-A951-4830-9960-DC1349CF67D0}"/>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817633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D5381C92-B43B-D24F-A657-6CE95E470F8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9" name="Rectangle 1">
            <a:extLst>
              <a:ext uri="{FF2B5EF4-FFF2-40B4-BE49-F238E27FC236}">
                <a16:creationId xmlns:a16="http://schemas.microsoft.com/office/drawing/2014/main" id="{46A18958-DBEA-4FD5-BA44-724F3D2529A5}"/>
              </a:ext>
            </a:extLst>
          </p:cNvPr>
          <p:cNvSpPr/>
          <p:nvPr userDrawn="1"/>
        </p:nvSpPr>
        <p:spPr>
          <a:xfrm>
            <a:off x="-45036" y="0"/>
            <a:ext cx="4842075"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0" name="Group 27">
            <a:extLst>
              <a:ext uri="{FF2B5EF4-FFF2-40B4-BE49-F238E27FC236}">
                <a16:creationId xmlns:a16="http://schemas.microsoft.com/office/drawing/2014/main" id="{451CB676-5CAD-46B3-91CA-0177948A52EF}"/>
              </a:ext>
            </a:extLst>
          </p:cNvPr>
          <p:cNvGrpSpPr/>
          <p:nvPr userDrawn="1"/>
        </p:nvGrpSpPr>
        <p:grpSpPr>
          <a:xfrm>
            <a:off x="1" y="391151"/>
            <a:ext cx="4797039" cy="1107996"/>
            <a:chOff x="409905" y="1905027"/>
            <a:chExt cx="3597639" cy="1107996"/>
          </a:xfrm>
        </p:grpSpPr>
        <p:sp>
          <p:nvSpPr>
            <p:cNvPr id="11" name="TextBox 2">
              <a:extLst>
                <a:ext uri="{FF2B5EF4-FFF2-40B4-BE49-F238E27FC236}">
                  <a16:creationId xmlns:a16="http://schemas.microsoft.com/office/drawing/2014/main" id="{1ADA01FB-8872-45CA-882E-0AC59039D751}"/>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2C78E445-29B6-4346-A087-4E7CB8E3675F}"/>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Untertitel 2">
            <a:extLst>
              <a:ext uri="{FF2B5EF4-FFF2-40B4-BE49-F238E27FC236}">
                <a16:creationId xmlns:a16="http://schemas.microsoft.com/office/drawing/2014/main" id="{E896C48B-F3A9-449E-854A-AF21E4C3FAF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14" name="Titel 1">
            <a:extLst>
              <a:ext uri="{FF2B5EF4-FFF2-40B4-BE49-F238E27FC236}">
                <a16:creationId xmlns:a16="http://schemas.microsoft.com/office/drawing/2014/main" id="{1F39E1A0-45A6-45B9-933D-EE62E725FD58}"/>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8861243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Titelfolie">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3200973E-71CB-48DD-8122-0040FD881EB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06"/>
          <a:stretch/>
        </p:blipFill>
        <p:spPr>
          <a:xfrm>
            <a:off x="8312" y="0"/>
            <a:ext cx="12200312" cy="6858000"/>
          </a:xfrm>
          <a:prstGeom prst="rect">
            <a:avLst/>
          </a:prstGeom>
        </p:spPr>
      </p:pic>
      <p:sp>
        <p:nvSpPr>
          <p:cNvPr id="9" name="Rectangle 1">
            <a:extLst>
              <a:ext uri="{FF2B5EF4-FFF2-40B4-BE49-F238E27FC236}">
                <a16:creationId xmlns:a16="http://schemas.microsoft.com/office/drawing/2014/main" id="{46A18958-DBEA-4FD5-BA44-724F3D2529A5}"/>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0" name="Group 27">
            <a:extLst>
              <a:ext uri="{FF2B5EF4-FFF2-40B4-BE49-F238E27FC236}">
                <a16:creationId xmlns:a16="http://schemas.microsoft.com/office/drawing/2014/main" id="{451CB676-5CAD-46B3-91CA-0177948A52EF}"/>
              </a:ext>
            </a:extLst>
          </p:cNvPr>
          <p:cNvGrpSpPr/>
          <p:nvPr userDrawn="1"/>
        </p:nvGrpSpPr>
        <p:grpSpPr>
          <a:xfrm>
            <a:off x="1" y="391151"/>
            <a:ext cx="4797039" cy="1107996"/>
            <a:chOff x="409905" y="1905027"/>
            <a:chExt cx="3597639" cy="1107996"/>
          </a:xfrm>
        </p:grpSpPr>
        <p:sp>
          <p:nvSpPr>
            <p:cNvPr id="11" name="TextBox 2">
              <a:extLst>
                <a:ext uri="{FF2B5EF4-FFF2-40B4-BE49-F238E27FC236}">
                  <a16:creationId xmlns:a16="http://schemas.microsoft.com/office/drawing/2014/main" id="{1ADA01FB-8872-45CA-882E-0AC59039D751}"/>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2C78E445-29B6-4346-A087-4E7CB8E3675F}"/>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Untertitel 2">
            <a:extLst>
              <a:ext uri="{FF2B5EF4-FFF2-40B4-BE49-F238E27FC236}">
                <a16:creationId xmlns:a16="http://schemas.microsoft.com/office/drawing/2014/main" id="{E896C48B-F3A9-449E-854A-AF21E4C3FAF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14" name="Titel 1">
            <a:extLst>
              <a:ext uri="{FF2B5EF4-FFF2-40B4-BE49-F238E27FC236}">
                <a16:creationId xmlns:a16="http://schemas.microsoft.com/office/drawing/2014/main" id="{1F39E1A0-45A6-45B9-933D-EE62E725FD58}"/>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4058410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7_Abschlussfoli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3F6B732-6DDA-4D31-9514-CD8CB93C3A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03983" y="5246005"/>
            <a:ext cx="4789565" cy="500982"/>
          </a:xfrm>
          <a:prstGeom prst="rect">
            <a:avLst/>
          </a:prstGeom>
        </p:spPr>
      </p:pic>
      <p:pic>
        <p:nvPicPr>
          <p:cNvPr id="6" name="Inhaltsplatzhalter 7">
            <a:extLst>
              <a:ext uri="{FF2B5EF4-FFF2-40B4-BE49-F238E27FC236}">
                <a16:creationId xmlns:a16="http://schemas.microsoft.com/office/drawing/2014/main" id="{98063ABC-05ED-476C-8293-AFF35EC1E2E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8302" y="1675333"/>
            <a:ext cx="5135396" cy="3557802"/>
          </a:xfrm>
          <a:prstGeom prst="rect">
            <a:avLst/>
          </a:prstGeom>
        </p:spPr>
      </p:pic>
      <p:sp>
        <p:nvSpPr>
          <p:cNvPr id="12" name="Rechteck 11">
            <a:extLst>
              <a:ext uri="{FF2B5EF4-FFF2-40B4-BE49-F238E27FC236}">
                <a16:creationId xmlns:a16="http://schemas.microsoft.com/office/drawing/2014/main" id="{78F5AF74-F523-4C4D-89F2-488A9F93B434}"/>
              </a:ext>
            </a:extLst>
          </p:cNvPr>
          <p:cNvSpPr/>
          <p:nvPr userDrawn="1"/>
        </p:nvSpPr>
        <p:spPr>
          <a:xfrm>
            <a:off x="0" y="0"/>
            <a:ext cx="12192000" cy="6858000"/>
          </a:xfrm>
          <a:prstGeom prst="rect">
            <a:avLst/>
          </a:prstGeom>
          <a:solidFill>
            <a:srgbClr val="192E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3" name="Grafik 12">
            <a:extLst>
              <a:ext uri="{FF2B5EF4-FFF2-40B4-BE49-F238E27FC236}">
                <a16:creationId xmlns:a16="http://schemas.microsoft.com/office/drawing/2014/main" id="{00A05076-219C-4B04-A279-FADEA2ECAC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03983" y="4987629"/>
            <a:ext cx="4789565" cy="500982"/>
          </a:xfrm>
          <a:prstGeom prst="rect">
            <a:avLst/>
          </a:prstGeom>
        </p:spPr>
      </p:pic>
      <p:pic>
        <p:nvPicPr>
          <p:cNvPr id="14" name="Inhaltsplatzhalter 7">
            <a:extLst>
              <a:ext uri="{FF2B5EF4-FFF2-40B4-BE49-F238E27FC236}">
                <a16:creationId xmlns:a16="http://schemas.microsoft.com/office/drawing/2014/main" id="{5994FABA-ABBC-40C4-B84C-B01B8D8B80E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8302" y="1355848"/>
            <a:ext cx="5135396" cy="3557802"/>
          </a:xfrm>
          <a:prstGeom prst="rect">
            <a:avLst/>
          </a:prstGeom>
        </p:spPr>
      </p:pic>
    </p:spTree>
    <p:extLst>
      <p:ext uri="{BB962C8B-B14F-4D97-AF65-F5344CB8AC3E}">
        <p14:creationId xmlns:p14="http://schemas.microsoft.com/office/powerpoint/2010/main" val="497790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VH BFS - Leer">
    <p:spTree>
      <p:nvGrpSpPr>
        <p:cNvPr id="1" name=""/>
        <p:cNvGrpSpPr/>
        <p:nvPr/>
      </p:nvGrpSpPr>
      <p:grpSpPr>
        <a:xfrm>
          <a:off x="0" y="0"/>
          <a:ext cx="0" cy="0"/>
          <a:chOff x="0" y="0"/>
          <a:chExt cx="0" cy="0"/>
        </a:xfrm>
      </p:grpSpPr>
      <p:sp>
        <p:nvSpPr>
          <p:cNvPr id="4" name="Titel 1"/>
          <p:cNvSpPr>
            <a:spLocks noGrp="1"/>
          </p:cNvSpPr>
          <p:nvPr>
            <p:ph type="title"/>
          </p:nvPr>
        </p:nvSpPr>
        <p:spPr>
          <a:xfrm>
            <a:off x="203202" y="48423"/>
            <a:ext cx="9821404" cy="968475"/>
          </a:xfrm>
          <a:prstGeom prst="rect">
            <a:avLst/>
          </a:prstGeom>
        </p:spPr>
        <p:txBody>
          <a:bodyPr anchor="b"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Tree>
    <p:extLst>
      <p:ext uri="{BB962C8B-B14F-4D97-AF65-F5344CB8AC3E}">
        <p14:creationId xmlns:p14="http://schemas.microsoft.com/office/powerpoint/2010/main" val="1598527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BVH BFS - Leer">
    <p:spTree>
      <p:nvGrpSpPr>
        <p:cNvPr id="1" name=""/>
        <p:cNvGrpSpPr/>
        <p:nvPr/>
      </p:nvGrpSpPr>
      <p:grpSpPr>
        <a:xfrm>
          <a:off x="0" y="0"/>
          <a:ext cx="0" cy="0"/>
          <a:chOff x="0" y="0"/>
          <a:chExt cx="0" cy="0"/>
        </a:xfrm>
      </p:grpSpPr>
      <p:sp>
        <p:nvSpPr>
          <p:cNvPr id="3" name="Textplatzhalter 24"/>
          <p:cNvSpPr>
            <a:spLocks noGrp="1"/>
          </p:cNvSpPr>
          <p:nvPr>
            <p:ph type="body" sz="quarter" idx="10"/>
          </p:nvPr>
        </p:nvSpPr>
        <p:spPr>
          <a:xfrm>
            <a:off x="203202" y="1009667"/>
            <a:ext cx="10668036" cy="285735"/>
          </a:xfrm>
          <a:prstGeom prst="rect">
            <a:avLst/>
          </a:prstGeom>
        </p:spPr>
        <p:txBody>
          <a:bodyPr/>
          <a:lstStyle>
            <a:lvl1pPr>
              <a:buNone/>
              <a:defRPr sz="1600" i="1">
                <a:solidFill>
                  <a:schemeClr val="accent1">
                    <a:lumMod val="75000"/>
                  </a:schemeClr>
                </a:solidFill>
              </a:defRPr>
            </a:lvl1pPr>
          </a:lstStyle>
          <a:p>
            <a:pPr lvl="0"/>
            <a:r>
              <a:rPr lang="de-DE"/>
              <a:t>Textmasterformate durch Klicken bearbeiten</a:t>
            </a:r>
          </a:p>
        </p:txBody>
      </p:sp>
      <p:sp>
        <p:nvSpPr>
          <p:cNvPr id="4" name="Titel 1"/>
          <p:cNvSpPr>
            <a:spLocks noGrp="1"/>
          </p:cNvSpPr>
          <p:nvPr>
            <p:ph type="title"/>
          </p:nvPr>
        </p:nvSpPr>
        <p:spPr>
          <a:xfrm>
            <a:off x="203202" y="457201"/>
            <a:ext cx="9821404" cy="608120"/>
          </a:xfrm>
          <a:prstGeom prst="rect">
            <a:avLst/>
          </a:prstGeom>
        </p:spPr>
        <p:txBody>
          <a:bodyPr anchor="ctr"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
        <p:nvSpPr>
          <p:cNvPr id="5" name="Textplatzhalter 24"/>
          <p:cNvSpPr>
            <a:spLocks noGrp="1"/>
          </p:cNvSpPr>
          <p:nvPr>
            <p:ph type="body" sz="quarter" idx="11"/>
          </p:nvPr>
        </p:nvSpPr>
        <p:spPr>
          <a:xfrm>
            <a:off x="7786063"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6" name="Textplatzhalter 24"/>
          <p:cNvSpPr>
            <a:spLocks noGrp="1"/>
          </p:cNvSpPr>
          <p:nvPr>
            <p:ph type="body" sz="quarter" idx="13"/>
          </p:nvPr>
        </p:nvSpPr>
        <p:spPr>
          <a:xfrm>
            <a:off x="5289784"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7" name="Textplatzhalter 24"/>
          <p:cNvSpPr>
            <a:spLocks noGrp="1"/>
          </p:cNvSpPr>
          <p:nvPr>
            <p:ph type="body" sz="quarter" idx="14"/>
          </p:nvPr>
        </p:nvSpPr>
        <p:spPr>
          <a:xfrm>
            <a:off x="47331" y="0"/>
            <a:ext cx="268223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8" name="Textplatzhalter 2"/>
          <p:cNvSpPr>
            <a:spLocks noGrp="1"/>
          </p:cNvSpPr>
          <p:nvPr>
            <p:ph type="body" sz="quarter" idx="16"/>
          </p:nvPr>
        </p:nvSpPr>
        <p:spPr>
          <a:xfrm>
            <a:off x="2831637" y="0"/>
            <a:ext cx="2414400" cy="306000"/>
          </a:xfrm>
          <a:prstGeom prst="rect">
            <a:avLst/>
          </a:prstGeom>
        </p:spPr>
        <p:txBody>
          <a:bodyPr/>
          <a:lstStyle>
            <a:lvl1pPr marL="0" indent="0">
              <a:buFontTx/>
              <a:buNone/>
              <a:defRPr kumimoji="0" lang="de-DE" sz="1467" b="0" i="0" u="none" strike="noStrike" cap="none" spc="0" normalizeH="0" baseline="0" smtClean="0">
                <a:ln>
                  <a:noFill/>
                </a:ln>
                <a:solidFill>
                  <a:srgbClr val="556DA4"/>
                </a:solidFill>
                <a:effectLst/>
                <a:uLnTx/>
                <a:uFillTx/>
              </a:defRPr>
            </a:lvl1pPr>
            <a:lvl2pPr>
              <a:defRPr lang="de-DE" smtClean="0"/>
            </a:lvl2pPr>
            <a:lvl3pPr>
              <a:defRPr lang="de-DE" smtClean="0"/>
            </a:lvl3pPr>
            <a:lvl4pPr>
              <a:defRPr lang="de-DE" smtClean="0"/>
            </a:lvl4pPr>
            <a:lvl5pPr>
              <a:defRPr lang="de-DE"/>
            </a:lvl5pPr>
          </a:lstStyle>
          <a:p>
            <a:pPr lvl="0"/>
            <a:r>
              <a:rPr lang="de-DE"/>
              <a:t>Textmasterformate durch Klicken bearbeiten</a:t>
            </a:r>
          </a:p>
        </p:txBody>
      </p:sp>
    </p:spTree>
    <p:extLst>
      <p:ext uri="{BB962C8B-B14F-4D97-AF65-F5344CB8AC3E}">
        <p14:creationId xmlns:p14="http://schemas.microsoft.com/office/powerpoint/2010/main" val="2057389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933582BF-E8DC-9244-A11A-6BD1F923BDF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8122"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2679553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28257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VH BFS - Leer">
    <p:spTree>
      <p:nvGrpSpPr>
        <p:cNvPr id="1" name=""/>
        <p:cNvGrpSpPr/>
        <p:nvPr/>
      </p:nvGrpSpPr>
      <p:grpSpPr>
        <a:xfrm>
          <a:off x="0" y="0"/>
          <a:ext cx="0" cy="0"/>
          <a:chOff x="0" y="0"/>
          <a:chExt cx="0" cy="0"/>
        </a:xfrm>
      </p:grpSpPr>
      <p:sp>
        <p:nvSpPr>
          <p:cNvPr id="4" name="Titel 1"/>
          <p:cNvSpPr>
            <a:spLocks noGrp="1"/>
          </p:cNvSpPr>
          <p:nvPr>
            <p:ph type="title"/>
          </p:nvPr>
        </p:nvSpPr>
        <p:spPr>
          <a:xfrm>
            <a:off x="203202" y="48423"/>
            <a:ext cx="9821404" cy="968475"/>
          </a:xfrm>
          <a:prstGeom prst="rect">
            <a:avLst/>
          </a:prstGeom>
        </p:spPr>
        <p:txBody>
          <a:bodyPr anchor="b"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Tree>
    <p:extLst>
      <p:ext uri="{BB962C8B-B14F-4D97-AF65-F5344CB8AC3E}">
        <p14:creationId xmlns:p14="http://schemas.microsoft.com/office/powerpoint/2010/main" val="1774942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 und Inhalt Hintergrund II">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D49C4FA-9B3F-44F6-BF9A-DC415E56D270}"/>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6" name="Inhaltsplatzhalter 2">
            <a:extLst>
              <a:ext uri="{FF2B5EF4-FFF2-40B4-BE49-F238E27FC236}">
                <a16:creationId xmlns:a16="http://schemas.microsoft.com/office/drawing/2014/main" id="{6AE68404-5809-4057-9A04-06EC4A214CF7}"/>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Tree>
    <p:extLst>
      <p:ext uri="{BB962C8B-B14F-4D97-AF65-F5344CB8AC3E}">
        <p14:creationId xmlns:p14="http://schemas.microsoft.com/office/powerpoint/2010/main" val="36646835"/>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9ECA7A32-59A1-AF48-85C7-D7FAB099850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5361"/>
            <a:ext cx="12193212" cy="6863361"/>
          </a:xfrm>
          <a:prstGeom prst="rect">
            <a:avLst/>
          </a:prstGeom>
        </p:spPr>
      </p:pic>
      <p:sp>
        <p:nvSpPr>
          <p:cNvPr id="15" name="Rectangle 10">
            <a:extLst>
              <a:ext uri="{FF2B5EF4-FFF2-40B4-BE49-F238E27FC236}">
                <a16:creationId xmlns:a16="http://schemas.microsoft.com/office/drawing/2014/main" id="{4CEB8B17-D662-574B-B699-16D2CB47619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73DA3714-F198-344B-AB28-5AB7E2246B3F}"/>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8EF97607-1B15-3741-A61B-247D8C27A3A9}"/>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E72D32FE-05B1-4F40-8944-7E49196A6845}"/>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19" name="Grafik 18">
            <a:extLst>
              <a:ext uri="{FF2B5EF4-FFF2-40B4-BE49-F238E27FC236}">
                <a16:creationId xmlns:a16="http://schemas.microsoft.com/office/drawing/2014/main" id="{3783F15B-8ECF-A644-9B1B-5259AB27C5D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375" y="4123838"/>
            <a:ext cx="2351667" cy="1589212"/>
          </a:xfrm>
          <a:prstGeom prst="rect">
            <a:avLst/>
          </a:prstGeom>
        </p:spPr>
      </p:pic>
    </p:spTree>
    <p:extLst>
      <p:ext uri="{BB962C8B-B14F-4D97-AF65-F5344CB8AC3E}">
        <p14:creationId xmlns:p14="http://schemas.microsoft.com/office/powerpoint/2010/main" val="9868891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9ECA7A32-59A1-AF48-85C7-D7FAB099850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5361"/>
            <a:ext cx="12193212" cy="6863361"/>
          </a:xfrm>
          <a:prstGeom prst="rect">
            <a:avLst/>
          </a:prstGeom>
        </p:spPr>
      </p:pic>
      <p:sp>
        <p:nvSpPr>
          <p:cNvPr id="15" name="Rectangle 10">
            <a:extLst>
              <a:ext uri="{FF2B5EF4-FFF2-40B4-BE49-F238E27FC236}">
                <a16:creationId xmlns:a16="http://schemas.microsoft.com/office/drawing/2014/main" id="{4CEB8B17-D662-574B-B699-16D2CB47619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73DA3714-F198-344B-AB28-5AB7E2246B3F}"/>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8EF97607-1B15-3741-A61B-247D8C27A3A9}"/>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E72D32FE-05B1-4F40-8944-7E49196A6845}"/>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19" name="Grafik 18">
            <a:extLst>
              <a:ext uri="{FF2B5EF4-FFF2-40B4-BE49-F238E27FC236}">
                <a16:creationId xmlns:a16="http://schemas.microsoft.com/office/drawing/2014/main" id="{3783F15B-8ECF-A644-9B1B-5259AB27C5D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375" y="4123838"/>
            <a:ext cx="2351667" cy="1589212"/>
          </a:xfrm>
          <a:prstGeom prst="rect">
            <a:avLst/>
          </a:prstGeom>
        </p:spPr>
      </p:pic>
    </p:spTree>
    <p:extLst>
      <p:ext uri="{BB962C8B-B14F-4D97-AF65-F5344CB8AC3E}">
        <p14:creationId xmlns:p14="http://schemas.microsoft.com/office/powerpoint/2010/main" val="36669885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Titelfoli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D88D387-A8C2-5D4D-B7C6-F4900CCAC37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0">
            <a:extLst>
              <a:ext uri="{FF2B5EF4-FFF2-40B4-BE49-F238E27FC236}">
                <a16:creationId xmlns:a16="http://schemas.microsoft.com/office/drawing/2014/main" id="{541193BA-99FA-4F49-A930-D48F18515AA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0664311E-0B80-EC47-B74F-51E3700AA26A}"/>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7F7B13EE-8683-9347-B971-1236D5F0ED8B}"/>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869CABD3-5A99-2A44-8879-AF2FEEE6F2F6}"/>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19" name="Grafik 18">
            <a:extLst>
              <a:ext uri="{FF2B5EF4-FFF2-40B4-BE49-F238E27FC236}">
                <a16:creationId xmlns:a16="http://schemas.microsoft.com/office/drawing/2014/main" id="{6922FB3D-E641-A845-8BFE-D08C76B6976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375" y="4123838"/>
            <a:ext cx="2351667" cy="1589212"/>
          </a:xfrm>
          <a:prstGeom prst="rect">
            <a:avLst/>
          </a:prstGeom>
        </p:spPr>
      </p:pic>
    </p:spTree>
    <p:extLst>
      <p:ext uri="{BB962C8B-B14F-4D97-AF65-F5344CB8AC3E}">
        <p14:creationId xmlns:p14="http://schemas.microsoft.com/office/powerpoint/2010/main" val="35441708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D94EB45E-1150-674F-8661-12A19522B8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0">
            <a:extLst>
              <a:ext uri="{FF2B5EF4-FFF2-40B4-BE49-F238E27FC236}">
                <a16:creationId xmlns:a16="http://schemas.microsoft.com/office/drawing/2014/main" id="{88296887-8993-49E6-B857-80980E49E248}"/>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4" name="Straight Connector 5">
            <a:extLst>
              <a:ext uri="{FF2B5EF4-FFF2-40B4-BE49-F238E27FC236}">
                <a16:creationId xmlns:a16="http://schemas.microsoft.com/office/drawing/2014/main" id="{13EE465C-73CA-49C7-857A-71B577D6F569}"/>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17837A7C-B2D9-49AF-AD1B-5423E61638F6}"/>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FFC94D79-A0AA-4F54-B326-4EF111B3333F}"/>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8" name="Grafik 7">
            <a:extLst>
              <a:ext uri="{FF2B5EF4-FFF2-40B4-BE49-F238E27FC236}">
                <a16:creationId xmlns:a16="http://schemas.microsoft.com/office/drawing/2014/main" id="{9FEEAF83-3801-B74F-8449-206F1D6A5BDF}"/>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026375" y="4123838"/>
            <a:ext cx="2351667" cy="1589212"/>
          </a:xfrm>
          <a:prstGeom prst="rect">
            <a:avLst/>
          </a:prstGeom>
        </p:spPr>
      </p:pic>
    </p:spTree>
    <p:extLst>
      <p:ext uri="{BB962C8B-B14F-4D97-AF65-F5344CB8AC3E}">
        <p14:creationId xmlns:p14="http://schemas.microsoft.com/office/powerpoint/2010/main" val="667278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0B868D4-8C5A-BE4F-9CCD-8BE7660B19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24437227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Abschnitts-&#10;überschrift">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991D82B-DAD5-584D-BD28-72BBE696454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1">
            <a:extLst>
              <a:ext uri="{FF2B5EF4-FFF2-40B4-BE49-F238E27FC236}">
                <a16:creationId xmlns:a16="http://schemas.microsoft.com/office/drawing/2014/main" id="{052E00C8-0879-4986-84EF-32FD336B21AA}"/>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National Book" charset="0"/>
              <a:cs typeface="National Book" charset="0"/>
            </a:endParaRPr>
          </a:p>
        </p:txBody>
      </p:sp>
      <p:grpSp>
        <p:nvGrpSpPr>
          <p:cNvPr id="10" name="Group 27">
            <a:extLst>
              <a:ext uri="{FF2B5EF4-FFF2-40B4-BE49-F238E27FC236}">
                <a16:creationId xmlns:a16="http://schemas.microsoft.com/office/drawing/2014/main" id="{754CB806-DB16-458C-B715-E05E1A6FE54A}"/>
              </a:ext>
            </a:extLst>
          </p:cNvPr>
          <p:cNvGrpSpPr/>
          <p:nvPr userDrawn="1"/>
        </p:nvGrpSpPr>
        <p:grpSpPr>
          <a:xfrm>
            <a:off x="558594" y="2228498"/>
            <a:ext cx="2818959" cy="1107996"/>
            <a:chOff x="409905" y="1905027"/>
            <a:chExt cx="3597639" cy="1107996"/>
          </a:xfrm>
        </p:grpSpPr>
        <p:sp>
          <p:nvSpPr>
            <p:cNvPr id="11" name="TextBox 2">
              <a:extLst>
                <a:ext uri="{FF2B5EF4-FFF2-40B4-BE49-F238E27FC236}">
                  <a16:creationId xmlns:a16="http://schemas.microsoft.com/office/drawing/2014/main" id="{8F910E87-D55F-4EC3-87D4-10AFA1812BBD}"/>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B7199212-5A6D-4710-AD9E-41054FE40C97}"/>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Titel 1">
            <a:extLst>
              <a:ext uri="{FF2B5EF4-FFF2-40B4-BE49-F238E27FC236}">
                <a16:creationId xmlns:a16="http://schemas.microsoft.com/office/drawing/2014/main" id="{23F229BC-378E-483E-91AE-0711952269D2}"/>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6" name="Untertitel 2">
            <a:extLst>
              <a:ext uri="{FF2B5EF4-FFF2-40B4-BE49-F238E27FC236}">
                <a16:creationId xmlns:a16="http://schemas.microsoft.com/office/drawing/2014/main" id="{D6DBCE09-5C25-42F6-B840-6A1C2B905CBB}"/>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42233491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1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933582BF-E8DC-9244-A11A-6BD1F923BDF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8122"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8532122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2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8747EC2B-ABD9-8343-AE78-D1CC82D5184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1" y="391151"/>
            <a:ext cx="479703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Tree>
    <p:extLst>
      <p:ext uri="{BB962C8B-B14F-4D97-AF65-F5344CB8AC3E}">
        <p14:creationId xmlns:p14="http://schemas.microsoft.com/office/powerpoint/2010/main" val="30021671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Abschnitts-&#10;überschrif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0E0894F9-65EA-5B4C-BAFD-657DA74536D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
            <a:extLst>
              <a:ext uri="{FF2B5EF4-FFF2-40B4-BE49-F238E27FC236}">
                <a16:creationId xmlns:a16="http://schemas.microsoft.com/office/drawing/2014/main" id="{E0CA7360-3286-4940-9094-CB61EAB3EFAB}"/>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4" name="Group 27">
            <a:extLst>
              <a:ext uri="{FF2B5EF4-FFF2-40B4-BE49-F238E27FC236}">
                <a16:creationId xmlns:a16="http://schemas.microsoft.com/office/drawing/2014/main" id="{FF4F8314-FA9F-46EE-88E7-A7E251549671}"/>
              </a:ext>
            </a:extLst>
          </p:cNvPr>
          <p:cNvGrpSpPr/>
          <p:nvPr userDrawn="1"/>
        </p:nvGrpSpPr>
        <p:grpSpPr>
          <a:xfrm>
            <a:off x="1" y="391151"/>
            <a:ext cx="4797039" cy="1107996"/>
            <a:chOff x="409905" y="1905027"/>
            <a:chExt cx="3597639" cy="1107996"/>
          </a:xfrm>
        </p:grpSpPr>
        <p:sp>
          <p:nvSpPr>
            <p:cNvPr id="17" name="TextBox 2">
              <a:extLst>
                <a:ext uri="{FF2B5EF4-FFF2-40B4-BE49-F238E27FC236}">
                  <a16:creationId xmlns:a16="http://schemas.microsoft.com/office/drawing/2014/main" id="{C6625462-1F8D-40A5-8107-D3497ABE9EA5}"/>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8" name="Straight Connector 25">
              <a:extLst>
                <a:ext uri="{FF2B5EF4-FFF2-40B4-BE49-F238E27FC236}">
                  <a16:creationId xmlns:a16="http://schemas.microsoft.com/office/drawing/2014/main" id="{4C1D05BA-B07F-4A50-9DFC-D6F7DAD095F8}"/>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Untertitel 2">
            <a:extLst>
              <a:ext uri="{FF2B5EF4-FFF2-40B4-BE49-F238E27FC236}">
                <a16:creationId xmlns:a16="http://schemas.microsoft.com/office/drawing/2014/main" id="{268855A9-8E63-4AFF-842B-A28BA7276DD5}"/>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20" name="Titel 1">
            <a:extLst>
              <a:ext uri="{FF2B5EF4-FFF2-40B4-BE49-F238E27FC236}">
                <a16:creationId xmlns:a16="http://schemas.microsoft.com/office/drawing/2014/main" id="{6A4ED599-A951-4830-9960-DC1349CF67D0}"/>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23513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_Titelfolie">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D5381C92-B43B-D24F-A657-6CE95E470F8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9" name="Rectangle 1">
            <a:extLst>
              <a:ext uri="{FF2B5EF4-FFF2-40B4-BE49-F238E27FC236}">
                <a16:creationId xmlns:a16="http://schemas.microsoft.com/office/drawing/2014/main" id="{46A18958-DBEA-4FD5-BA44-724F3D2529A5}"/>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0" name="Group 27">
            <a:extLst>
              <a:ext uri="{FF2B5EF4-FFF2-40B4-BE49-F238E27FC236}">
                <a16:creationId xmlns:a16="http://schemas.microsoft.com/office/drawing/2014/main" id="{451CB676-5CAD-46B3-91CA-0177948A52EF}"/>
              </a:ext>
            </a:extLst>
          </p:cNvPr>
          <p:cNvGrpSpPr/>
          <p:nvPr userDrawn="1"/>
        </p:nvGrpSpPr>
        <p:grpSpPr>
          <a:xfrm>
            <a:off x="1" y="391151"/>
            <a:ext cx="4797039" cy="1107996"/>
            <a:chOff x="409905" y="1905027"/>
            <a:chExt cx="3597639" cy="1107996"/>
          </a:xfrm>
        </p:grpSpPr>
        <p:sp>
          <p:nvSpPr>
            <p:cNvPr id="11" name="TextBox 2">
              <a:extLst>
                <a:ext uri="{FF2B5EF4-FFF2-40B4-BE49-F238E27FC236}">
                  <a16:creationId xmlns:a16="http://schemas.microsoft.com/office/drawing/2014/main" id="{1ADA01FB-8872-45CA-882E-0AC59039D751}"/>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2C78E445-29B6-4346-A087-4E7CB8E3675F}"/>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Untertitel 2">
            <a:extLst>
              <a:ext uri="{FF2B5EF4-FFF2-40B4-BE49-F238E27FC236}">
                <a16:creationId xmlns:a16="http://schemas.microsoft.com/office/drawing/2014/main" id="{E896C48B-F3A9-449E-854A-AF21E4C3FAF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14" name="Titel 1">
            <a:extLst>
              <a:ext uri="{FF2B5EF4-FFF2-40B4-BE49-F238E27FC236}">
                <a16:creationId xmlns:a16="http://schemas.microsoft.com/office/drawing/2014/main" id="{1F39E1A0-45A6-45B9-933D-EE62E725FD58}"/>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3437904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el und Inhalt Hintergrund III">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E994BD89-EBE5-41F0-AC87-8FCEEABDD6AF}"/>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6" name="Inhaltsplatzhalter 2">
            <a:extLst>
              <a:ext uri="{FF2B5EF4-FFF2-40B4-BE49-F238E27FC236}">
                <a16:creationId xmlns:a16="http://schemas.microsoft.com/office/drawing/2014/main" id="{6AE68404-5809-4057-9A04-06EC4A214CF7}"/>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Tree>
    <p:extLst>
      <p:ext uri="{BB962C8B-B14F-4D97-AF65-F5344CB8AC3E}">
        <p14:creationId xmlns:p14="http://schemas.microsoft.com/office/powerpoint/2010/main" val="3688027357"/>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947F7AF-DA4E-364B-91D7-AA5991B48A8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3304304167"/>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Titel und Inhal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3F0BDCA-12C9-6547-B1BE-8836FB65020C}"/>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1706402758"/>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Titel und Inhal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EE0928D-8AA3-F741-9C02-C2E2BC499F6E}"/>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3042979973"/>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8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1461AE9C-E874-0743-97A6-4BFC2D844700}"/>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592458003"/>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9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FAFEB42-7041-9D48-A01E-597C85F165B4}"/>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4134798410"/>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0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04EC5AE3-E177-964F-A878-572E95985F93}"/>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3882976681"/>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1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78828E90-85D9-D042-8F51-B2D65131D92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Tree>
    <p:extLst>
      <p:ext uri="{BB962C8B-B14F-4D97-AF65-F5344CB8AC3E}">
        <p14:creationId xmlns:p14="http://schemas.microsoft.com/office/powerpoint/2010/main" val="2393673675"/>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2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E6FF8564-BD36-4244-8A47-8AA6E9EFED8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049776144"/>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3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9AF320EE-77C0-DD44-80B5-E588D4781B98}"/>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563038338"/>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VH BFS - Leer">
    <p:spTree>
      <p:nvGrpSpPr>
        <p:cNvPr id="1" name=""/>
        <p:cNvGrpSpPr/>
        <p:nvPr/>
      </p:nvGrpSpPr>
      <p:grpSpPr>
        <a:xfrm>
          <a:off x="0" y="0"/>
          <a:ext cx="0" cy="0"/>
          <a:chOff x="0" y="0"/>
          <a:chExt cx="0" cy="0"/>
        </a:xfrm>
      </p:grpSpPr>
      <p:sp>
        <p:nvSpPr>
          <p:cNvPr id="4" name="Titel 1"/>
          <p:cNvSpPr>
            <a:spLocks noGrp="1"/>
          </p:cNvSpPr>
          <p:nvPr>
            <p:ph type="title"/>
          </p:nvPr>
        </p:nvSpPr>
        <p:spPr>
          <a:xfrm>
            <a:off x="203202" y="48423"/>
            <a:ext cx="9821404" cy="968475"/>
          </a:xfrm>
          <a:prstGeom prst="rect">
            <a:avLst/>
          </a:prstGeom>
        </p:spPr>
        <p:txBody>
          <a:bodyPr anchor="b"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Tree>
    <p:extLst>
      <p:ext uri="{BB962C8B-B14F-4D97-AF65-F5344CB8AC3E}">
        <p14:creationId xmlns:p14="http://schemas.microsoft.com/office/powerpoint/2010/main" val="30026217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el und Inhalt Hintergrund I">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78A88892-077C-4F20-B8A8-DA2E0C8EDB0F}"/>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9" name="Textplatzhalter 4">
            <a:extLst>
              <a:ext uri="{FF2B5EF4-FFF2-40B4-BE49-F238E27FC236}">
                <a16:creationId xmlns:a16="http://schemas.microsoft.com/office/drawing/2014/main" id="{A7745FCD-6856-4BE6-B88D-53955AF5853B}"/>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0" name="Textplatzhalter 4">
            <a:extLst>
              <a:ext uri="{FF2B5EF4-FFF2-40B4-BE49-F238E27FC236}">
                <a16:creationId xmlns:a16="http://schemas.microsoft.com/office/drawing/2014/main" id="{9646F520-72EE-4E22-8934-5C7A573D485A}"/>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Inhaltsplatzhalter 2">
            <a:extLst>
              <a:ext uri="{FF2B5EF4-FFF2-40B4-BE49-F238E27FC236}">
                <a16:creationId xmlns:a16="http://schemas.microsoft.com/office/drawing/2014/main" id="{FCC598D5-52DE-4CC8-8FB5-A113C84163E3}"/>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2" name="Inhaltsplatzhalter 2">
            <a:extLst>
              <a:ext uri="{FF2B5EF4-FFF2-40B4-BE49-F238E27FC236}">
                <a16:creationId xmlns:a16="http://schemas.microsoft.com/office/drawing/2014/main" id="{AE2C67CC-2750-4482-8B59-CCB1A055756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4223744732"/>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VH BFS -  - Leer">
    <p:spTree>
      <p:nvGrpSpPr>
        <p:cNvPr id="1" name=""/>
        <p:cNvGrpSpPr/>
        <p:nvPr/>
      </p:nvGrpSpPr>
      <p:grpSpPr>
        <a:xfrm>
          <a:off x="0" y="0"/>
          <a:ext cx="0" cy="0"/>
          <a:chOff x="0" y="0"/>
          <a:chExt cx="0" cy="0"/>
        </a:xfrm>
      </p:grpSpPr>
      <p:sp>
        <p:nvSpPr>
          <p:cNvPr id="3" name="Textplatzhalter 3"/>
          <p:cNvSpPr>
            <a:spLocks noGrp="1"/>
          </p:cNvSpPr>
          <p:nvPr>
            <p:ph type="body" sz="quarter" idx="17"/>
          </p:nvPr>
        </p:nvSpPr>
        <p:spPr>
          <a:xfrm>
            <a:off x="431803" y="1628776"/>
            <a:ext cx="11233151" cy="4392613"/>
          </a:xfrm>
          <a:prstGeom prst="rect">
            <a:avLst/>
          </a:prstGeom>
        </p:spPr>
        <p:txBody>
          <a:bodyPr vert="horz"/>
          <a:lstStyle>
            <a:lvl1pPr>
              <a:defRPr sz="4800">
                <a:solidFill>
                  <a:schemeClr val="tx1">
                    <a:lumMod val="50000"/>
                    <a:lumOff val="50000"/>
                  </a:schemeClr>
                </a:solidFill>
                <a:latin typeface="Century Gothic" pitchFamily="34" charset="0"/>
              </a:defRPr>
            </a:lvl1pPr>
            <a:lvl2pPr>
              <a:defRPr sz="4267">
                <a:solidFill>
                  <a:schemeClr val="tx1">
                    <a:lumMod val="50000"/>
                    <a:lumOff val="50000"/>
                  </a:schemeClr>
                </a:solidFill>
                <a:latin typeface="Century Gothic" pitchFamily="34" charset="0"/>
              </a:defRPr>
            </a:lvl2pPr>
            <a:lvl3pPr marL="1676358" indent="-457189">
              <a:buFont typeface="Arial"/>
              <a:buChar char="•"/>
              <a:defRPr sz="3733">
                <a:solidFill>
                  <a:schemeClr val="tx1">
                    <a:lumMod val="50000"/>
                    <a:lumOff val="50000"/>
                  </a:schemeClr>
                </a:solidFill>
                <a:latin typeface="Century Gothic" pitchFamily="34" charset="0"/>
              </a:defRPr>
            </a:lvl3pPr>
            <a:lvl4pPr>
              <a:defRPr sz="3200">
                <a:solidFill>
                  <a:schemeClr val="tx1">
                    <a:lumMod val="50000"/>
                    <a:lumOff val="50000"/>
                  </a:schemeClr>
                </a:solidFill>
                <a:latin typeface="Century Gothic" pitchFamily="34" charset="0"/>
              </a:defRPr>
            </a:lvl4pPr>
            <a:lvl5pPr>
              <a:defRPr sz="3200">
                <a:solidFill>
                  <a:schemeClr val="tx1">
                    <a:lumMod val="50000"/>
                    <a:lumOff val="50000"/>
                  </a:schemeClr>
                </a:solidFill>
                <a:latin typeface="Century Gothic"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itel 1"/>
          <p:cNvSpPr>
            <a:spLocks noGrp="1"/>
          </p:cNvSpPr>
          <p:nvPr>
            <p:ph type="title"/>
          </p:nvPr>
        </p:nvSpPr>
        <p:spPr>
          <a:xfrm>
            <a:off x="203202" y="48423"/>
            <a:ext cx="9821404" cy="968475"/>
          </a:xfrm>
          <a:prstGeom prst="rect">
            <a:avLst/>
          </a:prstGeom>
        </p:spPr>
        <p:txBody>
          <a:bodyPr anchor="b"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Century Gothic" pitchFamily="34" charset="0"/>
                <a:ea typeface="+mn-ea"/>
                <a:cs typeface="+mn-cs"/>
              </a:defRPr>
            </a:lvl1pPr>
          </a:lstStyle>
          <a:p>
            <a:r>
              <a:rPr lang="de-DE" dirty="0"/>
              <a:t>Titelmasterformat durch Klicken bearbeiten</a:t>
            </a:r>
          </a:p>
        </p:txBody>
      </p:sp>
    </p:spTree>
    <p:extLst>
      <p:ext uri="{BB962C8B-B14F-4D97-AF65-F5344CB8AC3E}">
        <p14:creationId xmlns:p14="http://schemas.microsoft.com/office/powerpoint/2010/main" val="36386363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VH BFS - Leer">
    <p:spTree>
      <p:nvGrpSpPr>
        <p:cNvPr id="1" name=""/>
        <p:cNvGrpSpPr/>
        <p:nvPr/>
      </p:nvGrpSpPr>
      <p:grpSpPr>
        <a:xfrm>
          <a:off x="0" y="0"/>
          <a:ext cx="0" cy="0"/>
          <a:chOff x="0" y="0"/>
          <a:chExt cx="0" cy="0"/>
        </a:xfrm>
      </p:grpSpPr>
      <p:sp>
        <p:nvSpPr>
          <p:cNvPr id="3" name="Textplatzhalter 24"/>
          <p:cNvSpPr>
            <a:spLocks noGrp="1"/>
          </p:cNvSpPr>
          <p:nvPr>
            <p:ph type="body" sz="quarter" idx="10"/>
          </p:nvPr>
        </p:nvSpPr>
        <p:spPr>
          <a:xfrm>
            <a:off x="203202" y="1009667"/>
            <a:ext cx="10668036" cy="285735"/>
          </a:xfrm>
          <a:prstGeom prst="rect">
            <a:avLst/>
          </a:prstGeom>
        </p:spPr>
        <p:txBody>
          <a:bodyPr/>
          <a:lstStyle>
            <a:lvl1pPr>
              <a:buNone/>
              <a:defRPr sz="1600" i="1">
                <a:solidFill>
                  <a:schemeClr val="accent1">
                    <a:lumMod val="75000"/>
                  </a:schemeClr>
                </a:solidFill>
              </a:defRPr>
            </a:lvl1pPr>
          </a:lstStyle>
          <a:p>
            <a:pPr lvl="0"/>
            <a:r>
              <a:rPr lang="de-DE"/>
              <a:t>Textmasterformate durch Klicken bearbeiten</a:t>
            </a:r>
          </a:p>
        </p:txBody>
      </p:sp>
      <p:sp>
        <p:nvSpPr>
          <p:cNvPr id="4" name="Titel 1"/>
          <p:cNvSpPr>
            <a:spLocks noGrp="1"/>
          </p:cNvSpPr>
          <p:nvPr>
            <p:ph type="title"/>
          </p:nvPr>
        </p:nvSpPr>
        <p:spPr>
          <a:xfrm>
            <a:off x="203202" y="457201"/>
            <a:ext cx="9821404" cy="608120"/>
          </a:xfrm>
          <a:prstGeom prst="rect">
            <a:avLst/>
          </a:prstGeom>
        </p:spPr>
        <p:txBody>
          <a:bodyPr anchor="ctr"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
        <p:nvSpPr>
          <p:cNvPr id="5" name="Textplatzhalter 24"/>
          <p:cNvSpPr>
            <a:spLocks noGrp="1"/>
          </p:cNvSpPr>
          <p:nvPr>
            <p:ph type="body" sz="quarter" idx="11"/>
          </p:nvPr>
        </p:nvSpPr>
        <p:spPr>
          <a:xfrm>
            <a:off x="7786063"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6" name="Textplatzhalter 24"/>
          <p:cNvSpPr>
            <a:spLocks noGrp="1"/>
          </p:cNvSpPr>
          <p:nvPr>
            <p:ph type="body" sz="quarter" idx="13"/>
          </p:nvPr>
        </p:nvSpPr>
        <p:spPr>
          <a:xfrm>
            <a:off x="5289784"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7" name="Textplatzhalter 24"/>
          <p:cNvSpPr>
            <a:spLocks noGrp="1"/>
          </p:cNvSpPr>
          <p:nvPr>
            <p:ph type="body" sz="quarter" idx="14"/>
          </p:nvPr>
        </p:nvSpPr>
        <p:spPr>
          <a:xfrm>
            <a:off x="47331" y="0"/>
            <a:ext cx="268223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8" name="Textplatzhalter 2"/>
          <p:cNvSpPr>
            <a:spLocks noGrp="1"/>
          </p:cNvSpPr>
          <p:nvPr>
            <p:ph type="body" sz="quarter" idx="16"/>
          </p:nvPr>
        </p:nvSpPr>
        <p:spPr>
          <a:xfrm>
            <a:off x="2831637" y="0"/>
            <a:ext cx="2414400" cy="306000"/>
          </a:xfrm>
          <a:prstGeom prst="rect">
            <a:avLst/>
          </a:prstGeom>
        </p:spPr>
        <p:txBody>
          <a:bodyPr/>
          <a:lstStyle>
            <a:lvl1pPr marL="0" indent="0">
              <a:buFontTx/>
              <a:buNone/>
              <a:defRPr kumimoji="0" lang="de-DE" sz="1467" b="0" i="0" u="none" strike="noStrike" cap="none" spc="0" normalizeH="0" baseline="0" smtClean="0">
                <a:ln>
                  <a:noFill/>
                </a:ln>
                <a:solidFill>
                  <a:srgbClr val="556DA4"/>
                </a:solidFill>
                <a:effectLst/>
                <a:uLnTx/>
                <a:uFillTx/>
              </a:defRPr>
            </a:lvl1pPr>
            <a:lvl2pPr>
              <a:defRPr lang="de-DE" smtClean="0"/>
            </a:lvl2pPr>
            <a:lvl3pPr>
              <a:defRPr lang="de-DE" smtClean="0"/>
            </a:lvl3pPr>
            <a:lvl4pPr>
              <a:defRPr lang="de-DE" smtClean="0"/>
            </a:lvl4pPr>
            <a:lvl5pPr>
              <a:defRPr lang="de-DE"/>
            </a:lvl5pPr>
          </a:lstStyle>
          <a:p>
            <a:pPr lvl="0"/>
            <a:r>
              <a:rPr lang="de-DE"/>
              <a:t>Textmasterformate durch Klicken bearbeiten</a:t>
            </a:r>
          </a:p>
        </p:txBody>
      </p:sp>
    </p:spTree>
    <p:extLst>
      <p:ext uri="{BB962C8B-B14F-4D97-AF65-F5344CB8AC3E}">
        <p14:creationId xmlns:p14="http://schemas.microsoft.com/office/powerpoint/2010/main" val="22256598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D88D387-A8C2-5D4D-B7C6-F4900CCAC37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0">
            <a:extLst>
              <a:ext uri="{FF2B5EF4-FFF2-40B4-BE49-F238E27FC236}">
                <a16:creationId xmlns:a16="http://schemas.microsoft.com/office/drawing/2014/main" id="{541193BA-99FA-4F49-A930-D48F18515AAD}"/>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6" name="Straight Connector 5">
            <a:extLst>
              <a:ext uri="{FF2B5EF4-FFF2-40B4-BE49-F238E27FC236}">
                <a16:creationId xmlns:a16="http://schemas.microsoft.com/office/drawing/2014/main" id="{0664311E-0B80-EC47-B74F-51E3700AA26A}"/>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7F7B13EE-8683-9347-B971-1236D5F0ED8B}"/>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8" name="Untertitel 2">
            <a:extLst>
              <a:ext uri="{FF2B5EF4-FFF2-40B4-BE49-F238E27FC236}">
                <a16:creationId xmlns:a16="http://schemas.microsoft.com/office/drawing/2014/main" id="{869CABD3-5A99-2A44-8879-AF2FEEE6F2F6}"/>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2" name="Grafik 1">
            <a:extLst>
              <a:ext uri="{FF2B5EF4-FFF2-40B4-BE49-F238E27FC236}">
                <a16:creationId xmlns:a16="http://schemas.microsoft.com/office/drawing/2014/main" id="{6CAE3764-C72D-40EA-8F19-C304DBF715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10287735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D94EB45E-1150-674F-8661-12A19522B89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0">
            <a:extLst>
              <a:ext uri="{FF2B5EF4-FFF2-40B4-BE49-F238E27FC236}">
                <a16:creationId xmlns:a16="http://schemas.microsoft.com/office/drawing/2014/main" id="{88296887-8993-49E6-B857-80980E49E248}"/>
              </a:ext>
            </a:extLst>
          </p:cNvPr>
          <p:cNvSpPr/>
          <p:nvPr userDrawn="1"/>
        </p:nvSpPr>
        <p:spPr>
          <a:xfrm>
            <a:off x="0" y="3768035"/>
            <a:ext cx="12183688" cy="2414588"/>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cxnSp>
        <p:nvCxnSpPr>
          <p:cNvPr id="14" name="Straight Connector 5">
            <a:extLst>
              <a:ext uri="{FF2B5EF4-FFF2-40B4-BE49-F238E27FC236}">
                <a16:creationId xmlns:a16="http://schemas.microsoft.com/office/drawing/2014/main" id="{13EE465C-73CA-49C7-857A-71B577D6F569}"/>
              </a:ext>
            </a:extLst>
          </p:cNvPr>
          <p:cNvCxnSpPr/>
          <p:nvPr userDrawn="1"/>
        </p:nvCxnSpPr>
        <p:spPr>
          <a:xfrm flipH="1" flipV="1">
            <a:off x="4553876" y="3928444"/>
            <a:ext cx="0" cy="19800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17837A7C-B2D9-49AF-AD1B-5423E61638F6}"/>
              </a:ext>
            </a:extLst>
          </p:cNvPr>
          <p:cNvSpPr>
            <a:spLocks noGrp="1"/>
          </p:cNvSpPr>
          <p:nvPr>
            <p:ph type="ctrTitle"/>
          </p:nvPr>
        </p:nvSpPr>
        <p:spPr>
          <a:xfrm>
            <a:off x="5486400" y="3928444"/>
            <a:ext cx="5181597" cy="1193800"/>
          </a:xfrm>
          <a:prstGeom prst="rect">
            <a:avLst/>
          </a:prstGeom>
        </p:spPr>
        <p:txBody>
          <a:bodyPr anchor="b"/>
          <a:lstStyle>
            <a:lvl1pPr algn="l">
              <a:defRPr sz="30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FFC94D79-A0AA-4F54-B326-4EF111B3333F}"/>
              </a:ext>
            </a:extLst>
          </p:cNvPr>
          <p:cNvSpPr>
            <a:spLocks noGrp="1"/>
          </p:cNvSpPr>
          <p:nvPr>
            <p:ph type="subTitle" idx="1"/>
          </p:nvPr>
        </p:nvSpPr>
        <p:spPr>
          <a:xfrm>
            <a:off x="5486403" y="5197757"/>
            <a:ext cx="5181599" cy="710691"/>
          </a:xfrm>
          <a:prstGeom prst="rect">
            <a:avLst/>
          </a:prstGeom>
        </p:spPr>
        <p:txBody>
          <a:bodyPr/>
          <a:lstStyle>
            <a:lvl1pPr marL="0" indent="0" algn="l">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pic>
        <p:nvPicPr>
          <p:cNvPr id="4" name="Grafik 3">
            <a:extLst>
              <a:ext uri="{FF2B5EF4-FFF2-40B4-BE49-F238E27FC236}">
                <a16:creationId xmlns:a16="http://schemas.microsoft.com/office/drawing/2014/main" id="{55F0AB4B-F788-483F-906C-CEA30754AAE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486" y="4327627"/>
            <a:ext cx="3246127" cy="1295403"/>
          </a:xfrm>
          <a:prstGeom prst="rect">
            <a:avLst/>
          </a:prstGeom>
        </p:spPr>
      </p:pic>
    </p:spTree>
    <p:extLst>
      <p:ext uri="{BB962C8B-B14F-4D97-AF65-F5344CB8AC3E}">
        <p14:creationId xmlns:p14="http://schemas.microsoft.com/office/powerpoint/2010/main" val="2377488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0B868D4-8C5A-BE4F-9CCD-8BE7660B19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26328443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Abschnitts-&#10;überschrift">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D991D82B-DAD5-584D-BD28-72BBE696454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1">
            <a:extLst>
              <a:ext uri="{FF2B5EF4-FFF2-40B4-BE49-F238E27FC236}">
                <a16:creationId xmlns:a16="http://schemas.microsoft.com/office/drawing/2014/main" id="{052E00C8-0879-4986-84EF-32FD336B21AA}"/>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National Book" charset="0"/>
              <a:cs typeface="National Book" charset="0"/>
            </a:endParaRPr>
          </a:p>
        </p:txBody>
      </p:sp>
      <p:grpSp>
        <p:nvGrpSpPr>
          <p:cNvPr id="10" name="Group 27">
            <a:extLst>
              <a:ext uri="{FF2B5EF4-FFF2-40B4-BE49-F238E27FC236}">
                <a16:creationId xmlns:a16="http://schemas.microsoft.com/office/drawing/2014/main" id="{754CB806-DB16-458C-B715-E05E1A6FE54A}"/>
              </a:ext>
            </a:extLst>
          </p:cNvPr>
          <p:cNvGrpSpPr/>
          <p:nvPr userDrawn="1"/>
        </p:nvGrpSpPr>
        <p:grpSpPr>
          <a:xfrm>
            <a:off x="558594" y="2228498"/>
            <a:ext cx="2818959" cy="1107996"/>
            <a:chOff x="409905" y="1905027"/>
            <a:chExt cx="3597639" cy="1107996"/>
          </a:xfrm>
        </p:grpSpPr>
        <p:sp>
          <p:nvSpPr>
            <p:cNvPr id="11" name="TextBox 2">
              <a:extLst>
                <a:ext uri="{FF2B5EF4-FFF2-40B4-BE49-F238E27FC236}">
                  <a16:creationId xmlns:a16="http://schemas.microsoft.com/office/drawing/2014/main" id="{8F910E87-D55F-4EC3-87D4-10AFA1812BBD}"/>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B7199212-5A6D-4710-AD9E-41054FE40C97}"/>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 name="Titel 1">
            <a:extLst>
              <a:ext uri="{FF2B5EF4-FFF2-40B4-BE49-F238E27FC236}">
                <a16:creationId xmlns:a16="http://schemas.microsoft.com/office/drawing/2014/main" id="{23F229BC-378E-483E-91AE-0711952269D2}"/>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16" name="Untertitel 2">
            <a:extLst>
              <a:ext uri="{FF2B5EF4-FFF2-40B4-BE49-F238E27FC236}">
                <a16:creationId xmlns:a16="http://schemas.microsoft.com/office/drawing/2014/main" id="{D6DBCE09-5C25-42F6-B840-6A1C2B905CBB}"/>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7366967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933582BF-E8DC-9244-A11A-6BD1F923BDF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1561"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14962156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8747EC2B-ABD9-8343-AE78-D1CC82D5184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1" y="391151"/>
            <a:ext cx="479703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Tree>
    <p:extLst>
      <p:ext uri="{BB962C8B-B14F-4D97-AF65-F5344CB8AC3E}">
        <p14:creationId xmlns:p14="http://schemas.microsoft.com/office/powerpoint/2010/main" val="27344018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Abschnitts-&#10;überschrif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0E0894F9-65EA-5B4C-BAFD-657DA74536D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
            <a:extLst>
              <a:ext uri="{FF2B5EF4-FFF2-40B4-BE49-F238E27FC236}">
                <a16:creationId xmlns:a16="http://schemas.microsoft.com/office/drawing/2014/main" id="{E0CA7360-3286-4940-9094-CB61EAB3EFAB}"/>
              </a:ext>
            </a:extLst>
          </p:cNvPr>
          <p:cNvSpPr/>
          <p:nvPr userDrawn="1"/>
        </p:nvSpPr>
        <p:spPr>
          <a:xfrm>
            <a:off x="3"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4" name="Group 27">
            <a:extLst>
              <a:ext uri="{FF2B5EF4-FFF2-40B4-BE49-F238E27FC236}">
                <a16:creationId xmlns:a16="http://schemas.microsoft.com/office/drawing/2014/main" id="{FF4F8314-FA9F-46EE-88E7-A7E251549671}"/>
              </a:ext>
            </a:extLst>
          </p:cNvPr>
          <p:cNvGrpSpPr/>
          <p:nvPr userDrawn="1"/>
        </p:nvGrpSpPr>
        <p:grpSpPr>
          <a:xfrm>
            <a:off x="1" y="391151"/>
            <a:ext cx="4797039" cy="1107996"/>
            <a:chOff x="409905" y="1905027"/>
            <a:chExt cx="3597639" cy="1107996"/>
          </a:xfrm>
        </p:grpSpPr>
        <p:sp>
          <p:nvSpPr>
            <p:cNvPr id="17" name="TextBox 2">
              <a:extLst>
                <a:ext uri="{FF2B5EF4-FFF2-40B4-BE49-F238E27FC236}">
                  <a16:creationId xmlns:a16="http://schemas.microsoft.com/office/drawing/2014/main" id="{C6625462-1F8D-40A5-8107-D3497ABE9EA5}"/>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8" name="Straight Connector 25">
              <a:extLst>
                <a:ext uri="{FF2B5EF4-FFF2-40B4-BE49-F238E27FC236}">
                  <a16:creationId xmlns:a16="http://schemas.microsoft.com/office/drawing/2014/main" id="{4C1D05BA-B07F-4A50-9DFC-D6F7DAD095F8}"/>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9" name="Untertitel 2">
            <a:extLst>
              <a:ext uri="{FF2B5EF4-FFF2-40B4-BE49-F238E27FC236}">
                <a16:creationId xmlns:a16="http://schemas.microsoft.com/office/drawing/2014/main" id="{268855A9-8E63-4AFF-842B-A28BA7276DD5}"/>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20" name="Titel 1">
            <a:extLst>
              <a:ext uri="{FF2B5EF4-FFF2-40B4-BE49-F238E27FC236}">
                <a16:creationId xmlns:a16="http://schemas.microsoft.com/office/drawing/2014/main" id="{6A4ED599-A951-4830-9960-DC1349CF67D0}"/>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433594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D5381C92-B43B-D24F-A657-6CE95E470F8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9" name="Rectangle 1">
            <a:extLst>
              <a:ext uri="{FF2B5EF4-FFF2-40B4-BE49-F238E27FC236}">
                <a16:creationId xmlns:a16="http://schemas.microsoft.com/office/drawing/2014/main" id="{46A18958-DBEA-4FD5-BA44-724F3D2529A5}"/>
              </a:ext>
            </a:extLst>
          </p:cNvPr>
          <p:cNvSpPr/>
          <p:nvPr userDrawn="1"/>
        </p:nvSpPr>
        <p:spPr>
          <a:xfrm>
            <a:off x="-41562" y="0"/>
            <a:ext cx="4797036"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10" name="Group 27">
            <a:extLst>
              <a:ext uri="{FF2B5EF4-FFF2-40B4-BE49-F238E27FC236}">
                <a16:creationId xmlns:a16="http://schemas.microsoft.com/office/drawing/2014/main" id="{451CB676-5CAD-46B3-91CA-0177948A52EF}"/>
              </a:ext>
            </a:extLst>
          </p:cNvPr>
          <p:cNvGrpSpPr/>
          <p:nvPr userDrawn="1"/>
        </p:nvGrpSpPr>
        <p:grpSpPr>
          <a:xfrm>
            <a:off x="1" y="391151"/>
            <a:ext cx="4797039" cy="1107996"/>
            <a:chOff x="409905" y="1905027"/>
            <a:chExt cx="3597639" cy="1107996"/>
          </a:xfrm>
        </p:grpSpPr>
        <p:sp>
          <p:nvSpPr>
            <p:cNvPr id="11" name="TextBox 2">
              <a:extLst>
                <a:ext uri="{FF2B5EF4-FFF2-40B4-BE49-F238E27FC236}">
                  <a16:creationId xmlns:a16="http://schemas.microsoft.com/office/drawing/2014/main" id="{1ADA01FB-8872-45CA-882E-0AC59039D751}"/>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12" name="Straight Connector 25">
              <a:extLst>
                <a:ext uri="{FF2B5EF4-FFF2-40B4-BE49-F238E27FC236}">
                  <a16:creationId xmlns:a16="http://schemas.microsoft.com/office/drawing/2014/main" id="{2C78E445-29B6-4346-A087-4E7CB8E3675F}"/>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Untertitel 2">
            <a:extLst>
              <a:ext uri="{FF2B5EF4-FFF2-40B4-BE49-F238E27FC236}">
                <a16:creationId xmlns:a16="http://schemas.microsoft.com/office/drawing/2014/main" id="{E896C48B-F3A9-449E-854A-AF21E4C3FAF1}"/>
              </a:ext>
            </a:extLst>
          </p:cNvPr>
          <p:cNvSpPr>
            <a:spLocks noGrp="1"/>
          </p:cNvSpPr>
          <p:nvPr>
            <p:ph type="subTitle" idx="1"/>
          </p:nvPr>
        </p:nvSpPr>
        <p:spPr>
          <a:xfrm>
            <a:off x="1754735" y="1720636"/>
            <a:ext cx="2899871" cy="1270390"/>
          </a:xfrm>
          <a:prstGeom prst="rect">
            <a:avLst/>
          </a:prstGeom>
        </p:spPr>
        <p:txBody>
          <a:bodyPr/>
          <a:lstStyle>
            <a:lvl1pPr marL="0" indent="0" algn="l">
              <a:buNone/>
              <a:defRPr sz="10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endParaRPr lang="de-DE" dirty="0"/>
          </a:p>
        </p:txBody>
      </p:sp>
      <p:sp>
        <p:nvSpPr>
          <p:cNvPr id="14" name="Titel 1">
            <a:extLst>
              <a:ext uri="{FF2B5EF4-FFF2-40B4-BE49-F238E27FC236}">
                <a16:creationId xmlns:a16="http://schemas.microsoft.com/office/drawing/2014/main" id="{1F39E1A0-45A6-45B9-933D-EE62E725FD58}"/>
              </a:ext>
            </a:extLst>
          </p:cNvPr>
          <p:cNvSpPr>
            <a:spLocks noGrp="1"/>
          </p:cNvSpPr>
          <p:nvPr>
            <p:ph type="ctrTitle" hasCustomPrompt="1"/>
          </p:nvPr>
        </p:nvSpPr>
        <p:spPr>
          <a:xfrm>
            <a:off x="159633" y="295546"/>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Ansprechpartner</a:t>
            </a:r>
          </a:p>
        </p:txBody>
      </p:sp>
    </p:spTree>
    <p:extLst>
      <p:ext uri="{BB962C8B-B14F-4D97-AF65-F5344CB8AC3E}">
        <p14:creationId xmlns:p14="http://schemas.microsoft.com/office/powerpoint/2010/main" val="3006440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el und Inhalt Hintergrund II">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AB625085-71A7-4A0A-A993-D9977AB3AEC0}"/>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9" name="Textplatzhalter 4">
            <a:extLst>
              <a:ext uri="{FF2B5EF4-FFF2-40B4-BE49-F238E27FC236}">
                <a16:creationId xmlns:a16="http://schemas.microsoft.com/office/drawing/2014/main" id="{A7745FCD-6856-4BE6-B88D-53955AF5853B}"/>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0" name="Textplatzhalter 4">
            <a:extLst>
              <a:ext uri="{FF2B5EF4-FFF2-40B4-BE49-F238E27FC236}">
                <a16:creationId xmlns:a16="http://schemas.microsoft.com/office/drawing/2014/main" id="{9646F520-72EE-4E22-8934-5C7A573D485A}"/>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Inhaltsplatzhalter 2">
            <a:extLst>
              <a:ext uri="{FF2B5EF4-FFF2-40B4-BE49-F238E27FC236}">
                <a16:creationId xmlns:a16="http://schemas.microsoft.com/office/drawing/2014/main" id="{FCC598D5-52DE-4CC8-8FB5-A113C84163E3}"/>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2" name="Inhaltsplatzhalter 2">
            <a:extLst>
              <a:ext uri="{FF2B5EF4-FFF2-40B4-BE49-F238E27FC236}">
                <a16:creationId xmlns:a16="http://schemas.microsoft.com/office/drawing/2014/main" id="{AE2C67CC-2750-4482-8B59-CCB1A055756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3770154185"/>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9_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947F7AF-DA4E-364B-91D7-AA5991B48A8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1392832859"/>
      </p:ext>
    </p:extLst>
  </p:cSld>
  <p:clrMapOvr>
    <a:masterClrMapping/>
  </p:clrMapOvr>
  <p:extLst>
    <p:ext uri="{DCECCB84-F9BA-43D5-87BE-67443E8EF086}">
      <p15:sldGuideLst xmlns:p15="http://schemas.microsoft.com/office/powerpoint/2012/main">
        <p15:guide id="3" orient="horz" pos="845" userDrawn="1">
          <p15:clr>
            <a:srgbClr val="FBAE40"/>
          </p15:clr>
        </p15:guide>
        <p15:guide id="4" orient="horz" pos="3906" userDrawn="1">
          <p15:clr>
            <a:srgbClr val="FBAE40"/>
          </p15:clr>
        </p15:guide>
        <p15:guide id="5" pos="211" userDrawn="1">
          <p15:clr>
            <a:srgbClr val="FBAE40"/>
          </p15:clr>
        </p15:guide>
        <p15:guide id="6" pos="7469"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0_Titel und Inhal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3F0BDCA-12C9-6547-B1BE-8836FB65020C}"/>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3198967133"/>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1_Titel und Inhalt">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EE0928D-8AA3-F741-9C02-C2E2BC499F6E}"/>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9" name="Inhaltsplatzhalter 2">
            <a:extLst>
              <a:ext uri="{FF2B5EF4-FFF2-40B4-BE49-F238E27FC236}">
                <a16:creationId xmlns:a16="http://schemas.microsoft.com/office/drawing/2014/main" id="{7B42A3FD-D834-4983-8957-9C8275213A7D}"/>
              </a:ext>
            </a:extLst>
          </p:cNvPr>
          <p:cNvSpPr>
            <a:spLocks noGrp="1"/>
          </p:cNvSpPr>
          <p:nvPr>
            <p:ph idx="1" hasCustomPrompt="1"/>
          </p:nvPr>
        </p:nvSpPr>
        <p:spPr>
          <a:xfrm>
            <a:off x="334963" y="1360898"/>
            <a:ext cx="11522076" cy="4839881"/>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11" name="Foliennummernplatzhalter 4">
            <a:extLst>
              <a:ext uri="{FF2B5EF4-FFF2-40B4-BE49-F238E27FC236}">
                <a16:creationId xmlns:a16="http://schemas.microsoft.com/office/drawing/2014/main" id="{43B66354-EAA8-453C-8C75-8FEC443BF00D}"/>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Tree>
    <p:extLst>
      <p:ext uri="{BB962C8B-B14F-4D97-AF65-F5344CB8AC3E}">
        <p14:creationId xmlns:p14="http://schemas.microsoft.com/office/powerpoint/2010/main" val="4096975452"/>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2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1461AE9C-E874-0743-97A6-4BFC2D844700}"/>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1089845575"/>
      </p:ext>
    </p:extLst>
  </p:cSld>
  <p:clrMapOvr>
    <a:masterClrMapping/>
  </p:clrMapOvr>
  <p:extLst>
    <p:ext uri="{DCECCB84-F9BA-43D5-87BE-67443E8EF086}">
      <p15:sldGuideLst xmlns:p15="http://schemas.microsoft.com/office/powerpoint/2012/main">
        <p15:guide id="3" orient="horz" pos="845" userDrawn="1">
          <p15:clr>
            <a:srgbClr val="FBAE40"/>
          </p15:clr>
        </p15:guide>
        <p15:guide id="4" orient="horz" pos="3906" userDrawn="1">
          <p15:clr>
            <a:srgbClr val="FBAE40"/>
          </p15:clr>
        </p15:guide>
        <p15:guide id="5" pos="211" userDrawn="1">
          <p15:clr>
            <a:srgbClr val="FBAE40"/>
          </p15:clr>
        </p15:guide>
        <p15:guide id="6" pos="7469"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3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FAFEB42-7041-9D48-A01E-597C85F165B4}"/>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755947224"/>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5_Titel und Inhal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04EC5AE3-E177-964F-A878-572E95985F93}"/>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sp>
        <p:nvSpPr>
          <p:cNvPr id="9" name="Textplatzhalter 4">
            <a:extLst>
              <a:ext uri="{FF2B5EF4-FFF2-40B4-BE49-F238E27FC236}">
                <a16:creationId xmlns:a16="http://schemas.microsoft.com/office/drawing/2014/main" id="{17407B7E-2545-446C-BF90-64AF44461167}"/>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Textplatzhalter 4">
            <a:extLst>
              <a:ext uri="{FF2B5EF4-FFF2-40B4-BE49-F238E27FC236}">
                <a16:creationId xmlns:a16="http://schemas.microsoft.com/office/drawing/2014/main" id="{E2E48FE2-58F8-4ACC-AEED-0B262C92A305}"/>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2" name="Inhaltsplatzhalter 2">
            <a:extLst>
              <a:ext uri="{FF2B5EF4-FFF2-40B4-BE49-F238E27FC236}">
                <a16:creationId xmlns:a16="http://schemas.microsoft.com/office/drawing/2014/main" id="{7423742C-559D-44C2-A73A-F3DFE12BE34D}"/>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3" name="Inhaltsplatzhalter 2">
            <a:extLst>
              <a:ext uri="{FF2B5EF4-FFF2-40B4-BE49-F238E27FC236}">
                <a16:creationId xmlns:a16="http://schemas.microsoft.com/office/drawing/2014/main" id="{9DC74474-7D10-4AC3-A4E0-5891168BBDA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3853111927"/>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4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78828E90-85D9-D042-8F51-B2D65131D92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8312" y="0"/>
            <a:ext cx="12183688" cy="6858000"/>
          </a:xfrm>
          <a:prstGeom prst="rect">
            <a:avLst/>
          </a:prstGeom>
        </p:spPr>
      </p:pic>
    </p:spTree>
    <p:extLst>
      <p:ext uri="{BB962C8B-B14F-4D97-AF65-F5344CB8AC3E}">
        <p14:creationId xmlns:p14="http://schemas.microsoft.com/office/powerpoint/2010/main" val="693076196"/>
      </p:ext>
    </p:extLst>
  </p:cSld>
  <p:clrMapOvr>
    <a:masterClrMapping/>
  </p:clrMapOvr>
  <p:extLst>
    <p:ext uri="{DCECCB84-F9BA-43D5-87BE-67443E8EF086}">
      <p15:sldGuideLst xmlns:p15="http://schemas.microsoft.com/office/powerpoint/2012/main">
        <p15:guide id="3" orient="horz" pos="845" userDrawn="1">
          <p15:clr>
            <a:srgbClr val="FBAE40"/>
          </p15:clr>
        </p15:guide>
        <p15:guide id="4" orient="horz" pos="3906" userDrawn="1">
          <p15:clr>
            <a:srgbClr val="FBAE40"/>
          </p15:clr>
        </p15:guide>
        <p15:guide id="5" pos="211" userDrawn="1">
          <p15:clr>
            <a:srgbClr val="FBAE40"/>
          </p15:clr>
        </p15:guide>
        <p15:guide id="6" pos="7469"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6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E6FF8564-BD36-4244-8A47-8AA6E9EFED8D}"/>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064741794"/>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7_Titel und Inhalt">
    <p:spTree>
      <p:nvGrpSpPr>
        <p:cNvPr id="1" name=""/>
        <p:cNvGrpSpPr/>
        <p:nvPr/>
      </p:nvGrpSpPr>
      <p:grpSpPr>
        <a:xfrm>
          <a:off x="0" y="0"/>
          <a:ext cx="0" cy="0"/>
          <a:chOff x="0" y="0"/>
          <a:chExt cx="0" cy="0"/>
        </a:xfrm>
      </p:grpSpPr>
      <p:sp>
        <p:nvSpPr>
          <p:cNvPr id="24" name="Inhaltsplatzhalter 2">
            <a:extLst>
              <a:ext uri="{FF2B5EF4-FFF2-40B4-BE49-F238E27FC236}">
                <a16:creationId xmlns:a16="http://schemas.microsoft.com/office/drawing/2014/main" id="{88FC8E07-4944-4D36-BBE4-9586CB176BB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8" name="Inhaltsplatzhalter 2">
            <a:extLst>
              <a:ext uri="{FF2B5EF4-FFF2-40B4-BE49-F238E27FC236}">
                <a16:creationId xmlns:a16="http://schemas.microsoft.com/office/drawing/2014/main" id="{65441E62-2DD9-405C-B269-D80BA3A835CA}"/>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5" name="Foliennummernplatzhalter 4">
            <a:extLst>
              <a:ext uri="{FF2B5EF4-FFF2-40B4-BE49-F238E27FC236}">
                <a16:creationId xmlns:a16="http://schemas.microsoft.com/office/drawing/2014/main" id="{B2A90E9A-D37F-4924-A2A5-B2D00A711212}"/>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A58C7A49-2F77-4CE1-96B3-08994EE53B80}" type="slidenum">
              <a:rPr lang="de-DE" smtClean="0"/>
              <a:pPr/>
              <a:t>‹Nr.›</a:t>
            </a:fld>
            <a:endParaRPr lang="de-DE" dirty="0"/>
          </a:p>
        </p:txBody>
      </p:sp>
      <p:pic>
        <p:nvPicPr>
          <p:cNvPr id="6" name="Grafik 5">
            <a:extLst>
              <a:ext uri="{FF2B5EF4-FFF2-40B4-BE49-F238E27FC236}">
                <a16:creationId xmlns:a16="http://schemas.microsoft.com/office/drawing/2014/main" id="{9AF320EE-77C0-DD44-80B5-E588D4781B98}"/>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904353857"/>
      </p:ext>
    </p:extLst>
  </p:cSld>
  <p:clrMapOvr>
    <a:masterClrMapping/>
  </p:clrMapOvr>
  <p:extLst>
    <p:ext uri="{DCECCB84-F9BA-43D5-87BE-67443E8EF086}">
      <p15:sldGuideLst xmlns:p15="http://schemas.microsoft.com/office/powerpoint/2012/main">
        <p15:guide id="3" orient="horz" pos="845">
          <p15:clr>
            <a:srgbClr val="FBAE40"/>
          </p15:clr>
        </p15:guide>
        <p15:guide id="4" orient="horz" pos="3906">
          <p15:clr>
            <a:srgbClr val="FBAE40"/>
          </p15:clr>
        </p15:guide>
        <p15:guide id="5" pos="211">
          <p15:clr>
            <a:srgbClr val="FBAE40"/>
          </p15:clr>
        </p15:guide>
        <p15:guide id="6" pos="746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onsult.IN - Leer">
    <p:spTree>
      <p:nvGrpSpPr>
        <p:cNvPr id="1" name=""/>
        <p:cNvGrpSpPr/>
        <p:nvPr/>
      </p:nvGrpSpPr>
      <p:grpSpPr>
        <a:xfrm>
          <a:off x="0" y="0"/>
          <a:ext cx="0" cy="0"/>
          <a:chOff x="0" y="0"/>
          <a:chExt cx="0" cy="0"/>
        </a:xfrm>
      </p:grpSpPr>
      <p:sp>
        <p:nvSpPr>
          <p:cNvPr id="3" name="Textplatzhalter 24"/>
          <p:cNvSpPr>
            <a:spLocks noGrp="1"/>
          </p:cNvSpPr>
          <p:nvPr>
            <p:ph type="body" sz="quarter" idx="10"/>
          </p:nvPr>
        </p:nvSpPr>
        <p:spPr>
          <a:xfrm>
            <a:off x="203202" y="1009667"/>
            <a:ext cx="10668036" cy="285735"/>
          </a:xfrm>
          <a:prstGeom prst="rect">
            <a:avLst/>
          </a:prstGeom>
        </p:spPr>
        <p:txBody>
          <a:bodyPr/>
          <a:lstStyle>
            <a:lvl1pPr>
              <a:buNone/>
              <a:defRPr sz="1600" i="1">
                <a:solidFill>
                  <a:schemeClr val="accent1">
                    <a:lumMod val="75000"/>
                  </a:schemeClr>
                </a:solidFill>
              </a:defRPr>
            </a:lvl1pPr>
          </a:lstStyle>
          <a:p>
            <a:pPr lvl="0"/>
            <a:r>
              <a:rPr lang="de-DE"/>
              <a:t>Textmasterformate durch Klicken bearbeiten</a:t>
            </a:r>
          </a:p>
        </p:txBody>
      </p:sp>
      <p:sp>
        <p:nvSpPr>
          <p:cNvPr id="4" name="Titel 1"/>
          <p:cNvSpPr>
            <a:spLocks noGrp="1"/>
          </p:cNvSpPr>
          <p:nvPr>
            <p:ph type="title"/>
          </p:nvPr>
        </p:nvSpPr>
        <p:spPr>
          <a:xfrm>
            <a:off x="203202" y="457201"/>
            <a:ext cx="9821404" cy="608120"/>
          </a:xfrm>
          <a:prstGeom prst="rect">
            <a:avLst/>
          </a:prstGeom>
        </p:spPr>
        <p:txBody>
          <a:bodyPr anchor="ctr" anchorCtr="0">
            <a:noAutofit/>
          </a:bodyPr>
          <a:lstStyle>
            <a:lvl1pPr algn="l" defTabSz="1219170" rtl="0" eaLnBrk="1" latinLnBrk="0" hangingPunct="1">
              <a:spcBef>
                <a:spcPct val="0"/>
              </a:spcBef>
              <a:buNone/>
              <a:defRPr kumimoji="0" lang="de-DE" sz="3733" b="1" i="0" u="none" strike="noStrike" kern="1200" cap="none" spc="0" normalizeH="0" baseline="0" noProof="0" dirty="0" smtClean="0">
                <a:ln>
                  <a:noFill/>
                </a:ln>
                <a:solidFill>
                  <a:srgbClr val="133176"/>
                </a:solidFill>
                <a:effectLst/>
                <a:uLnTx/>
                <a:uFillTx/>
                <a:latin typeface="+mn-lt"/>
                <a:ea typeface="+mn-ea"/>
                <a:cs typeface="+mn-cs"/>
              </a:defRPr>
            </a:lvl1pPr>
          </a:lstStyle>
          <a:p>
            <a:r>
              <a:rPr lang="de-DE" dirty="0"/>
              <a:t>Titelmasterformat durch Klicken bearbeiten</a:t>
            </a:r>
          </a:p>
        </p:txBody>
      </p:sp>
      <p:sp>
        <p:nvSpPr>
          <p:cNvPr id="5" name="Textplatzhalter 24"/>
          <p:cNvSpPr>
            <a:spLocks noGrp="1"/>
          </p:cNvSpPr>
          <p:nvPr>
            <p:ph type="body" sz="quarter" idx="11"/>
          </p:nvPr>
        </p:nvSpPr>
        <p:spPr>
          <a:xfrm>
            <a:off x="7786063"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6" name="Textplatzhalter 24"/>
          <p:cNvSpPr>
            <a:spLocks noGrp="1"/>
          </p:cNvSpPr>
          <p:nvPr>
            <p:ph type="body" sz="quarter" idx="13"/>
          </p:nvPr>
        </p:nvSpPr>
        <p:spPr>
          <a:xfrm>
            <a:off x="5289784" y="0"/>
            <a:ext cx="243839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7" name="Textplatzhalter 24"/>
          <p:cNvSpPr>
            <a:spLocks noGrp="1"/>
          </p:cNvSpPr>
          <p:nvPr>
            <p:ph type="body" sz="quarter" idx="14"/>
          </p:nvPr>
        </p:nvSpPr>
        <p:spPr>
          <a:xfrm>
            <a:off x="47331" y="0"/>
            <a:ext cx="2682239" cy="304800"/>
          </a:xfrm>
          <a:prstGeom prst="rect">
            <a:avLst/>
          </a:prstGeom>
        </p:spPr>
        <p:txBody>
          <a:bodyPr/>
          <a:lstStyle>
            <a:lvl1pPr>
              <a:buNone/>
              <a:defRPr kumimoji="0" lang="de-DE" sz="1467" b="0" i="0" u="none" strike="noStrike" kern="1200" cap="none" spc="0" normalizeH="0" baseline="0" noProof="0" dirty="0" smtClean="0">
                <a:ln>
                  <a:noFill/>
                </a:ln>
                <a:solidFill>
                  <a:srgbClr val="ABCB2A"/>
                </a:solidFill>
                <a:effectLst/>
                <a:uLnTx/>
                <a:uFillTx/>
                <a:latin typeface="+mn-lt"/>
                <a:ea typeface="+mn-ea"/>
                <a:cs typeface="+mn-cs"/>
              </a:defRPr>
            </a:lvl1pPr>
          </a:lstStyle>
          <a:p>
            <a:pPr lvl="0"/>
            <a:r>
              <a:rPr lang="de-DE"/>
              <a:t>Textmasterformate durch Klicken bearbeiten</a:t>
            </a:r>
          </a:p>
        </p:txBody>
      </p:sp>
      <p:sp>
        <p:nvSpPr>
          <p:cNvPr id="8" name="Textplatzhalter 2"/>
          <p:cNvSpPr>
            <a:spLocks noGrp="1"/>
          </p:cNvSpPr>
          <p:nvPr>
            <p:ph type="body" sz="quarter" idx="16"/>
          </p:nvPr>
        </p:nvSpPr>
        <p:spPr>
          <a:xfrm>
            <a:off x="2831637" y="0"/>
            <a:ext cx="2414400" cy="306000"/>
          </a:xfrm>
          <a:prstGeom prst="rect">
            <a:avLst/>
          </a:prstGeom>
        </p:spPr>
        <p:txBody>
          <a:bodyPr/>
          <a:lstStyle>
            <a:lvl1pPr marL="0" indent="0">
              <a:buFontTx/>
              <a:buNone/>
              <a:defRPr kumimoji="0" lang="de-DE" sz="1467" b="0" i="0" u="none" strike="noStrike" cap="none" spc="0" normalizeH="0" baseline="0" smtClean="0">
                <a:ln>
                  <a:noFill/>
                </a:ln>
                <a:solidFill>
                  <a:srgbClr val="556DA4"/>
                </a:solidFill>
                <a:effectLst/>
                <a:uLnTx/>
                <a:uFillTx/>
              </a:defRPr>
            </a:lvl1pPr>
            <a:lvl2pPr>
              <a:defRPr lang="de-DE" smtClean="0"/>
            </a:lvl2pPr>
            <a:lvl3pPr>
              <a:defRPr lang="de-DE" smtClean="0"/>
            </a:lvl3pPr>
            <a:lvl4pPr>
              <a:defRPr lang="de-DE" smtClean="0"/>
            </a:lvl4pPr>
            <a:lvl5pPr>
              <a:defRPr lang="de-DE"/>
            </a:lvl5pPr>
          </a:lstStyle>
          <a:p>
            <a:pPr lvl="0"/>
            <a:r>
              <a:rPr lang="de-DE"/>
              <a:t>Textmasterformate durch Klicken bearbeiten</a:t>
            </a:r>
          </a:p>
        </p:txBody>
      </p:sp>
    </p:spTree>
    <p:extLst>
      <p:ext uri="{BB962C8B-B14F-4D97-AF65-F5344CB8AC3E}">
        <p14:creationId xmlns:p14="http://schemas.microsoft.com/office/powerpoint/2010/main" val="4167418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el und Inhalt Hintergrund III">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1803767E-9069-49C0-8569-DC3C4FE72589}"/>
              </a:ext>
            </a:extLst>
          </p:cNvPr>
          <p:cNvPicPr>
            <a:picLocks noChangeAspect="1"/>
          </p:cNvPicPr>
          <p:nvPr userDrawn="1"/>
        </p:nvPicPr>
        <p:blipFill rotWithShape="1">
          <a:blip r:embed="rId2" cstate="hqprint">
            <a:alphaModFix amt="5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Foliennummernplatzhalter 2">
            <a:extLst>
              <a:ext uri="{FF2B5EF4-FFF2-40B4-BE49-F238E27FC236}">
                <a16:creationId xmlns:a16="http://schemas.microsoft.com/office/drawing/2014/main" id="{8C3893EF-4DD5-4664-82EC-561BDBB7929D}"/>
              </a:ext>
            </a:extLst>
          </p:cNvPr>
          <p:cNvSpPr>
            <a:spLocks noGrp="1"/>
          </p:cNvSpPr>
          <p:nvPr>
            <p:ph type="sldNum" sz="quarter" idx="10"/>
          </p:nvPr>
        </p:nvSpPr>
        <p:spPr/>
        <p:txBody>
          <a:bodyPr/>
          <a:lstStyle/>
          <a:p>
            <a:fld id="{F966D7FF-EADB-4E92-9989-4DE4533DAC48}" type="slidenum">
              <a:rPr lang="de-DE" smtClean="0"/>
              <a:pPr/>
              <a:t>‹Nr.›</a:t>
            </a:fld>
            <a:endParaRPr lang="de-DE" dirty="0"/>
          </a:p>
        </p:txBody>
      </p:sp>
      <p:sp>
        <p:nvSpPr>
          <p:cNvPr id="5" name="Inhaltsplatzhalter 2">
            <a:extLst>
              <a:ext uri="{FF2B5EF4-FFF2-40B4-BE49-F238E27FC236}">
                <a16:creationId xmlns:a16="http://schemas.microsoft.com/office/drawing/2014/main" id="{74F78C6F-4031-485C-A855-BB0B8395DC1E}"/>
              </a:ext>
            </a:extLst>
          </p:cNvPr>
          <p:cNvSpPr>
            <a:spLocks noGrp="1"/>
          </p:cNvSpPr>
          <p:nvPr>
            <p:ph idx="11" hasCustomPrompt="1"/>
          </p:nvPr>
        </p:nvSpPr>
        <p:spPr>
          <a:xfrm>
            <a:off x="334965" y="989731"/>
            <a:ext cx="9999751" cy="257882"/>
          </a:xfrm>
          <a:prstGeom prst="rect">
            <a:avLst/>
          </a:prstGeom>
        </p:spPr>
        <p:txBody>
          <a:bodyPr/>
          <a:lstStyle>
            <a:lvl1pPr marL="0" indent="0" algn="l" defTabSz="685800" rtl="0" eaLnBrk="1" latinLnBrk="0" hangingPunct="1">
              <a:buFont typeface="Wingdings" panose="05000000000000000000" pitchFamily="2" charset="2"/>
              <a:buNone/>
              <a:defRPr lang="de-DE" sz="1200" b="0" i="0" kern="1200" dirty="0" smtClean="0">
                <a:solidFill>
                  <a:schemeClr val="bg1">
                    <a:lumMod val="50000"/>
                  </a:schemeClr>
                </a:solidFill>
                <a:latin typeface="Arial" panose="020B0604020202020204" pitchFamily="34" charset="0"/>
                <a:ea typeface="+mn-ea"/>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Folientitel</a:t>
            </a:r>
          </a:p>
        </p:txBody>
      </p:sp>
      <p:sp>
        <p:nvSpPr>
          <p:cNvPr id="7" name="Inhaltsplatzhalter 2">
            <a:extLst>
              <a:ext uri="{FF2B5EF4-FFF2-40B4-BE49-F238E27FC236}">
                <a16:creationId xmlns:a16="http://schemas.microsoft.com/office/drawing/2014/main" id="{465482B2-C295-4D52-AD0E-ED5049DF334E}"/>
              </a:ext>
            </a:extLst>
          </p:cNvPr>
          <p:cNvSpPr>
            <a:spLocks noGrp="1"/>
          </p:cNvSpPr>
          <p:nvPr>
            <p:ph idx="12" hasCustomPrompt="1"/>
          </p:nvPr>
        </p:nvSpPr>
        <p:spPr>
          <a:xfrm>
            <a:off x="334435" y="247170"/>
            <a:ext cx="9999751" cy="555162"/>
          </a:xfrm>
          <a:prstGeom prst="rect">
            <a:avLst/>
          </a:prstGeom>
        </p:spPr>
        <p:txBody>
          <a:bodyPr/>
          <a:lstStyle>
            <a:lvl1pPr marL="0" marR="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lang="de-DE" sz="1800" b="1" i="0" kern="1200" baseline="0" dirty="0">
                <a:solidFill>
                  <a:srgbClr val="193052"/>
                </a:solidFill>
                <a:latin typeface="Arial (Überschriften)"/>
                <a:ea typeface="Verdana" panose="020B0604030504040204" pitchFamily="34" charset="0"/>
                <a:cs typeface="Arial" panose="020B0604020202020204" pitchFamily="34" charset="0"/>
              </a:defRPr>
            </a:lvl1pPr>
            <a:lvl2pPr marL="0" indent="0" algn="l" defTabSz="685800" rtl="0" eaLnBrk="1" latinLnBrk="0" hangingPunct="1">
              <a:buFont typeface="Wingdings" panose="05000000000000000000" pitchFamily="2" charset="2"/>
              <a:buNone/>
              <a:defRPr lang="de-DE" sz="900" b="0" i="0" kern="1200" dirty="0" smtClean="0">
                <a:solidFill>
                  <a:schemeClr val="bg1">
                    <a:lumMod val="50000"/>
                  </a:schemeClr>
                </a:solidFill>
                <a:latin typeface="Arial" panose="020B0604020202020204" pitchFamily="34" charset="0"/>
                <a:ea typeface="+mn-ea"/>
                <a:cs typeface="Arial" panose="020B0604020202020204" pitchFamily="34" charset="0"/>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marL="0" marR="0" lvl="0" indent="0" algn="l" defTabSz="685800" rtl="0" eaLnBrk="1" fontAlgn="auto" latinLnBrk="0" hangingPunct="1">
              <a:lnSpc>
                <a:spcPct val="90000"/>
              </a:lnSpc>
              <a:spcBef>
                <a:spcPct val="0"/>
              </a:spcBef>
              <a:spcAft>
                <a:spcPts val="0"/>
              </a:spcAft>
              <a:buClrTx/>
              <a:buSzTx/>
              <a:buFont typeface="Arial" panose="020B0604020202020204" pitchFamily="34" charset="0"/>
              <a:buNone/>
              <a:tabLst/>
              <a:defRPr/>
            </a:pPr>
            <a:r>
              <a:rPr lang="de-DE" sz="1800" b="1" kern="1200" baseline="0" dirty="0">
                <a:solidFill>
                  <a:srgbClr val="193052"/>
                </a:solidFill>
                <a:latin typeface="Arial (Überschriften)"/>
                <a:ea typeface="Verdana" panose="020B0604030504040204" pitchFamily="34" charset="0"/>
              </a:rPr>
              <a:t>Actiontitle geben eine kurze Zusammenfassung der Folie wieder, maximal in einem Satz sind diese zusammen gefasst</a:t>
            </a:r>
          </a:p>
          <a:p>
            <a:pPr lvl="0"/>
            <a:endParaRPr lang="de-DE" dirty="0"/>
          </a:p>
        </p:txBody>
      </p:sp>
      <p:sp>
        <p:nvSpPr>
          <p:cNvPr id="9" name="Textplatzhalter 4">
            <a:extLst>
              <a:ext uri="{FF2B5EF4-FFF2-40B4-BE49-F238E27FC236}">
                <a16:creationId xmlns:a16="http://schemas.microsoft.com/office/drawing/2014/main" id="{A7745FCD-6856-4BE6-B88D-53955AF5853B}"/>
              </a:ext>
            </a:extLst>
          </p:cNvPr>
          <p:cNvSpPr>
            <a:spLocks noGrp="1"/>
          </p:cNvSpPr>
          <p:nvPr>
            <p:ph type="body" sz="quarter" idx="3"/>
          </p:nvPr>
        </p:nvSpPr>
        <p:spPr>
          <a:xfrm>
            <a:off x="6194989" y="1349984"/>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0" name="Textplatzhalter 4">
            <a:extLst>
              <a:ext uri="{FF2B5EF4-FFF2-40B4-BE49-F238E27FC236}">
                <a16:creationId xmlns:a16="http://schemas.microsoft.com/office/drawing/2014/main" id="{9646F520-72EE-4E22-8934-5C7A573D485A}"/>
              </a:ext>
            </a:extLst>
          </p:cNvPr>
          <p:cNvSpPr>
            <a:spLocks noGrp="1"/>
          </p:cNvSpPr>
          <p:nvPr>
            <p:ph type="body" sz="quarter" idx="14"/>
          </p:nvPr>
        </p:nvSpPr>
        <p:spPr>
          <a:xfrm>
            <a:off x="344207" y="1348308"/>
            <a:ext cx="5664200" cy="823912"/>
          </a:xfrm>
          <a:prstGeom prst="rect">
            <a:avLst/>
          </a:prstGeom>
        </p:spPr>
        <p:txBody>
          <a:bodyPr anchor="b"/>
          <a:lstStyle>
            <a:lvl1pPr marL="0" indent="0" algn="ctr">
              <a:buNone/>
              <a:defRPr kumimoji="0" lang="de-DE" sz="1400" b="1" i="0" u="none" strike="noStrike" kern="1200" cap="none" spc="0" normalizeH="0" baseline="0" dirty="0" smtClean="0">
                <a:ln>
                  <a:noFill/>
                </a:ln>
                <a:solidFill>
                  <a:prstClr val="black"/>
                </a:solidFill>
                <a:effectLst/>
                <a:uLnTx/>
                <a:uFillTx/>
                <a:latin typeface="Arial (Textkörper)"/>
                <a:ea typeface="Verdana" panose="020B0604030504040204" pitchFamily="34" charset="0"/>
                <a:cs typeface="Arial (Textkörper)"/>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Mastertextformat bearbeiten</a:t>
            </a:r>
          </a:p>
        </p:txBody>
      </p:sp>
      <p:sp>
        <p:nvSpPr>
          <p:cNvPr id="11" name="Inhaltsplatzhalter 2">
            <a:extLst>
              <a:ext uri="{FF2B5EF4-FFF2-40B4-BE49-F238E27FC236}">
                <a16:creationId xmlns:a16="http://schemas.microsoft.com/office/drawing/2014/main" id="{FCC598D5-52DE-4CC8-8FB5-A113C84163E3}"/>
              </a:ext>
            </a:extLst>
          </p:cNvPr>
          <p:cNvSpPr>
            <a:spLocks noGrp="1"/>
          </p:cNvSpPr>
          <p:nvPr>
            <p:ph idx="1" hasCustomPrompt="1"/>
          </p:nvPr>
        </p:nvSpPr>
        <p:spPr>
          <a:xfrm>
            <a:off x="334964" y="2270290"/>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
        <p:nvSpPr>
          <p:cNvPr id="12" name="Inhaltsplatzhalter 2">
            <a:extLst>
              <a:ext uri="{FF2B5EF4-FFF2-40B4-BE49-F238E27FC236}">
                <a16:creationId xmlns:a16="http://schemas.microsoft.com/office/drawing/2014/main" id="{AE2C67CC-2750-4482-8B59-CCB1A055756C}"/>
              </a:ext>
            </a:extLst>
          </p:cNvPr>
          <p:cNvSpPr>
            <a:spLocks noGrp="1"/>
          </p:cNvSpPr>
          <p:nvPr>
            <p:ph idx="15" hasCustomPrompt="1"/>
          </p:nvPr>
        </p:nvSpPr>
        <p:spPr>
          <a:xfrm>
            <a:off x="6172196" y="2270287"/>
            <a:ext cx="5684840" cy="3930488"/>
          </a:xfrm>
          <a:prstGeom prst="rect">
            <a:avLst/>
          </a:prstGeom>
        </p:spPr>
        <p:txBody>
          <a:bodyPr/>
          <a:lstStyle>
            <a:lvl1pPr marL="171450" indent="-171450">
              <a:buFont typeface="Wingdings" panose="05000000000000000000" pitchFamily="2" charset="2"/>
              <a:buChar char="§"/>
              <a:defRPr kumimoji="0" lang="de-DE" sz="14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1pPr>
            <a:lvl2pPr marL="514350" indent="-171450">
              <a:buFont typeface="Wingdings" panose="05000000000000000000" pitchFamily="2" charset="2"/>
              <a:buChar char="§"/>
              <a:defRPr kumimoji="0" lang="de-DE" sz="1200" b="0" i="0" u="none" strike="noStrike" kern="1200" cap="none" spc="0" normalizeH="0" baseline="0" noProof="0" dirty="0" smtClean="0">
                <a:ln>
                  <a:noFill/>
                </a:ln>
                <a:solidFill>
                  <a:prstClr val="black"/>
                </a:solidFill>
                <a:effectLst/>
                <a:uLnTx/>
                <a:uFillTx/>
                <a:latin typeface="Arial (Textkörper)"/>
                <a:ea typeface="Verdana" panose="020B0604030504040204" pitchFamily="34" charset="0"/>
                <a:cs typeface="Arial (Textkörper)"/>
              </a:defRPr>
            </a:lvl2pPr>
            <a:lvl3pPr>
              <a:defRPr sz="1350">
                <a:latin typeface="Arial" panose="020B0604020202020204" pitchFamily="34" charset="0"/>
                <a:ea typeface="Arial" panose="020B0604020202020204" pitchFamily="34" charset="0"/>
                <a:cs typeface="Arial" panose="020B0604020202020204" pitchFamily="34" charset="0"/>
              </a:defRPr>
            </a:lvl3pPr>
            <a:lvl4pPr>
              <a:defRPr sz="1200">
                <a:latin typeface="Arial" panose="020B0604020202020204" pitchFamily="34" charset="0"/>
                <a:ea typeface="Arial" panose="020B0604020202020204" pitchFamily="34" charset="0"/>
                <a:cs typeface="Arial" panose="020B0604020202020204" pitchFamily="34" charset="0"/>
              </a:defRPr>
            </a:lvl4pPr>
            <a:lvl5pPr>
              <a:defRPr sz="1200">
                <a:latin typeface="Arial" panose="020B0604020202020204" pitchFamily="34" charset="0"/>
                <a:ea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p:txBody>
      </p:sp>
    </p:spTree>
    <p:extLst>
      <p:ext uri="{BB962C8B-B14F-4D97-AF65-F5344CB8AC3E}">
        <p14:creationId xmlns:p14="http://schemas.microsoft.com/office/powerpoint/2010/main" val="2395697033"/>
      </p:ext>
    </p:extLst>
  </p:cSld>
  <p:clrMapOvr>
    <a:masterClrMapping/>
  </p:clrMapOvr>
  <p:extLst>
    <p:ext uri="{DCECCB84-F9BA-43D5-87BE-67443E8EF086}">
      <p15:sldGuideLst xmlns:p15="http://schemas.microsoft.com/office/powerpoint/2012/main">
        <p15:guide id="1" orient="horz" pos="845">
          <p15:clr>
            <a:srgbClr val="FBAE40"/>
          </p15:clr>
        </p15:guide>
        <p15:guide id="2" pos="7469">
          <p15:clr>
            <a:srgbClr val="FBAE40"/>
          </p15:clr>
        </p15:guide>
        <p15:guide id="3" pos="211">
          <p15:clr>
            <a:srgbClr val="FBAE40"/>
          </p15:clr>
        </p15:guide>
        <p15:guide id="4" orient="horz" pos="392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28858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60965A92-3F3C-4A37-AC54-5956A24843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506"/>
          <a:stretch/>
        </p:blipFill>
        <p:spPr>
          <a:xfrm>
            <a:off x="8312" y="0"/>
            <a:ext cx="1220031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grpSp>
        <p:nvGrpSpPr>
          <p:cNvPr id="22" name="Group 27">
            <a:extLst>
              <a:ext uri="{FF2B5EF4-FFF2-40B4-BE49-F238E27FC236}">
                <a16:creationId xmlns:a16="http://schemas.microsoft.com/office/drawing/2014/main" id="{F9D172D5-30DC-42ED-972D-1D4897F3D220}"/>
              </a:ext>
            </a:extLst>
          </p:cNvPr>
          <p:cNvGrpSpPr/>
          <p:nvPr userDrawn="1"/>
        </p:nvGrpSpPr>
        <p:grpSpPr>
          <a:xfrm>
            <a:off x="558594" y="2228498"/>
            <a:ext cx="2818959" cy="1107996"/>
            <a:chOff x="409905" y="1905027"/>
            <a:chExt cx="3597639" cy="1107996"/>
          </a:xfrm>
        </p:grpSpPr>
        <p:sp>
          <p:nvSpPr>
            <p:cNvPr id="23" name="TextBox 2">
              <a:extLst>
                <a:ext uri="{FF2B5EF4-FFF2-40B4-BE49-F238E27FC236}">
                  <a16:creationId xmlns:a16="http://schemas.microsoft.com/office/drawing/2014/main" id="{1B16C01D-477C-4321-A741-230FF23ED4FE}"/>
                </a:ext>
              </a:extLst>
            </p:cNvPr>
            <p:cNvSpPr txBox="1"/>
            <p:nvPr/>
          </p:nvSpPr>
          <p:spPr>
            <a:xfrm>
              <a:off x="409905" y="1905027"/>
              <a:ext cx="3597639" cy="854080"/>
            </a:xfrm>
            <a:prstGeom prst="rect">
              <a:avLst/>
            </a:prstGeom>
            <a:noFill/>
          </p:spPr>
          <p:txBody>
            <a:bodyPr wrap="square" rtlCol="0">
              <a:spAutoFit/>
            </a:bodyPr>
            <a:lstStyle/>
            <a:p>
              <a:pPr algn="ctr"/>
              <a:endParaRPr lang="de-DE" sz="4950" dirty="0">
                <a:solidFill>
                  <a:schemeClr val="bg1"/>
                </a:solidFill>
                <a:latin typeface="National Book" charset="0"/>
                <a:ea typeface="National Book" charset="0"/>
                <a:cs typeface="National Book" charset="0"/>
              </a:endParaRPr>
            </a:p>
          </p:txBody>
        </p:sp>
        <p:cxnSp>
          <p:nvCxnSpPr>
            <p:cNvPr id="24" name="Straight Connector 25">
              <a:extLst>
                <a:ext uri="{FF2B5EF4-FFF2-40B4-BE49-F238E27FC236}">
                  <a16:creationId xmlns:a16="http://schemas.microsoft.com/office/drawing/2014/main" id="{A528E1D5-F0E1-4820-B44B-1110D580C2A3}"/>
                </a:ext>
              </a:extLst>
            </p:cNvPr>
            <p:cNvCxnSpPr/>
            <p:nvPr/>
          </p:nvCxnSpPr>
          <p:spPr>
            <a:xfrm>
              <a:off x="516724" y="3013023"/>
              <a:ext cx="338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1843560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Titelfolie">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933582BF-E8DC-9244-A11A-6BD1F923BDF7}"/>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036" y="0"/>
            <a:ext cx="12282072" cy="6858000"/>
          </a:xfrm>
          <a:prstGeom prst="rect">
            <a:avLst/>
          </a:prstGeom>
        </p:spPr>
      </p:pic>
      <p:sp>
        <p:nvSpPr>
          <p:cNvPr id="21" name="Rectangle 1">
            <a:extLst>
              <a:ext uri="{FF2B5EF4-FFF2-40B4-BE49-F238E27FC236}">
                <a16:creationId xmlns:a16="http://schemas.microsoft.com/office/drawing/2014/main" id="{73D69849-308E-493A-99BB-E457C4035D1E}"/>
              </a:ext>
            </a:extLst>
          </p:cNvPr>
          <p:cNvSpPr/>
          <p:nvPr userDrawn="1"/>
        </p:nvSpPr>
        <p:spPr>
          <a:xfrm>
            <a:off x="-48122" y="0"/>
            <a:ext cx="3904937" cy="6858000"/>
          </a:xfrm>
          <a:prstGeom prst="rect">
            <a:avLst/>
          </a:prstGeom>
          <a:solidFill>
            <a:srgbClr val="193052">
              <a:alpha val="90000"/>
            </a:srgbClr>
          </a:solidFill>
          <a:ln>
            <a:solidFill>
              <a:schemeClr val="accent1">
                <a:lumMod val="50000"/>
              </a:schemeClr>
            </a:solid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350" dirty="0">
              <a:latin typeface="National Book" charset="0"/>
              <a:ea typeface="+mj-ea"/>
              <a:cs typeface="Arial" panose="020B0604020202020204" pitchFamily="34" charset="0"/>
            </a:endParaRPr>
          </a:p>
        </p:txBody>
      </p:sp>
      <p:sp>
        <p:nvSpPr>
          <p:cNvPr id="25" name="Titel 1">
            <a:extLst>
              <a:ext uri="{FF2B5EF4-FFF2-40B4-BE49-F238E27FC236}">
                <a16:creationId xmlns:a16="http://schemas.microsoft.com/office/drawing/2014/main" id="{2F6156B2-D308-4595-8004-181BBEFE793A}"/>
              </a:ext>
            </a:extLst>
          </p:cNvPr>
          <p:cNvSpPr>
            <a:spLocks noGrp="1"/>
          </p:cNvSpPr>
          <p:nvPr>
            <p:ph type="ctrTitle"/>
          </p:nvPr>
        </p:nvSpPr>
        <p:spPr>
          <a:xfrm>
            <a:off x="276073" y="2023752"/>
            <a:ext cx="3384000" cy="1193800"/>
          </a:xfrm>
          <a:prstGeom prst="rect">
            <a:avLst/>
          </a:prstGeom>
        </p:spPr>
        <p:txBody>
          <a:bodyPr anchor="b"/>
          <a:lstStyle>
            <a:lvl1pPr algn="ctr">
              <a:defRPr sz="2400">
                <a:solidFill>
                  <a:schemeClr val="bg1"/>
                </a:solidFill>
                <a:latin typeface="Arial" panose="020B0604020202020204" pitchFamily="34" charset="0"/>
                <a:cs typeface="Arial" panose="020B0604020202020204" pitchFamily="34" charset="0"/>
              </a:defRPr>
            </a:lvl1pPr>
          </a:lstStyle>
          <a:p>
            <a:r>
              <a:rPr lang="de-DE" dirty="0"/>
              <a:t>Mastertitelformat bearbeiten</a:t>
            </a:r>
          </a:p>
        </p:txBody>
      </p:sp>
      <p:sp>
        <p:nvSpPr>
          <p:cNvPr id="26" name="Untertitel 2">
            <a:extLst>
              <a:ext uri="{FF2B5EF4-FFF2-40B4-BE49-F238E27FC236}">
                <a16:creationId xmlns:a16="http://schemas.microsoft.com/office/drawing/2014/main" id="{52BBCF0D-6737-4603-9FC6-B40BC5A7B8C1}"/>
              </a:ext>
            </a:extLst>
          </p:cNvPr>
          <p:cNvSpPr>
            <a:spLocks noGrp="1"/>
          </p:cNvSpPr>
          <p:nvPr>
            <p:ph type="subTitle" idx="1"/>
          </p:nvPr>
        </p:nvSpPr>
        <p:spPr>
          <a:xfrm>
            <a:off x="276074" y="3455436"/>
            <a:ext cx="3384001" cy="710691"/>
          </a:xfrm>
          <a:prstGeom prst="rect">
            <a:avLst/>
          </a:prstGeom>
        </p:spPr>
        <p:txBody>
          <a:bodyPr/>
          <a:lstStyle>
            <a:lvl1pPr marL="0" indent="0" algn="ctr">
              <a:buNone/>
              <a:defRPr sz="1500">
                <a:solidFill>
                  <a:schemeClr val="bg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Master-Untertitelformat bearbeiten</a:t>
            </a:r>
          </a:p>
        </p:txBody>
      </p:sp>
    </p:spTree>
    <p:extLst>
      <p:ext uri="{BB962C8B-B14F-4D97-AF65-F5344CB8AC3E}">
        <p14:creationId xmlns:p14="http://schemas.microsoft.com/office/powerpoint/2010/main" val="1458664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theme" Target="../theme/theme3.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slideLayout" Target="../slideLayouts/slideLayout70.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image" Target="../media/image12.tiff"/><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64D2029-28EE-4C43-94BD-0115327DB5AF}"/>
              </a:ext>
            </a:extLst>
          </p:cNvPr>
          <p:cNvSpPr/>
          <p:nvPr userDrawn="1"/>
        </p:nvSpPr>
        <p:spPr>
          <a:xfrm>
            <a:off x="-3" y="6693745"/>
            <a:ext cx="12192003" cy="45719"/>
          </a:xfrm>
          <a:prstGeom prst="rect">
            <a:avLst/>
          </a:prstGeom>
          <a:solidFill>
            <a:srgbClr val="193052"/>
          </a:solidFill>
          <a:ln>
            <a:solidFill>
              <a:srgbClr val="1930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latin typeface="National Book" charset="0"/>
              <a:ea typeface="National Book" charset="0"/>
              <a:cs typeface="National Book" charset="0"/>
            </a:endParaRPr>
          </a:p>
        </p:txBody>
      </p:sp>
      <p:sp>
        <p:nvSpPr>
          <p:cNvPr id="14" name="Line 12">
            <a:extLst>
              <a:ext uri="{FF2B5EF4-FFF2-40B4-BE49-F238E27FC236}">
                <a16:creationId xmlns:a16="http://schemas.microsoft.com/office/drawing/2014/main" id="{CCF6F4F3-D487-41C8-AA00-FE8C60E312D2}"/>
              </a:ext>
            </a:extLst>
          </p:cNvPr>
          <p:cNvSpPr>
            <a:spLocks noChangeShapeType="1"/>
          </p:cNvSpPr>
          <p:nvPr userDrawn="1"/>
        </p:nvSpPr>
        <p:spPr bwMode="auto">
          <a:xfrm flipV="1">
            <a:off x="2" y="867690"/>
            <a:ext cx="12192001" cy="0"/>
          </a:xfrm>
          <a:prstGeom prst="line">
            <a:avLst/>
          </a:prstGeom>
          <a:noFill/>
          <a:ln w="50800">
            <a:solidFill>
              <a:srgbClr val="193052"/>
            </a:solidFill>
            <a:round/>
            <a:headEnd/>
            <a:tailEnd/>
          </a:ln>
          <a:extLst>
            <a:ext uri="{909E8E84-426E-40DD-AFC4-6F175D3DCCD1}">
              <a14:hiddenFill xmlns:a14="http://schemas.microsoft.com/office/drawing/2010/main">
                <a:noFill/>
              </a14:hiddenFill>
            </a:ext>
          </a:extLst>
        </p:spPr>
        <p:txBody>
          <a:bodyPr/>
          <a:lstStyle/>
          <a:p>
            <a:endParaRPr lang="de-DE" sz="1350" dirty="0">
              <a:solidFill>
                <a:schemeClr val="bg1"/>
              </a:solidFill>
            </a:endParaRPr>
          </a:p>
        </p:txBody>
      </p:sp>
      <p:sp>
        <p:nvSpPr>
          <p:cNvPr id="9" name="Line 12">
            <a:extLst>
              <a:ext uri="{FF2B5EF4-FFF2-40B4-BE49-F238E27FC236}">
                <a16:creationId xmlns:a16="http://schemas.microsoft.com/office/drawing/2014/main" id="{3456CEA6-09AD-43F5-99A2-9232FD5AAE09}"/>
              </a:ext>
            </a:extLst>
          </p:cNvPr>
          <p:cNvSpPr>
            <a:spLocks noChangeShapeType="1"/>
          </p:cNvSpPr>
          <p:nvPr userDrawn="1"/>
        </p:nvSpPr>
        <p:spPr bwMode="auto">
          <a:xfrm flipV="1">
            <a:off x="2" y="6346381"/>
            <a:ext cx="12192001" cy="0"/>
          </a:xfrm>
          <a:prstGeom prst="line">
            <a:avLst/>
          </a:prstGeom>
          <a:noFill/>
          <a:ln w="50800">
            <a:solidFill>
              <a:srgbClr val="193052"/>
            </a:solidFill>
            <a:round/>
            <a:headEnd/>
            <a:tailEnd/>
          </a:ln>
          <a:extLst>
            <a:ext uri="{909E8E84-426E-40DD-AFC4-6F175D3DCCD1}">
              <a14:hiddenFill xmlns:a14="http://schemas.microsoft.com/office/drawing/2010/main">
                <a:noFill/>
              </a14:hiddenFill>
            </a:ext>
          </a:extLst>
        </p:spPr>
        <p:txBody>
          <a:bodyPr/>
          <a:lstStyle/>
          <a:p>
            <a:pPr lvl="0"/>
            <a:endParaRPr lang="de-DE" sz="1350" dirty="0">
              <a:solidFill>
                <a:schemeClr val="bg1"/>
              </a:solidFill>
            </a:endParaRPr>
          </a:p>
        </p:txBody>
      </p:sp>
      <p:sp>
        <p:nvSpPr>
          <p:cNvPr id="11" name="Foliennummernplatzhalter 4">
            <a:extLst>
              <a:ext uri="{FF2B5EF4-FFF2-40B4-BE49-F238E27FC236}">
                <a16:creationId xmlns:a16="http://schemas.microsoft.com/office/drawing/2014/main" id="{2107BB95-E864-41EB-98A5-3B1D192F3F9E}"/>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F966D7FF-EADB-4E92-9989-4DE4533DAC48}" type="slidenum">
              <a:rPr lang="de-DE" smtClean="0"/>
              <a:pPr/>
              <a:t>‹Nr.›</a:t>
            </a:fld>
            <a:endParaRPr lang="de-DE" dirty="0"/>
          </a:p>
        </p:txBody>
      </p:sp>
      <p:pic>
        <p:nvPicPr>
          <p:cNvPr id="4" name="Grafik 3">
            <a:extLst>
              <a:ext uri="{FF2B5EF4-FFF2-40B4-BE49-F238E27FC236}">
                <a16:creationId xmlns:a16="http://schemas.microsoft.com/office/drawing/2014/main" id="{0D62F91B-7347-4583-978F-C4DF1313E7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44902" y="6422223"/>
            <a:ext cx="2092821" cy="240748"/>
          </a:xfrm>
          <a:prstGeom prst="rect">
            <a:avLst/>
          </a:prstGeom>
        </p:spPr>
      </p:pic>
      <p:pic>
        <p:nvPicPr>
          <p:cNvPr id="5" name="Grafik 4">
            <a:extLst>
              <a:ext uri="{FF2B5EF4-FFF2-40B4-BE49-F238E27FC236}">
                <a16:creationId xmlns:a16="http://schemas.microsoft.com/office/drawing/2014/main" id="{78A28B6B-C049-4AAA-837B-4D4CDBE07DB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570131" y="118536"/>
            <a:ext cx="1432117" cy="571502"/>
          </a:xfrm>
          <a:prstGeom prst="rect">
            <a:avLst/>
          </a:prstGeom>
        </p:spPr>
      </p:pic>
      <p:sp>
        <p:nvSpPr>
          <p:cNvPr id="6" name="Fußzeilenplatzhalter 2">
            <a:extLst>
              <a:ext uri="{FF2B5EF4-FFF2-40B4-BE49-F238E27FC236}">
                <a16:creationId xmlns:a16="http://schemas.microsoft.com/office/drawing/2014/main" id="{8AA2A8D6-1CE2-4E0C-B900-BF1CC61F353C}"/>
              </a:ext>
            </a:extLst>
          </p:cNvPr>
          <p:cNvSpPr txBox="1">
            <a:spLocks/>
          </p:cNvSpPr>
          <p:nvPr userDrawn="1"/>
        </p:nvSpPr>
        <p:spPr>
          <a:xfrm>
            <a:off x="4038598" y="6328620"/>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rgbClr val="19305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www.bvh.org</a:t>
            </a:r>
          </a:p>
        </p:txBody>
      </p:sp>
    </p:spTree>
    <p:extLst>
      <p:ext uri="{BB962C8B-B14F-4D97-AF65-F5344CB8AC3E}">
        <p14:creationId xmlns:p14="http://schemas.microsoft.com/office/powerpoint/2010/main" val="385919351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78" r:id="rId3"/>
    <p:sldLayoutId id="2147483779" r:id="rId4"/>
    <p:sldLayoutId id="2147483780" r:id="rId5"/>
    <p:sldLayoutId id="2147483781" r:id="rId6"/>
    <p:sldLayoutId id="2147483782" r:id="rId7"/>
    <p:sldLayoutId id="2147483786" r:id="rId8"/>
    <p:sldLayoutId id="2147483807" r:id="rId9"/>
    <p:sldLayoutId id="2147483808" r:id="rId10"/>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586248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785" r:id="rId15"/>
    <p:sldLayoutId id="2147483787" r:id="rId16"/>
    <p:sldLayoutId id="2147483788" r:id="rId17"/>
    <p:sldLayoutId id="2147483789" r:id="rId18"/>
    <p:sldLayoutId id="2147483806" r:id="rId19"/>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D64D2029-28EE-4C43-94BD-0115327DB5AF}"/>
              </a:ext>
            </a:extLst>
          </p:cNvPr>
          <p:cNvSpPr/>
          <p:nvPr userDrawn="1"/>
        </p:nvSpPr>
        <p:spPr>
          <a:xfrm>
            <a:off x="-3" y="6693745"/>
            <a:ext cx="12192003" cy="45719"/>
          </a:xfrm>
          <a:prstGeom prst="rect">
            <a:avLst/>
          </a:prstGeom>
          <a:solidFill>
            <a:srgbClr val="193052"/>
          </a:solidFill>
          <a:ln>
            <a:solidFill>
              <a:srgbClr val="1930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latin typeface="National Book" charset="0"/>
              <a:ea typeface="National Book" charset="0"/>
              <a:cs typeface="National Book" charset="0"/>
            </a:endParaRPr>
          </a:p>
        </p:txBody>
      </p:sp>
      <p:sp>
        <p:nvSpPr>
          <p:cNvPr id="14" name="Line 12">
            <a:extLst>
              <a:ext uri="{FF2B5EF4-FFF2-40B4-BE49-F238E27FC236}">
                <a16:creationId xmlns:a16="http://schemas.microsoft.com/office/drawing/2014/main" id="{CCF6F4F3-D487-41C8-AA00-FE8C60E312D2}"/>
              </a:ext>
            </a:extLst>
          </p:cNvPr>
          <p:cNvSpPr>
            <a:spLocks noChangeShapeType="1"/>
          </p:cNvSpPr>
          <p:nvPr userDrawn="1"/>
        </p:nvSpPr>
        <p:spPr bwMode="auto">
          <a:xfrm flipV="1">
            <a:off x="2" y="867690"/>
            <a:ext cx="12192001" cy="0"/>
          </a:xfrm>
          <a:prstGeom prst="line">
            <a:avLst/>
          </a:prstGeom>
          <a:noFill/>
          <a:ln w="50800">
            <a:solidFill>
              <a:srgbClr val="193052"/>
            </a:solidFill>
            <a:round/>
            <a:headEnd/>
            <a:tailEnd/>
          </a:ln>
          <a:extLst>
            <a:ext uri="{909E8E84-426E-40DD-AFC4-6F175D3DCCD1}">
              <a14:hiddenFill xmlns:a14="http://schemas.microsoft.com/office/drawing/2010/main">
                <a:noFill/>
              </a14:hiddenFill>
            </a:ext>
          </a:extLst>
        </p:spPr>
        <p:txBody>
          <a:bodyPr/>
          <a:lstStyle/>
          <a:p>
            <a:endParaRPr lang="de-DE" sz="1350" dirty="0">
              <a:solidFill>
                <a:schemeClr val="bg1"/>
              </a:solidFill>
            </a:endParaRPr>
          </a:p>
        </p:txBody>
      </p:sp>
      <p:sp>
        <p:nvSpPr>
          <p:cNvPr id="9" name="Line 12">
            <a:extLst>
              <a:ext uri="{FF2B5EF4-FFF2-40B4-BE49-F238E27FC236}">
                <a16:creationId xmlns:a16="http://schemas.microsoft.com/office/drawing/2014/main" id="{3456CEA6-09AD-43F5-99A2-9232FD5AAE09}"/>
              </a:ext>
            </a:extLst>
          </p:cNvPr>
          <p:cNvSpPr>
            <a:spLocks noChangeShapeType="1"/>
          </p:cNvSpPr>
          <p:nvPr userDrawn="1"/>
        </p:nvSpPr>
        <p:spPr bwMode="auto">
          <a:xfrm flipV="1">
            <a:off x="2" y="6346381"/>
            <a:ext cx="12192001" cy="0"/>
          </a:xfrm>
          <a:prstGeom prst="line">
            <a:avLst/>
          </a:prstGeom>
          <a:noFill/>
          <a:ln w="50800">
            <a:solidFill>
              <a:srgbClr val="193052"/>
            </a:solidFill>
            <a:round/>
            <a:headEnd/>
            <a:tailEnd/>
          </a:ln>
          <a:extLst>
            <a:ext uri="{909E8E84-426E-40DD-AFC4-6F175D3DCCD1}">
              <a14:hiddenFill xmlns:a14="http://schemas.microsoft.com/office/drawing/2010/main">
                <a:noFill/>
              </a14:hiddenFill>
            </a:ext>
          </a:extLst>
        </p:spPr>
        <p:txBody>
          <a:bodyPr/>
          <a:lstStyle/>
          <a:p>
            <a:pPr lvl="0"/>
            <a:endParaRPr lang="de-DE" sz="1350" dirty="0">
              <a:solidFill>
                <a:schemeClr val="bg1"/>
              </a:solidFill>
            </a:endParaRPr>
          </a:p>
        </p:txBody>
      </p:sp>
      <p:sp>
        <p:nvSpPr>
          <p:cNvPr id="11" name="Foliennummernplatzhalter 4">
            <a:extLst>
              <a:ext uri="{FF2B5EF4-FFF2-40B4-BE49-F238E27FC236}">
                <a16:creationId xmlns:a16="http://schemas.microsoft.com/office/drawing/2014/main" id="{2107BB95-E864-41EB-98A5-3B1D192F3F9E}"/>
              </a:ext>
            </a:extLst>
          </p:cNvPr>
          <p:cNvSpPr>
            <a:spLocks noGrp="1"/>
          </p:cNvSpPr>
          <p:nvPr>
            <p:ph type="sldNum" sz="quarter" idx="4"/>
          </p:nvPr>
        </p:nvSpPr>
        <p:spPr>
          <a:xfrm>
            <a:off x="11166506" y="6360035"/>
            <a:ext cx="691061" cy="365125"/>
          </a:xfrm>
          <a:prstGeom prst="rect">
            <a:avLst/>
          </a:prstGeom>
        </p:spPr>
        <p:txBody>
          <a:bodyPr vert="horz" lIns="91440" tIns="45720" rIns="91440" bIns="45720" rtlCol="0" anchor="ctr"/>
          <a:lstStyle>
            <a:lvl1pPr algn="r">
              <a:defRPr lang="de-DE" sz="1200" b="0" i="0" kern="1200" baseline="0" smtClean="0">
                <a:solidFill>
                  <a:srgbClr val="193052"/>
                </a:solidFill>
                <a:latin typeface="Arial (Textkörper)"/>
                <a:ea typeface="Verdana" panose="020B0604030504040204" pitchFamily="34" charset="0"/>
                <a:cs typeface="Arial" panose="020B0604020202020204" pitchFamily="34" charset="0"/>
              </a:defRPr>
            </a:lvl1pPr>
          </a:lstStyle>
          <a:p>
            <a:fld id="{F966D7FF-EADB-4E92-9989-4DE4533DAC48}" type="slidenum">
              <a:rPr lang="de-DE" smtClean="0"/>
              <a:pPr/>
              <a:t>‹Nr.›</a:t>
            </a:fld>
            <a:endParaRPr lang="de-DE" dirty="0"/>
          </a:p>
        </p:txBody>
      </p:sp>
      <p:pic>
        <p:nvPicPr>
          <p:cNvPr id="2" name="Grafik 1">
            <a:extLst>
              <a:ext uri="{FF2B5EF4-FFF2-40B4-BE49-F238E27FC236}">
                <a16:creationId xmlns:a16="http://schemas.microsoft.com/office/drawing/2014/main" id="{0E69CDD3-3732-144E-B4B7-5F5A656A44B3}"/>
              </a:ext>
            </a:extLst>
          </p:cNvPr>
          <p:cNvPicPr>
            <a:picLocks noChangeAspect="1"/>
          </p:cNvPicPr>
          <p:nvPr userDrawn="1"/>
        </p:nvPicPr>
        <p:blipFill>
          <a:blip r:embed="rId43" cstate="hqprint">
            <a:extLst>
              <a:ext uri="{28A0092B-C50C-407E-A947-70E740481C1C}">
                <a14:useLocalDpi xmlns:a14="http://schemas.microsoft.com/office/drawing/2010/main"/>
              </a:ext>
            </a:extLst>
          </a:blip>
          <a:stretch>
            <a:fillRect/>
          </a:stretch>
        </p:blipFill>
        <p:spPr>
          <a:xfrm>
            <a:off x="11166506" y="189947"/>
            <a:ext cx="745893" cy="504061"/>
          </a:xfrm>
          <a:prstGeom prst="rect">
            <a:avLst/>
          </a:prstGeom>
        </p:spPr>
      </p:pic>
    </p:spTree>
    <p:extLst>
      <p:ext uri="{BB962C8B-B14F-4D97-AF65-F5344CB8AC3E}">
        <p14:creationId xmlns:p14="http://schemas.microsoft.com/office/powerpoint/2010/main" val="2624283772"/>
      </p:ext>
    </p:extLst>
  </p:cSld>
  <p:clrMap bg1="lt1" tx1="dk1" bg2="lt2" tx2="dk2" accent1="accent1" accent2="accent2" accent3="accent3" accent4="accent4" accent5="accent5" accent6="accent6" hlink="hlink" folHlink="folHlink"/>
  <p:sldLayoutIdLst>
    <p:sldLayoutId id="214748372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18" r:id="rId23"/>
    <p:sldLayoutId id="2147483720" r:id="rId24"/>
    <p:sldLayoutId id="2147483653" r:id="rId25"/>
    <p:sldLayoutId id="2147483715" r:id="rId26"/>
    <p:sldLayoutId id="2147483719" r:id="rId27"/>
    <p:sldLayoutId id="2147483739" r:id="rId28"/>
    <p:sldLayoutId id="2147483740" r:id="rId29"/>
    <p:sldLayoutId id="2147483741" r:id="rId30"/>
    <p:sldLayoutId id="2147483697" r:id="rId31"/>
    <p:sldLayoutId id="2147483742" r:id="rId32"/>
    <p:sldLayoutId id="2147483743" r:id="rId33"/>
    <p:sldLayoutId id="2147483714" r:id="rId34"/>
    <p:sldLayoutId id="2147483744" r:id="rId35"/>
    <p:sldLayoutId id="2147483745" r:id="rId36"/>
    <p:sldLayoutId id="2147483735" r:id="rId37"/>
    <p:sldLayoutId id="2147483746" r:id="rId38"/>
    <p:sldLayoutId id="2147483747" r:id="rId39"/>
    <p:sldLayoutId id="2147483749" r:id="rId40"/>
    <p:sldLayoutId id="2147483773" r:id="rId4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48.jpeg"/><Relationship Id="rId4" Type="http://schemas.openxmlformats.org/officeDocument/2006/relationships/image" Target="../media/image47.jpeg"/></Relationships>
</file>

<file path=ppt/slides/_rels/slide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4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56.jpeg"/><Relationship Id="rId4" Type="http://schemas.openxmlformats.org/officeDocument/2006/relationships/image" Target="../media/image55.jpeg"/></Relationships>
</file>

<file path=ppt/slides/_rels/slide5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microsoft.com/office/2007/relationships/hdphoto" Target="../media/hdphoto1.wdp"/><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545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50E2A3B-E437-4D77-BDDC-FF42C98A272B}"/>
              </a:ext>
            </a:extLst>
          </p:cNvPr>
          <p:cNvSpPr>
            <a:spLocks noGrp="1"/>
          </p:cNvSpPr>
          <p:nvPr>
            <p:ph type="sldNum" sz="quarter" idx="10"/>
          </p:nvPr>
        </p:nvSpPr>
        <p:spPr/>
        <p:txBody>
          <a:bodyPr/>
          <a:lstStyle/>
          <a:p>
            <a:fld id="{F966D7FF-EADB-4E92-9989-4DE4533DAC48}" type="slidenum">
              <a:rPr lang="de-DE" smtClean="0"/>
              <a:pPr/>
              <a:t>10</a:t>
            </a:fld>
            <a:endParaRPr lang="de-DE" dirty="0"/>
          </a:p>
        </p:txBody>
      </p:sp>
      <p:sp>
        <p:nvSpPr>
          <p:cNvPr id="3" name="Inhaltsplatzhalter 2">
            <a:extLst>
              <a:ext uri="{FF2B5EF4-FFF2-40B4-BE49-F238E27FC236}">
                <a16:creationId xmlns:a16="http://schemas.microsoft.com/office/drawing/2014/main" id="{6514F8E8-4F6A-4745-B76D-CDA9E220A05B}"/>
              </a:ext>
            </a:extLst>
          </p:cNvPr>
          <p:cNvSpPr>
            <a:spLocks noGrp="1"/>
          </p:cNvSpPr>
          <p:nvPr>
            <p:ph idx="11"/>
          </p:nvPr>
        </p:nvSpPr>
        <p:spPr/>
        <p:txBody>
          <a:bodyPr/>
          <a:lstStyle/>
          <a:p>
            <a:r>
              <a:rPr lang="de-DE" sz="1200" dirty="0">
                <a:ea typeface="Verdana"/>
                <a:cs typeface="Arial"/>
              </a:rPr>
              <a:t>Future Margin </a:t>
            </a:r>
            <a:endParaRPr lang="de-DE" sz="1200" dirty="0"/>
          </a:p>
        </p:txBody>
      </p:sp>
      <p:sp>
        <p:nvSpPr>
          <p:cNvPr id="5" name="Inhaltsplatzhalter 4">
            <a:extLst>
              <a:ext uri="{FF2B5EF4-FFF2-40B4-BE49-F238E27FC236}">
                <a16:creationId xmlns:a16="http://schemas.microsoft.com/office/drawing/2014/main" id="{92A5F501-7150-402A-9447-D01D776B6E03}"/>
              </a:ext>
            </a:extLst>
          </p:cNvPr>
          <p:cNvSpPr>
            <a:spLocks noGrp="1"/>
          </p:cNvSpPr>
          <p:nvPr>
            <p:ph idx="12"/>
          </p:nvPr>
        </p:nvSpPr>
        <p:spPr/>
        <p:txBody>
          <a:bodyPr/>
          <a:lstStyle/>
          <a:p>
            <a:r>
              <a:rPr lang="de-DE" dirty="0"/>
              <a:t>Die Future Margin (einer Sicherheitsleistung) ist eine Gewährleistung, dass Vertrag auch bei negativer Kursentwicklung erfüllt werden kann</a:t>
            </a:r>
          </a:p>
        </p:txBody>
      </p:sp>
      <p:grpSp>
        <p:nvGrpSpPr>
          <p:cNvPr id="18" name="Gruppieren 17">
            <a:extLst>
              <a:ext uri="{FF2B5EF4-FFF2-40B4-BE49-F238E27FC236}">
                <a16:creationId xmlns:a16="http://schemas.microsoft.com/office/drawing/2014/main" id="{DAB6C104-9DB6-4600-838C-A8512CC64360}"/>
              </a:ext>
            </a:extLst>
          </p:cNvPr>
          <p:cNvGrpSpPr/>
          <p:nvPr/>
        </p:nvGrpSpPr>
        <p:grpSpPr>
          <a:xfrm>
            <a:off x="1439760" y="3567222"/>
            <a:ext cx="9312480" cy="1820123"/>
            <a:chOff x="1439640" y="3810960"/>
            <a:chExt cx="9312480" cy="1820123"/>
          </a:xfrm>
        </p:grpSpPr>
        <p:sp>
          <p:nvSpPr>
            <p:cNvPr id="9" name="Line 3">
              <a:extLst>
                <a:ext uri="{FF2B5EF4-FFF2-40B4-BE49-F238E27FC236}">
                  <a16:creationId xmlns:a16="http://schemas.microsoft.com/office/drawing/2014/main" id="{2C1F159B-4C6A-4FAC-B6CB-5D8ADD850001}"/>
                </a:ext>
              </a:extLst>
            </p:cNvPr>
            <p:cNvSpPr/>
            <p:nvPr/>
          </p:nvSpPr>
          <p:spPr>
            <a:xfrm>
              <a:off x="6095880" y="4100760"/>
              <a:ext cx="360" cy="1440360"/>
            </a:xfrm>
            <a:prstGeom prst="line">
              <a:avLst/>
            </a:prstGeom>
            <a:ln>
              <a:solidFill>
                <a:srgbClr val="193052"/>
              </a:solidFill>
            </a:ln>
          </p:spPr>
          <p:style>
            <a:lnRef idx="1">
              <a:schemeClr val="accent1"/>
            </a:lnRef>
            <a:fillRef idx="0">
              <a:schemeClr val="accent1"/>
            </a:fillRef>
            <a:effectRef idx="0">
              <a:schemeClr val="accent1"/>
            </a:effectRef>
            <a:fontRef idx="minor"/>
          </p:style>
          <p:txBody>
            <a:bodyPr/>
            <a:lstStyle/>
            <a:p>
              <a:endParaRPr lang="de-DE" dirty="0">
                <a:latin typeface="Arial" panose="020B0604020202020204" pitchFamily="34" charset="0"/>
                <a:cs typeface="Arial" panose="020B0604020202020204" pitchFamily="34" charset="0"/>
              </a:endParaRPr>
            </a:p>
          </p:txBody>
        </p:sp>
        <p:sp>
          <p:nvSpPr>
            <p:cNvPr id="11" name="CustomShape 4">
              <a:extLst>
                <a:ext uri="{FF2B5EF4-FFF2-40B4-BE49-F238E27FC236}">
                  <a16:creationId xmlns:a16="http://schemas.microsoft.com/office/drawing/2014/main" id="{8B4D533E-4EA2-4E40-B395-F7152B2C9022}"/>
                </a:ext>
              </a:extLst>
            </p:cNvPr>
            <p:cNvSpPr/>
            <p:nvPr/>
          </p:nvSpPr>
          <p:spPr>
            <a:xfrm>
              <a:off x="2754360" y="3813120"/>
              <a:ext cx="2187670" cy="378650"/>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1" strike="noStrike" spc="-1" dirty="0">
                  <a:latin typeface="Arial" panose="020B0604020202020204" pitchFamily="34" charset="0"/>
                  <a:cs typeface="Arial" panose="020B0604020202020204" pitchFamily="34" charset="0"/>
                </a:rPr>
                <a:t>Initial Margin</a:t>
              </a:r>
            </a:p>
          </p:txBody>
        </p:sp>
        <p:sp>
          <p:nvSpPr>
            <p:cNvPr id="13" name="CustomShape 5">
              <a:extLst>
                <a:ext uri="{FF2B5EF4-FFF2-40B4-BE49-F238E27FC236}">
                  <a16:creationId xmlns:a16="http://schemas.microsoft.com/office/drawing/2014/main" id="{55EEC2E9-3993-40D3-9CD1-85243661421A}"/>
                </a:ext>
              </a:extLst>
            </p:cNvPr>
            <p:cNvSpPr/>
            <p:nvPr/>
          </p:nvSpPr>
          <p:spPr>
            <a:xfrm>
              <a:off x="7044840" y="3810960"/>
              <a:ext cx="2789184" cy="378650"/>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1" strike="noStrike" spc="-1" dirty="0">
                  <a:latin typeface="Arial" panose="020B0604020202020204" pitchFamily="34" charset="0"/>
                  <a:cs typeface="Arial" panose="020B0604020202020204" pitchFamily="34" charset="0"/>
                </a:rPr>
                <a:t> Maintenance Margin</a:t>
              </a:r>
            </a:p>
          </p:txBody>
        </p:sp>
        <p:sp>
          <p:nvSpPr>
            <p:cNvPr id="15" name="CustomShape 6">
              <a:extLst>
                <a:ext uri="{FF2B5EF4-FFF2-40B4-BE49-F238E27FC236}">
                  <a16:creationId xmlns:a16="http://schemas.microsoft.com/office/drawing/2014/main" id="{99BDFC40-AC58-459A-9E3D-A11E6AEBCBB9}"/>
                </a:ext>
              </a:extLst>
            </p:cNvPr>
            <p:cNvSpPr/>
            <p:nvPr/>
          </p:nvSpPr>
          <p:spPr>
            <a:xfrm>
              <a:off x="1439640" y="4389120"/>
              <a:ext cx="393624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dirty="0">
                  <a:latin typeface="Arial" panose="020B0604020202020204" pitchFamily="34" charset="0"/>
                  <a:cs typeface="Arial" panose="020B0604020202020204" pitchFamily="34" charset="0"/>
                </a:rPr>
                <a:t>Fällig bei Kontoeröffnung, orientiert sich am Volumen des Vertrags</a:t>
              </a:r>
            </a:p>
          </p:txBody>
        </p:sp>
        <p:sp>
          <p:nvSpPr>
            <p:cNvPr id="17" name="CustomShape 7">
              <a:extLst>
                <a:ext uri="{FF2B5EF4-FFF2-40B4-BE49-F238E27FC236}">
                  <a16:creationId xmlns:a16="http://schemas.microsoft.com/office/drawing/2014/main" id="{6040C6BF-539A-4B61-8C6B-8684DA0C71EF}"/>
                </a:ext>
              </a:extLst>
            </p:cNvPr>
            <p:cNvSpPr/>
            <p:nvPr/>
          </p:nvSpPr>
          <p:spPr>
            <a:xfrm>
              <a:off x="6815880" y="4389120"/>
              <a:ext cx="3936240" cy="1241963"/>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Fällig bei negativer Kursentwicklung, falls Höhe der Initial Margin erreicht </a:t>
              </a:r>
              <a:br>
                <a:rPr>
                  <a:latin typeface="Arial" panose="020B0604020202020204" pitchFamily="34" charset="0"/>
                  <a:cs typeface="Arial" panose="020B0604020202020204" pitchFamily="34" charset="0"/>
                </a:rPr>
              </a:br>
              <a:r>
                <a:rPr lang="de-DE" sz="1870" b="0" strike="noStrike" spc="-1">
                  <a:latin typeface="Arial" panose="020B0604020202020204" pitchFamily="34" charset="0"/>
                  <a:cs typeface="Arial" panose="020B0604020202020204" pitchFamily="34" charset="0"/>
                </a:rPr>
                <a:t>(Margin Call) </a:t>
              </a:r>
            </a:p>
          </p:txBody>
        </p:sp>
      </p:grpSp>
      <p:pic>
        <p:nvPicPr>
          <p:cNvPr id="22" name="Grafik 21" descr="Abwärtstrend">
            <a:extLst>
              <a:ext uri="{FF2B5EF4-FFF2-40B4-BE49-F238E27FC236}">
                <a16:creationId xmlns:a16="http://schemas.microsoft.com/office/drawing/2014/main" id="{2BBEDBE5-6BBF-4FCE-B3A8-2E2144822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06064" y="1984061"/>
            <a:ext cx="1466976" cy="1466976"/>
          </a:xfrm>
          <a:prstGeom prst="rect">
            <a:avLst/>
          </a:prstGeom>
        </p:spPr>
      </p:pic>
      <p:pic>
        <p:nvPicPr>
          <p:cNvPr id="24" name="Grafik 23" descr="Euro">
            <a:extLst>
              <a:ext uri="{FF2B5EF4-FFF2-40B4-BE49-F238E27FC236}">
                <a16:creationId xmlns:a16="http://schemas.microsoft.com/office/drawing/2014/main" id="{6E51D580-245B-4FA0-9D0A-BE8C8592A5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18960" y="2115548"/>
            <a:ext cx="1173070" cy="1173070"/>
          </a:xfrm>
          <a:prstGeom prst="rect">
            <a:avLst/>
          </a:prstGeom>
        </p:spPr>
      </p:pic>
    </p:spTree>
    <p:extLst>
      <p:ext uri="{BB962C8B-B14F-4D97-AF65-F5344CB8AC3E}">
        <p14:creationId xmlns:p14="http://schemas.microsoft.com/office/powerpoint/2010/main" val="1383385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792481D-8CB1-4695-9C50-02700203004F}"/>
              </a:ext>
            </a:extLst>
          </p:cNvPr>
          <p:cNvSpPr>
            <a:spLocks noGrp="1"/>
          </p:cNvSpPr>
          <p:nvPr>
            <p:ph type="sldNum" sz="quarter" idx="10"/>
          </p:nvPr>
        </p:nvSpPr>
        <p:spPr/>
        <p:txBody>
          <a:bodyPr/>
          <a:lstStyle/>
          <a:p>
            <a:fld id="{F966D7FF-EADB-4E92-9989-4DE4533DAC48}" type="slidenum">
              <a:rPr lang="de-DE" smtClean="0"/>
              <a:pPr/>
              <a:t>11</a:t>
            </a:fld>
            <a:endParaRPr lang="de-DE" dirty="0"/>
          </a:p>
        </p:txBody>
      </p:sp>
      <p:sp>
        <p:nvSpPr>
          <p:cNvPr id="3" name="Inhaltsplatzhalter 2">
            <a:extLst>
              <a:ext uri="{FF2B5EF4-FFF2-40B4-BE49-F238E27FC236}">
                <a16:creationId xmlns:a16="http://schemas.microsoft.com/office/drawing/2014/main" id="{FC85199B-A723-4793-9EAB-BEECA213FEAB}"/>
              </a:ext>
            </a:extLst>
          </p:cNvPr>
          <p:cNvSpPr>
            <a:spLocks noGrp="1"/>
          </p:cNvSpPr>
          <p:nvPr>
            <p:ph idx="11"/>
          </p:nvPr>
        </p:nvSpPr>
        <p:spPr/>
        <p:txBody>
          <a:bodyPr/>
          <a:lstStyle/>
          <a:p>
            <a:r>
              <a:rPr lang="de-DE" dirty="0"/>
              <a:t>Forward vs. Future</a:t>
            </a:r>
          </a:p>
        </p:txBody>
      </p:sp>
      <p:sp>
        <p:nvSpPr>
          <p:cNvPr id="5" name="Inhaltsplatzhalter 4">
            <a:extLst>
              <a:ext uri="{FF2B5EF4-FFF2-40B4-BE49-F238E27FC236}">
                <a16:creationId xmlns:a16="http://schemas.microsoft.com/office/drawing/2014/main" id="{FB68AB65-3C77-4BA4-AEE4-E9C678EA56AD}"/>
              </a:ext>
            </a:extLst>
          </p:cNvPr>
          <p:cNvSpPr>
            <a:spLocks noGrp="1"/>
          </p:cNvSpPr>
          <p:nvPr>
            <p:ph idx="12"/>
          </p:nvPr>
        </p:nvSpPr>
        <p:spPr/>
        <p:txBody>
          <a:bodyPr/>
          <a:lstStyle/>
          <a:p>
            <a:r>
              <a:rPr lang="de-DE" dirty="0"/>
              <a:t>Ein Forward ist ein deutlich weniger standardisierter Future, der ausschließlich außerbörslich gehandelt wird </a:t>
            </a:r>
          </a:p>
        </p:txBody>
      </p:sp>
      <p:graphicFrame>
        <p:nvGraphicFramePr>
          <p:cNvPr id="7" name="Table 2">
            <a:extLst>
              <a:ext uri="{FF2B5EF4-FFF2-40B4-BE49-F238E27FC236}">
                <a16:creationId xmlns:a16="http://schemas.microsoft.com/office/drawing/2014/main" id="{921DEFE6-64EA-4A9B-80DB-3B10C60640CF}"/>
              </a:ext>
            </a:extLst>
          </p:cNvPr>
          <p:cNvGraphicFramePr/>
          <p:nvPr>
            <p:extLst>
              <p:ext uri="{D42A27DB-BD31-4B8C-83A1-F6EECF244321}">
                <p14:modId xmlns:p14="http://schemas.microsoft.com/office/powerpoint/2010/main" val="1778743473"/>
              </p:ext>
            </p:extLst>
          </p:nvPr>
        </p:nvGraphicFramePr>
        <p:xfrm>
          <a:off x="1539360" y="2197080"/>
          <a:ext cx="9112680" cy="2506680"/>
        </p:xfrm>
        <a:graphic>
          <a:graphicData uri="http://schemas.openxmlformats.org/drawingml/2006/table">
            <a:tbl>
              <a:tblPr/>
              <a:tblGrid>
                <a:gridCol w="3744360">
                  <a:extLst>
                    <a:ext uri="{9D8B030D-6E8A-4147-A177-3AD203B41FA5}">
                      <a16:colId xmlns:a16="http://schemas.microsoft.com/office/drawing/2014/main" val="20000"/>
                    </a:ext>
                  </a:extLst>
                </a:gridCol>
                <a:gridCol w="2684160">
                  <a:extLst>
                    <a:ext uri="{9D8B030D-6E8A-4147-A177-3AD203B41FA5}">
                      <a16:colId xmlns:a16="http://schemas.microsoft.com/office/drawing/2014/main" val="20001"/>
                    </a:ext>
                  </a:extLst>
                </a:gridCol>
                <a:gridCol w="2684160">
                  <a:extLst>
                    <a:ext uri="{9D8B030D-6E8A-4147-A177-3AD203B41FA5}">
                      <a16:colId xmlns:a16="http://schemas.microsoft.com/office/drawing/2014/main" val="20002"/>
                    </a:ext>
                  </a:extLst>
                </a:gridCol>
              </a:tblGrid>
              <a:tr h="634680">
                <a:tc>
                  <a:txBody>
                    <a:bodyPr/>
                    <a:lstStyle/>
                    <a:p>
                      <a:endParaRPr lang="de-DE" dirty="0"/>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800" b="1" strike="noStrike" spc="-1" dirty="0">
                          <a:solidFill>
                            <a:srgbClr val="FFFFFF"/>
                          </a:solidFill>
                          <a:latin typeface="Calibri"/>
                        </a:rPr>
                        <a:t>Forward</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800" b="1" strike="noStrike" spc="-1" dirty="0">
                          <a:solidFill>
                            <a:srgbClr val="FFFFFF"/>
                          </a:solidFill>
                          <a:latin typeface="Calibri"/>
                        </a:rPr>
                        <a:t>Future</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extLst>
                  <a:ext uri="{0D108BD9-81ED-4DB2-BD59-A6C34878D82A}">
                    <a16:rowId xmlns:a16="http://schemas.microsoft.com/office/drawing/2014/main" val="10000"/>
                  </a:ext>
                </a:extLst>
              </a:tr>
              <a:tr h="623880">
                <a:tc>
                  <a:txBody>
                    <a:bodyPr/>
                    <a:lstStyle/>
                    <a:p>
                      <a:pPr>
                        <a:lnSpc>
                          <a:spcPct val="100000"/>
                        </a:lnSpc>
                      </a:pPr>
                      <a:r>
                        <a:rPr lang="de-DE" sz="1800" b="0" strike="noStrike" spc="-1">
                          <a:solidFill>
                            <a:srgbClr val="000000"/>
                          </a:solidFill>
                          <a:latin typeface="Calibri"/>
                        </a:rPr>
                        <a:t>Hohe Individualisierbarkeit</a:t>
                      </a:r>
                      <a:endParaRPr lang="de-DE" sz="1800" b="0" strike="noStrike" spc="-1">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1800" b="0"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extLst>
                  <a:ext uri="{0D108BD9-81ED-4DB2-BD59-A6C34878D82A}">
                    <a16:rowId xmlns:a16="http://schemas.microsoft.com/office/drawing/2014/main" val="10001"/>
                  </a:ext>
                </a:extLst>
              </a:tr>
              <a:tr h="623880">
                <a:tc>
                  <a:txBody>
                    <a:bodyPr/>
                    <a:lstStyle/>
                    <a:p>
                      <a:pPr>
                        <a:lnSpc>
                          <a:spcPct val="100000"/>
                        </a:lnSpc>
                      </a:pPr>
                      <a:r>
                        <a:rPr lang="de-DE" sz="1800" b="0" strike="noStrike" spc="-1">
                          <a:solidFill>
                            <a:srgbClr val="000000"/>
                          </a:solidFill>
                          <a:latin typeface="Calibri"/>
                        </a:rPr>
                        <a:t>Börsengehandel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1800" b="1"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extLst>
                  <a:ext uri="{0D108BD9-81ED-4DB2-BD59-A6C34878D82A}">
                    <a16:rowId xmlns:a16="http://schemas.microsoft.com/office/drawing/2014/main" val="10002"/>
                  </a:ext>
                </a:extLst>
              </a:tr>
              <a:tr h="624240">
                <a:tc>
                  <a:txBody>
                    <a:bodyPr/>
                    <a:lstStyle/>
                    <a:p>
                      <a:pPr>
                        <a:lnSpc>
                          <a:spcPct val="100000"/>
                        </a:lnSpc>
                      </a:pPr>
                      <a:r>
                        <a:rPr lang="de-DE" sz="1800" b="0" strike="noStrike" spc="-1">
                          <a:solidFill>
                            <a:srgbClr val="000000"/>
                          </a:solidFill>
                          <a:latin typeface="Calibri"/>
                        </a:rPr>
                        <a:t>Für Investoren interessan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3200" b="1" strike="noStrike" spc="-1">
                          <a:solidFill>
                            <a:srgbClr val="000000"/>
                          </a:solidFill>
                          <a:latin typeface="Calibri"/>
                        </a:rPr>
                        <a:t>~</a:t>
                      </a:r>
                      <a:endParaRPr lang="de-DE" sz="32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2400" b="0" strike="noStrike" spc="-1" dirty="0">
                          <a:solidFill>
                            <a:srgbClr val="000000"/>
                          </a:solidFill>
                          <a:latin typeface="Calibri"/>
                        </a:rPr>
                        <a:t>✔</a:t>
                      </a:r>
                      <a:endParaRPr lang="de-DE" sz="24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61597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7DFD32E-8F0B-47F7-BE80-ADD9ACAC72D9}"/>
              </a:ext>
            </a:extLst>
          </p:cNvPr>
          <p:cNvSpPr>
            <a:spLocks noGrp="1"/>
          </p:cNvSpPr>
          <p:nvPr>
            <p:ph type="sldNum" sz="quarter" idx="10"/>
          </p:nvPr>
        </p:nvSpPr>
        <p:spPr/>
        <p:txBody>
          <a:bodyPr/>
          <a:lstStyle/>
          <a:p>
            <a:fld id="{F966D7FF-EADB-4E92-9989-4DE4533DAC48}" type="slidenum">
              <a:rPr lang="de-DE" smtClean="0"/>
              <a:pPr/>
              <a:t>12</a:t>
            </a:fld>
            <a:endParaRPr lang="de-DE" dirty="0"/>
          </a:p>
        </p:txBody>
      </p:sp>
      <p:sp>
        <p:nvSpPr>
          <p:cNvPr id="3" name="Inhaltsplatzhalter 2">
            <a:extLst>
              <a:ext uri="{FF2B5EF4-FFF2-40B4-BE49-F238E27FC236}">
                <a16:creationId xmlns:a16="http://schemas.microsoft.com/office/drawing/2014/main" id="{418A8D97-42C4-4D97-BB7B-DE0DA57393E3}"/>
              </a:ext>
            </a:extLst>
          </p:cNvPr>
          <p:cNvSpPr>
            <a:spLocks noGrp="1"/>
          </p:cNvSpPr>
          <p:nvPr>
            <p:ph idx="11"/>
          </p:nvPr>
        </p:nvSpPr>
        <p:spPr/>
        <p:txBody>
          <a:bodyPr/>
          <a:lstStyle/>
          <a:p>
            <a:r>
              <a:rPr lang="de-DE" sz="1200" dirty="0">
                <a:ea typeface="Verdana"/>
                <a:cs typeface="Arial"/>
              </a:rPr>
              <a:t>Verschiedene Arten von Futures</a:t>
            </a:r>
            <a:endParaRPr lang="de-DE" sz="1200" dirty="0"/>
          </a:p>
        </p:txBody>
      </p:sp>
      <p:sp>
        <p:nvSpPr>
          <p:cNvPr id="5" name="Inhaltsplatzhalter 4">
            <a:extLst>
              <a:ext uri="{FF2B5EF4-FFF2-40B4-BE49-F238E27FC236}">
                <a16:creationId xmlns:a16="http://schemas.microsoft.com/office/drawing/2014/main" id="{70A7A072-A831-41D0-AC02-18F642903FFE}"/>
              </a:ext>
            </a:extLst>
          </p:cNvPr>
          <p:cNvSpPr>
            <a:spLocks noGrp="1"/>
          </p:cNvSpPr>
          <p:nvPr>
            <p:ph idx="12"/>
          </p:nvPr>
        </p:nvSpPr>
        <p:spPr/>
        <p:txBody>
          <a:bodyPr/>
          <a:lstStyle/>
          <a:p>
            <a:r>
              <a:rPr lang="de-DE" dirty="0"/>
              <a:t>Neben den klassischen Financial Futures (auf z.B. den DAX) gibt es auch Futures auf diverse Rohstoffe (Öl, Weizen, Rinderhälften, etc.) </a:t>
            </a:r>
          </a:p>
        </p:txBody>
      </p:sp>
      <p:grpSp>
        <p:nvGrpSpPr>
          <p:cNvPr id="32" name="Gruppieren 31">
            <a:extLst>
              <a:ext uri="{FF2B5EF4-FFF2-40B4-BE49-F238E27FC236}">
                <a16:creationId xmlns:a16="http://schemas.microsoft.com/office/drawing/2014/main" id="{0BFC7B61-930F-4671-891A-8C0927DEBBD8}"/>
              </a:ext>
            </a:extLst>
          </p:cNvPr>
          <p:cNvGrpSpPr/>
          <p:nvPr/>
        </p:nvGrpSpPr>
        <p:grpSpPr>
          <a:xfrm>
            <a:off x="940980" y="1654049"/>
            <a:ext cx="10310040" cy="4037400"/>
            <a:chOff x="203040" y="1457280"/>
            <a:chExt cx="10310040" cy="4037400"/>
          </a:xfrm>
        </p:grpSpPr>
        <p:sp>
          <p:nvSpPr>
            <p:cNvPr id="7" name="Line 4">
              <a:extLst>
                <a:ext uri="{FF2B5EF4-FFF2-40B4-BE49-F238E27FC236}">
                  <a16:creationId xmlns:a16="http://schemas.microsoft.com/office/drawing/2014/main" id="{859176F9-2E02-48C4-A7E8-77C4277AD41F}"/>
                </a:ext>
              </a:extLst>
            </p:cNvPr>
            <p:cNvSpPr/>
            <p:nvPr/>
          </p:nvSpPr>
          <p:spPr>
            <a:xfrm flipV="1">
              <a:off x="1678320" y="1457280"/>
              <a:ext cx="0" cy="1064520"/>
            </a:xfrm>
            <a:prstGeom prst="line">
              <a:avLst/>
            </a:prstGeom>
            <a:ln/>
          </p:spPr>
          <p:style>
            <a:lnRef idx="1">
              <a:schemeClr val="accent1"/>
            </a:lnRef>
            <a:fillRef idx="0">
              <a:schemeClr val="accent1"/>
            </a:fillRef>
            <a:effectRef idx="0">
              <a:schemeClr val="accent1"/>
            </a:effectRef>
            <a:fontRef idx="minor"/>
          </p:style>
          <p:txBody>
            <a:bodyPr/>
            <a:lstStyle/>
            <a:p>
              <a:endParaRPr lang="de-DE" dirty="0"/>
            </a:p>
          </p:txBody>
        </p:sp>
        <p:sp>
          <p:nvSpPr>
            <p:cNvPr id="9" name="CustomShape 5">
              <a:extLst>
                <a:ext uri="{FF2B5EF4-FFF2-40B4-BE49-F238E27FC236}">
                  <a16:creationId xmlns:a16="http://schemas.microsoft.com/office/drawing/2014/main" id="{A5F64CCD-9126-4ACD-8185-CED0C1600706}"/>
                </a:ext>
              </a:extLst>
            </p:cNvPr>
            <p:cNvSpPr/>
            <p:nvPr/>
          </p:nvSpPr>
          <p:spPr>
            <a:xfrm>
              <a:off x="1678680" y="1922040"/>
              <a:ext cx="3553560" cy="1186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Financial Futures</a:t>
              </a:r>
              <a:endParaRPr lang="de-DE" sz="3200" b="0" strike="noStrike" spc="-1">
                <a:latin typeface="Arial"/>
              </a:endParaRPr>
            </a:p>
            <a:p>
              <a:pPr>
                <a:lnSpc>
                  <a:spcPct val="100000"/>
                </a:lnSpc>
              </a:pPr>
              <a:endParaRPr lang="de-DE" sz="3200" b="0" strike="noStrike" spc="-1">
                <a:latin typeface="Arial"/>
              </a:endParaRPr>
            </a:p>
            <a:p>
              <a:pPr>
                <a:lnSpc>
                  <a:spcPct val="100000"/>
                </a:lnSpc>
              </a:pPr>
              <a:r>
                <a:rPr lang="de-DE" sz="2140" b="0" strike="noStrike" spc="-1">
                  <a:solidFill>
                    <a:srgbClr val="808080"/>
                  </a:solidFill>
                  <a:latin typeface="Calibri"/>
                </a:rPr>
                <a:t>Futures auf Finanzprodukte</a:t>
              </a:r>
              <a:endParaRPr lang="de-DE" sz="2140" b="0" strike="noStrike" spc="-1">
                <a:latin typeface="Arial"/>
              </a:endParaRPr>
            </a:p>
          </p:txBody>
        </p:sp>
        <p:sp>
          <p:nvSpPr>
            <p:cNvPr id="11" name="Line 6">
              <a:extLst>
                <a:ext uri="{FF2B5EF4-FFF2-40B4-BE49-F238E27FC236}">
                  <a16:creationId xmlns:a16="http://schemas.microsoft.com/office/drawing/2014/main" id="{650F0F86-7195-45F8-A4F1-D7A9BC427A1A}"/>
                </a:ext>
              </a:extLst>
            </p:cNvPr>
            <p:cNvSpPr/>
            <p:nvPr/>
          </p:nvSpPr>
          <p:spPr>
            <a:xfrm flipV="1">
              <a:off x="6324480" y="1509120"/>
              <a:ext cx="0" cy="101268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3" name="CustomShape 7">
              <a:extLst>
                <a:ext uri="{FF2B5EF4-FFF2-40B4-BE49-F238E27FC236}">
                  <a16:creationId xmlns:a16="http://schemas.microsoft.com/office/drawing/2014/main" id="{4CF629BE-BCD7-4C62-91F8-F417F6686A58}"/>
                </a:ext>
              </a:extLst>
            </p:cNvPr>
            <p:cNvSpPr/>
            <p:nvPr/>
          </p:nvSpPr>
          <p:spPr>
            <a:xfrm>
              <a:off x="6324480" y="1922040"/>
              <a:ext cx="4188600" cy="11869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Commodity Futures</a:t>
              </a:r>
              <a:endParaRPr lang="de-DE" sz="3200" b="0" strike="noStrike" spc="-1">
                <a:latin typeface="Arial"/>
              </a:endParaRPr>
            </a:p>
            <a:p>
              <a:pPr>
                <a:lnSpc>
                  <a:spcPct val="100000"/>
                </a:lnSpc>
              </a:pPr>
              <a:endParaRPr lang="de-DE" sz="3200" b="0" strike="noStrike" spc="-1">
                <a:latin typeface="Arial"/>
              </a:endParaRPr>
            </a:p>
            <a:p>
              <a:pPr>
                <a:lnSpc>
                  <a:spcPct val="100000"/>
                </a:lnSpc>
              </a:pPr>
              <a:r>
                <a:rPr lang="de-DE" sz="2140" b="0" strike="noStrike" spc="-1">
                  <a:solidFill>
                    <a:srgbClr val="808080"/>
                  </a:solidFill>
                  <a:latin typeface="Calibri"/>
                </a:rPr>
                <a:t>Futures auf Rohstoffe</a:t>
              </a:r>
              <a:endParaRPr lang="de-DE" sz="2140" b="0" strike="noStrike" spc="-1">
                <a:latin typeface="Arial"/>
              </a:endParaRPr>
            </a:p>
          </p:txBody>
        </p:sp>
        <p:sp>
          <p:nvSpPr>
            <p:cNvPr id="15" name="Line 8">
              <a:extLst>
                <a:ext uri="{FF2B5EF4-FFF2-40B4-BE49-F238E27FC236}">
                  <a16:creationId xmlns:a16="http://schemas.microsoft.com/office/drawing/2014/main" id="{CCAF7EB4-749B-4D90-879B-E18BFCB59338}"/>
                </a:ext>
              </a:extLst>
            </p:cNvPr>
            <p:cNvSpPr/>
            <p:nvPr/>
          </p:nvSpPr>
          <p:spPr>
            <a:xfrm flipV="1">
              <a:off x="203040" y="3974760"/>
              <a:ext cx="0" cy="95364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7" name="CustomShape 9">
              <a:extLst>
                <a:ext uri="{FF2B5EF4-FFF2-40B4-BE49-F238E27FC236}">
                  <a16:creationId xmlns:a16="http://schemas.microsoft.com/office/drawing/2014/main" id="{B5CEBFD7-DE4E-49DE-9EDF-53D66496313D}"/>
                </a:ext>
              </a:extLst>
            </p:cNvPr>
            <p:cNvSpPr/>
            <p:nvPr/>
          </p:nvSpPr>
          <p:spPr>
            <a:xfrm>
              <a:off x="203040" y="4389840"/>
              <a:ext cx="3551400" cy="10645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rgbClr val="000000"/>
                  </a:solidFill>
                  <a:latin typeface="Calibri"/>
                </a:rPr>
                <a:t>Aktienindex-Futures</a:t>
              </a:r>
              <a:endParaRPr lang="de-DE" sz="2670" b="0" strike="noStrike" spc="-1">
                <a:latin typeface="Arial"/>
              </a:endParaRPr>
            </a:p>
            <a:p>
              <a:pPr>
                <a:lnSpc>
                  <a:spcPct val="100000"/>
                </a:lnSpc>
              </a:pPr>
              <a:endParaRPr lang="de-DE" sz="2670" b="0" strike="noStrike" spc="-1">
                <a:latin typeface="Arial"/>
              </a:endParaRPr>
            </a:p>
            <a:p>
              <a:pPr>
                <a:lnSpc>
                  <a:spcPct val="100000"/>
                </a:lnSpc>
              </a:pPr>
              <a:r>
                <a:rPr lang="de-DE" sz="1870" b="0" strike="noStrike" spc="-1">
                  <a:solidFill>
                    <a:srgbClr val="808080"/>
                  </a:solidFill>
                  <a:latin typeface="Calibri"/>
                </a:rPr>
                <a:t>Zum Beispiel: DAX-Future</a:t>
              </a:r>
              <a:endParaRPr lang="de-DE" sz="1870" b="0" strike="noStrike" spc="-1">
                <a:latin typeface="Arial"/>
              </a:endParaRPr>
            </a:p>
          </p:txBody>
        </p:sp>
        <p:sp>
          <p:nvSpPr>
            <p:cNvPr id="19" name="Line 10">
              <a:extLst>
                <a:ext uri="{FF2B5EF4-FFF2-40B4-BE49-F238E27FC236}">
                  <a16:creationId xmlns:a16="http://schemas.microsoft.com/office/drawing/2014/main" id="{00A9A457-C37F-46D7-B19A-9AEB80806C73}"/>
                </a:ext>
              </a:extLst>
            </p:cNvPr>
            <p:cNvSpPr/>
            <p:nvPr/>
          </p:nvSpPr>
          <p:spPr>
            <a:xfrm flipV="1">
              <a:off x="3456360" y="4015080"/>
              <a:ext cx="0" cy="95364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11">
              <a:extLst>
                <a:ext uri="{FF2B5EF4-FFF2-40B4-BE49-F238E27FC236}">
                  <a16:creationId xmlns:a16="http://schemas.microsoft.com/office/drawing/2014/main" id="{64FDB485-BD85-4C42-B248-9482F24A3821}"/>
                </a:ext>
              </a:extLst>
            </p:cNvPr>
            <p:cNvSpPr/>
            <p:nvPr/>
          </p:nvSpPr>
          <p:spPr>
            <a:xfrm>
              <a:off x="3456360" y="4430160"/>
              <a:ext cx="3551400" cy="10645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rgbClr val="000000"/>
                  </a:solidFill>
                  <a:latin typeface="Calibri"/>
                </a:rPr>
                <a:t>Devisen-Futures</a:t>
              </a:r>
              <a:endParaRPr lang="de-DE" sz="2670" b="0" strike="noStrike" spc="-1">
                <a:latin typeface="Arial"/>
              </a:endParaRPr>
            </a:p>
            <a:p>
              <a:pPr>
                <a:lnSpc>
                  <a:spcPct val="100000"/>
                </a:lnSpc>
              </a:pPr>
              <a:endParaRPr lang="de-DE" sz="2670" b="0" strike="noStrike" spc="-1">
                <a:latin typeface="Arial"/>
              </a:endParaRPr>
            </a:p>
            <a:p>
              <a:pPr>
                <a:lnSpc>
                  <a:spcPct val="100000"/>
                </a:lnSpc>
              </a:pPr>
              <a:r>
                <a:rPr lang="de-DE" sz="1870" b="0" strike="noStrike" spc="-1">
                  <a:solidFill>
                    <a:srgbClr val="808080"/>
                  </a:solidFill>
                  <a:latin typeface="Calibri"/>
                </a:rPr>
                <a:t>Zum Beispiel: Dollar-Future</a:t>
              </a:r>
              <a:endParaRPr lang="de-DE" sz="1870" b="0" strike="noStrike" spc="-1">
                <a:latin typeface="Arial"/>
              </a:endParaRPr>
            </a:p>
          </p:txBody>
        </p:sp>
        <p:sp>
          <p:nvSpPr>
            <p:cNvPr id="23" name="Line 12">
              <a:extLst>
                <a:ext uri="{FF2B5EF4-FFF2-40B4-BE49-F238E27FC236}">
                  <a16:creationId xmlns:a16="http://schemas.microsoft.com/office/drawing/2014/main" id="{A15C471A-26AE-471C-BE3A-846ECBDB28D9}"/>
                </a:ext>
              </a:extLst>
            </p:cNvPr>
            <p:cNvSpPr/>
            <p:nvPr/>
          </p:nvSpPr>
          <p:spPr>
            <a:xfrm flipV="1">
              <a:off x="6707520" y="3974760"/>
              <a:ext cx="360" cy="95364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5" name="CustomShape 13">
              <a:extLst>
                <a:ext uri="{FF2B5EF4-FFF2-40B4-BE49-F238E27FC236}">
                  <a16:creationId xmlns:a16="http://schemas.microsoft.com/office/drawing/2014/main" id="{66AE5BE7-9E05-4C50-BD00-F8B866253C5C}"/>
                </a:ext>
              </a:extLst>
            </p:cNvPr>
            <p:cNvSpPr/>
            <p:nvPr/>
          </p:nvSpPr>
          <p:spPr>
            <a:xfrm>
              <a:off x="6707880" y="4389840"/>
              <a:ext cx="3553560" cy="10645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rgbClr val="000000"/>
                  </a:solidFill>
                  <a:latin typeface="Calibri"/>
                </a:rPr>
                <a:t>Zins-Futures</a:t>
              </a:r>
              <a:endParaRPr lang="de-DE" sz="2670" b="0" strike="noStrike" spc="-1">
                <a:latin typeface="Arial"/>
              </a:endParaRPr>
            </a:p>
            <a:p>
              <a:pPr>
                <a:lnSpc>
                  <a:spcPct val="100000"/>
                </a:lnSpc>
              </a:pPr>
              <a:endParaRPr lang="de-DE" sz="2670" b="0" strike="noStrike" spc="-1">
                <a:latin typeface="Arial"/>
              </a:endParaRPr>
            </a:p>
            <a:p>
              <a:pPr>
                <a:lnSpc>
                  <a:spcPct val="100000"/>
                </a:lnSpc>
              </a:pPr>
              <a:r>
                <a:rPr lang="de-DE" sz="1870" b="0" strike="noStrike" spc="-1">
                  <a:solidFill>
                    <a:srgbClr val="808080"/>
                  </a:solidFill>
                  <a:latin typeface="Calibri"/>
                </a:rPr>
                <a:t>Zum Beispiel: LIBOR-Future</a:t>
              </a:r>
              <a:endParaRPr lang="de-DE" sz="1870" b="0" strike="noStrike" spc="-1">
                <a:latin typeface="Arial"/>
              </a:endParaRPr>
            </a:p>
          </p:txBody>
        </p:sp>
        <p:sp>
          <p:nvSpPr>
            <p:cNvPr id="27" name="CustomShape 14">
              <a:extLst>
                <a:ext uri="{FF2B5EF4-FFF2-40B4-BE49-F238E27FC236}">
                  <a16:creationId xmlns:a16="http://schemas.microsoft.com/office/drawing/2014/main" id="{ACA259F6-AE39-4C49-BE14-AB55FB28EE63}"/>
                </a:ext>
              </a:extLst>
            </p:cNvPr>
            <p:cNvSpPr/>
            <p:nvPr/>
          </p:nvSpPr>
          <p:spPr>
            <a:xfrm rot="5400000">
              <a:off x="2083680" y="3017880"/>
              <a:ext cx="1267200" cy="1476000"/>
            </a:xfrm>
            <a:prstGeom prst="bentConnector3">
              <a:avLst>
                <a:gd name="adj1" fmla="val 50000"/>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a:p>
          </p:txBody>
        </p:sp>
        <p:sp>
          <p:nvSpPr>
            <p:cNvPr id="29" name="CustomShape 15">
              <a:extLst>
                <a:ext uri="{FF2B5EF4-FFF2-40B4-BE49-F238E27FC236}">
                  <a16:creationId xmlns:a16="http://schemas.microsoft.com/office/drawing/2014/main" id="{6602852D-4030-4CB4-A496-C048DF865FF3}"/>
                </a:ext>
              </a:extLst>
            </p:cNvPr>
            <p:cNvSpPr/>
            <p:nvPr/>
          </p:nvSpPr>
          <p:spPr>
            <a:xfrm rot="16200000" flipH="1">
              <a:off x="3689280" y="2887560"/>
              <a:ext cx="1307520" cy="1776600"/>
            </a:xfrm>
            <a:prstGeom prst="bentConnector3">
              <a:avLst>
                <a:gd name="adj1" fmla="val 50000"/>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a:p>
          </p:txBody>
        </p:sp>
        <p:sp>
          <p:nvSpPr>
            <p:cNvPr id="31" name="CustomShape 16">
              <a:extLst>
                <a:ext uri="{FF2B5EF4-FFF2-40B4-BE49-F238E27FC236}">
                  <a16:creationId xmlns:a16="http://schemas.microsoft.com/office/drawing/2014/main" id="{57095AC5-E61A-46FD-A3F5-10718790A233}"/>
                </a:ext>
              </a:extLst>
            </p:cNvPr>
            <p:cNvSpPr/>
            <p:nvPr/>
          </p:nvSpPr>
          <p:spPr>
            <a:xfrm rot="16200000" flipH="1">
              <a:off x="5335560" y="1241280"/>
              <a:ext cx="1267200" cy="5028840"/>
            </a:xfrm>
            <a:prstGeom prst="bentConnector3">
              <a:avLst>
                <a:gd name="adj1" fmla="val 50000"/>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a:p>
          </p:txBody>
        </p:sp>
      </p:grpSp>
    </p:spTree>
    <p:extLst>
      <p:ext uri="{BB962C8B-B14F-4D97-AF65-F5344CB8AC3E}">
        <p14:creationId xmlns:p14="http://schemas.microsoft.com/office/powerpoint/2010/main" val="4043433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BF3C681-6970-4B45-A45C-1335556D4E9C}"/>
              </a:ext>
            </a:extLst>
          </p:cNvPr>
          <p:cNvSpPr>
            <a:spLocks noGrp="1"/>
          </p:cNvSpPr>
          <p:nvPr>
            <p:ph type="sldNum" sz="quarter" idx="10"/>
          </p:nvPr>
        </p:nvSpPr>
        <p:spPr/>
        <p:txBody>
          <a:bodyPr/>
          <a:lstStyle/>
          <a:p>
            <a:fld id="{F966D7FF-EADB-4E92-9989-4DE4533DAC48}" type="slidenum">
              <a:rPr lang="de-DE" smtClean="0"/>
              <a:pPr/>
              <a:t>13</a:t>
            </a:fld>
            <a:endParaRPr lang="de-DE" dirty="0"/>
          </a:p>
        </p:txBody>
      </p:sp>
      <p:sp>
        <p:nvSpPr>
          <p:cNvPr id="3" name="Inhaltsplatzhalter 2">
            <a:extLst>
              <a:ext uri="{FF2B5EF4-FFF2-40B4-BE49-F238E27FC236}">
                <a16:creationId xmlns:a16="http://schemas.microsoft.com/office/drawing/2014/main" id="{C0798034-C4E5-4512-BBD8-5B578A503E31}"/>
              </a:ext>
            </a:extLst>
          </p:cNvPr>
          <p:cNvSpPr>
            <a:spLocks noGrp="1"/>
          </p:cNvSpPr>
          <p:nvPr>
            <p:ph idx="11"/>
          </p:nvPr>
        </p:nvSpPr>
        <p:spPr/>
        <p:txBody>
          <a:bodyPr/>
          <a:lstStyle/>
          <a:p>
            <a:r>
              <a:rPr lang="de-DE" sz="1200" dirty="0">
                <a:ea typeface="Verdana"/>
                <a:cs typeface="Arial"/>
              </a:rPr>
              <a:t>Wo wird gehandelt?</a:t>
            </a:r>
            <a:endParaRPr lang="de-DE" sz="1200" dirty="0"/>
          </a:p>
        </p:txBody>
      </p:sp>
      <p:sp>
        <p:nvSpPr>
          <p:cNvPr id="5" name="Inhaltsplatzhalter 4">
            <a:extLst>
              <a:ext uri="{FF2B5EF4-FFF2-40B4-BE49-F238E27FC236}">
                <a16:creationId xmlns:a16="http://schemas.microsoft.com/office/drawing/2014/main" id="{99D1AD00-7AEF-443B-813C-3312D0771A9A}"/>
              </a:ext>
            </a:extLst>
          </p:cNvPr>
          <p:cNvSpPr>
            <a:spLocks noGrp="1"/>
          </p:cNvSpPr>
          <p:nvPr>
            <p:ph idx="12"/>
          </p:nvPr>
        </p:nvSpPr>
        <p:spPr/>
        <p:txBody>
          <a:bodyPr/>
          <a:lstStyle/>
          <a:p>
            <a:r>
              <a:rPr lang="de-DE" dirty="0"/>
              <a:t>Der Handel findet entweder direkt über spezielle Terminbörsen oder über einen Broker statt</a:t>
            </a:r>
          </a:p>
        </p:txBody>
      </p:sp>
      <p:grpSp>
        <p:nvGrpSpPr>
          <p:cNvPr id="16" name="Gruppieren 15">
            <a:extLst>
              <a:ext uri="{FF2B5EF4-FFF2-40B4-BE49-F238E27FC236}">
                <a16:creationId xmlns:a16="http://schemas.microsoft.com/office/drawing/2014/main" id="{669677F4-4612-4354-9B7A-9E3751C6E39D}"/>
              </a:ext>
            </a:extLst>
          </p:cNvPr>
          <p:cNvGrpSpPr/>
          <p:nvPr/>
        </p:nvGrpSpPr>
        <p:grpSpPr>
          <a:xfrm>
            <a:off x="629915" y="1470091"/>
            <a:ext cx="10931933" cy="4856491"/>
            <a:chOff x="572040" y="1446941"/>
            <a:chExt cx="10931933" cy="4856491"/>
          </a:xfrm>
        </p:grpSpPr>
        <p:sp>
          <p:nvSpPr>
            <p:cNvPr id="7" name="CustomShape 2">
              <a:extLst>
                <a:ext uri="{FF2B5EF4-FFF2-40B4-BE49-F238E27FC236}">
                  <a16:creationId xmlns:a16="http://schemas.microsoft.com/office/drawing/2014/main" id="{61B65142-3455-407B-AD01-44CBE9E84881}"/>
                </a:ext>
              </a:extLst>
            </p:cNvPr>
            <p:cNvSpPr/>
            <p:nvPr/>
          </p:nvSpPr>
          <p:spPr>
            <a:xfrm>
              <a:off x="572040" y="1446941"/>
              <a:ext cx="4822200" cy="1325063"/>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140" b="0" strike="noStrike" spc="-1" dirty="0">
                  <a:latin typeface="Arial" panose="020B0604020202020204" pitchFamily="34" charset="0"/>
                  <a:cs typeface="Arial" panose="020B0604020202020204" pitchFamily="34" charset="0"/>
                </a:rPr>
                <a:t>Terminbörse (Bsp. Eurex)</a:t>
              </a:r>
            </a:p>
            <a:p>
              <a:pPr>
                <a:lnSpc>
                  <a:spcPct val="100000"/>
                </a:lnSpc>
              </a:pPr>
              <a:endParaRPr lang="de-DE" sz="2140" b="0" strike="noStrike" spc="-1" dirty="0">
                <a:latin typeface="Arial" panose="020B0604020202020204" pitchFamily="34" charset="0"/>
                <a:cs typeface="Arial" panose="020B0604020202020204" pitchFamily="34" charset="0"/>
              </a:endParaRPr>
            </a:p>
            <a:p>
              <a:pPr marL="457200">
                <a:lnSpc>
                  <a:spcPct val="100000"/>
                </a:lnSpc>
              </a:pPr>
              <a:r>
                <a:rPr lang="de-DE" sz="1870" b="0" strike="noStrike" spc="-1" dirty="0">
                  <a:latin typeface="Arial" panose="020B0604020202020204" pitchFamily="34" charset="0"/>
                  <a:cs typeface="Arial" panose="020B0604020202020204" pitchFamily="34" charset="0"/>
                </a:rPr>
                <a:t>Ausstehendes Nominalvolumen: </a:t>
              </a:r>
              <a:br>
                <a:rPr dirty="0">
                  <a:latin typeface="Arial" panose="020B0604020202020204" pitchFamily="34" charset="0"/>
                  <a:cs typeface="Arial" panose="020B0604020202020204" pitchFamily="34" charset="0"/>
                </a:rPr>
              </a:br>
              <a:r>
                <a:rPr lang="de-DE" sz="1870" b="0" strike="noStrike" spc="-1" dirty="0">
                  <a:latin typeface="Arial" panose="020B0604020202020204" pitchFamily="34" charset="0"/>
                  <a:cs typeface="Arial" panose="020B0604020202020204" pitchFamily="34" charset="0"/>
                </a:rPr>
                <a:t>12,1 Billionen Euro (Stand 03/19) </a:t>
              </a:r>
            </a:p>
          </p:txBody>
        </p:sp>
        <p:sp>
          <p:nvSpPr>
            <p:cNvPr id="9" name="Line 3">
              <a:extLst>
                <a:ext uri="{FF2B5EF4-FFF2-40B4-BE49-F238E27FC236}">
                  <a16:creationId xmlns:a16="http://schemas.microsoft.com/office/drawing/2014/main" id="{B4CF0F88-2361-4D65-AAA5-3C76E5A30E9D}"/>
                </a:ext>
              </a:extLst>
            </p:cNvPr>
            <p:cNvSpPr/>
            <p:nvPr/>
          </p:nvSpPr>
          <p:spPr>
            <a:xfrm>
              <a:off x="6095880" y="1721160"/>
              <a:ext cx="360" cy="3819960"/>
            </a:xfrm>
            <a:prstGeom prst="line">
              <a:avLst/>
            </a:prstGeom>
            <a:ln>
              <a:solidFill>
                <a:srgbClr val="193052"/>
              </a:solidFill>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pic>
          <p:nvPicPr>
            <p:cNvPr id="11" name="Grafik 10">
              <a:extLst>
                <a:ext uri="{FF2B5EF4-FFF2-40B4-BE49-F238E27FC236}">
                  <a16:creationId xmlns:a16="http://schemas.microsoft.com/office/drawing/2014/main" id="{7A6C10D5-DB06-47B9-8CAE-A75D2F027989}"/>
                </a:ext>
              </a:extLst>
            </p:cNvPr>
            <p:cNvPicPr/>
            <p:nvPr/>
          </p:nvPicPr>
          <p:blipFill>
            <a:blip r:embed="rId2"/>
            <a:srcRect l="8435" t="11768" r="7182" b="8788"/>
            <a:stretch/>
          </p:blipFill>
          <p:spPr>
            <a:xfrm>
              <a:off x="1794796" y="2835627"/>
              <a:ext cx="2628164" cy="2454006"/>
            </a:xfrm>
            <a:prstGeom prst="rect">
              <a:avLst/>
            </a:prstGeom>
            <a:ln>
              <a:noFill/>
            </a:ln>
          </p:spPr>
        </p:pic>
        <p:sp>
          <p:nvSpPr>
            <p:cNvPr id="13" name="CustomShape 4">
              <a:extLst>
                <a:ext uri="{FF2B5EF4-FFF2-40B4-BE49-F238E27FC236}">
                  <a16:creationId xmlns:a16="http://schemas.microsoft.com/office/drawing/2014/main" id="{93F03837-B631-41E4-88CF-CED1B6423953}"/>
                </a:ext>
              </a:extLst>
            </p:cNvPr>
            <p:cNvSpPr/>
            <p:nvPr/>
          </p:nvSpPr>
          <p:spPr>
            <a:xfrm>
              <a:off x="6681773" y="1950120"/>
              <a:ext cx="4822200" cy="218837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140" b="0" strike="noStrike" spc="-1" dirty="0">
                  <a:latin typeface="Arial" panose="020B0604020202020204" pitchFamily="34" charset="0"/>
                  <a:cs typeface="Arial" panose="020B0604020202020204" pitchFamily="34" charset="0"/>
                </a:rPr>
                <a:t>Direktbroker (Bsp. Plus500, </a:t>
              </a:r>
              <a:r>
                <a:rPr lang="de-DE" sz="2140" b="0" strike="noStrike" spc="-1" dirty="0" err="1">
                  <a:latin typeface="Arial" panose="020B0604020202020204" pitchFamily="34" charset="0"/>
                  <a:cs typeface="Arial" panose="020B0604020202020204" pitchFamily="34" charset="0"/>
                </a:rPr>
                <a:t>eToro</a:t>
              </a:r>
              <a:r>
                <a:rPr lang="de-DE" sz="2140" b="0" strike="noStrike" spc="-1" dirty="0">
                  <a:latin typeface="Arial" panose="020B0604020202020204" pitchFamily="34" charset="0"/>
                  <a:cs typeface="Arial" panose="020B0604020202020204" pitchFamily="34" charset="0"/>
                </a:rPr>
                <a:t>)</a:t>
              </a:r>
            </a:p>
            <a:p>
              <a:pPr>
                <a:lnSpc>
                  <a:spcPct val="100000"/>
                </a:lnSpc>
              </a:pPr>
              <a:endParaRPr lang="de-DE" sz="2140" b="0" strike="noStrike" spc="-1" dirty="0">
                <a:latin typeface="Arial" panose="020B0604020202020204" pitchFamily="34" charset="0"/>
                <a:cs typeface="Arial" panose="020B0604020202020204" pitchFamily="34" charset="0"/>
              </a:endParaRPr>
            </a:p>
            <a:p>
              <a:pPr marL="990720" lvl="1" indent="-380520">
                <a:lnSpc>
                  <a:spcPct val="100000"/>
                </a:lnSpc>
                <a:buClr>
                  <a:srgbClr val="808080"/>
                </a:buClr>
                <a:buFont typeface="Wingdings" panose="05000000000000000000" pitchFamily="2" charset="2"/>
                <a:buChar char="§"/>
              </a:pPr>
              <a:r>
                <a:rPr lang="de-DE" sz="1870" b="0" strike="noStrike" spc="-1" dirty="0">
                  <a:latin typeface="Arial" panose="020B0604020202020204" pitchFamily="34" charset="0"/>
                  <a:cs typeface="Arial" panose="020B0604020202020204" pitchFamily="34" charset="0"/>
                </a:rPr>
                <a:t>Online Handelsplattformen für Termingeschäfte </a:t>
              </a:r>
            </a:p>
            <a:p>
              <a:pPr marL="342900" indent="-342900">
                <a:lnSpc>
                  <a:spcPct val="100000"/>
                </a:lnSpc>
                <a:buFont typeface="Wingdings" panose="05000000000000000000" pitchFamily="2" charset="2"/>
                <a:buChar char="§"/>
              </a:pPr>
              <a:endParaRPr lang="de-DE" sz="1870" b="0" strike="noStrike" spc="-1" dirty="0">
                <a:latin typeface="Arial" panose="020B0604020202020204" pitchFamily="34" charset="0"/>
                <a:cs typeface="Arial" panose="020B0604020202020204" pitchFamily="34" charset="0"/>
              </a:endParaRPr>
            </a:p>
            <a:p>
              <a:pPr marL="990720" lvl="1" indent="-380520">
                <a:lnSpc>
                  <a:spcPct val="100000"/>
                </a:lnSpc>
                <a:buClr>
                  <a:srgbClr val="808080"/>
                </a:buClr>
                <a:buFont typeface="Wingdings" panose="05000000000000000000" pitchFamily="2" charset="2"/>
                <a:buChar char="§"/>
              </a:pPr>
              <a:r>
                <a:rPr lang="de-DE" sz="1870" b="0" strike="noStrike" spc="-1" dirty="0">
                  <a:latin typeface="Arial" panose="020B0604020202020204" pitchFamily="34" charset="0"/>
                  <a:cs typeface="Arial" panose="020B0604020202020204" pitchFamily="34" charset="0"/>
                </a:rPr>
                <a:t>Zugriff auf große Terminbörsen für Privatanleger</a:t>
              </a:r>
            </a:p>
          </p:txBody>
        </p:sp>
        <p:sp>
          <p:nvSpPr>
            <p:cNvPr id="15" name="CustomShape 5">
              <a:extLst>
                <a:ext uri="{FF2B5EF4-FFF2-40B4-BE49-F238E27FC236}">
                  <a16:creationId xmlns:a16="http://schemas.microsoft.com/office/drawing/2014/main" id="{4494F7C5-31E9-4F35-AA45-37AEBDF4BCAA}"/>
                </a:ext>
              </a:extLst>
            </p:cNvPr>
            <p:cNvSpPr/>
            <p:nvPr/>
          </p:nvSpPr>
          <p:spPr>
            <a:xfrm>
              <a:off x="996840" y="5349240"/>
              <a:ext cx="3972240" cy="95419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870" b="0" strike="noStrike" spc="-1">
                  <a:latin typeface="Arial" panose="020B0604020202020204" pitchFamily="34" charset="0"/>
                  <a:cs typeface="Arial" panose="020B0604020202020204" pitchFamily="34" charset="0"/>
                </a:rPr>
                <a:t>Vergleich Kassamarkt: </a:t>
              </a:r>
              <a:br>
                <a:rPr>
                  <a:latin typeface="Arial" panose="020B0604020202020204" pitchFamily="34" charset="0"/>
                  <a:cs typeface="Arial" panose="020B0604020202020204" pitchFamily="34" charset="0"/>
                </a:rPr>
              </a:br>
              <a:r>
                <a:rPr lang="de-DE" sz="1870" b="0" strike="noStrike" spc="-1">
                  <a:latin typeface="Arial" panose="020B0604020202020204" pitchFamily="34" charset="0"/>
                  <a:cs typeface="Arial" panose="020B0604020202020204" pitchFamily="34" charset="0"/>
                </a:rPr>
                <a:t>Höchststand 1,72 Billionen € in 2018</a:t>
              </a:r>
            </a:p>
          </p:txBody>
        </p:sp>
      </p:grpSp>
    </p:spTree>
    <p:extLst>
      <p:ext uri="{BB962C8B-B14F-4D97-AF65-F5344CB8AC3E}">
        <p14:creationId xmlns:p14="http://schemas.microsoft.com/office/powerpoint/2010/main" val="2467300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2329FC2-D34C-47EA-8566-8B5356B3E728}"/>
              </a:ext>
            </a:extLst>
          </p:cNvPr>
          <p:cNvSpPr>
            <a:spLocks noGrp="1"/>
          </p:cNvSpPr>
          <p:nvPr>
            <p:ph type="sldNum" sz="quarter" idx="10"/>
          </p:nvPr>
        </p:nvSpPr>
        <p:spPr/>
        <p:txBody>
          <a:bodyPr/>
          <a:lstStyle/>
          <a:p>
            <a:fld id="{F966D7FF-EADB-4E92-9989-4DE4533DAC48}" type="slidenum">
              <a:rPr lang="de-DE" smtClean="0"/>
              <a:pPr/>
              <a:t>14</a:t>
            </a:fld>
            <a:endParaRPr lang="de-DE" dirty="0"/>
          </a:p>
        </p:txBody>
      </p:sp>
      <p:sp>
        <p:nvSpPr>
          <p:cNvPr id="3" name="Inhaltsplatzhalter 2">
            <a:extLst>
              <a:ext uri="{FF2B5EF4-FFF2-40B4-BE49-F238E27FC236}">
                <a16:creationId xmlns:a16="http://schemas.microsoft.com/office/drawing/2014/main" id="{461B9CC1-907D-4CFD-BF35-194B594A3604}"/>
              </a:ext>
            </a:extLst>
          </p:cNvPr>
          <p:cNvSpPr>
            <a:spLocks noGrp="1"/>
          </p:cNvSpPr>
          <p:nvPr>
            <p:ph idx="11"/>
          </p:nvPr>
        </p:nvSpPr>
        <p:spPr/>
        <p:txBody>
          <a:bodyPr/>
          <a:lstStyle/>
          <a:p>
            <a:r>
              <a:rPr lang="de-DE" sz="1200" dirty="0">
                <a:ea typeface="Verdana"/>
                <a:cs typeface="Arial"/>
              </a:rPr>
              <a:t>Settlement Methoden</a:t>
            </a:r>
            <a:endParaRPr lang="de-DE" sz="1200" dirty="0"/>
          </a:p>
        </p:txBody>
      </p:sp>
      <p:sp>
        <p:nvSpPr>
          <p:cNvPr id="5" name="Inhaltsplatzhalter 4">
            <a:extLst>
              <a:ext uri="{FF2B5EF4-FFF2-40B4-BE49-F238E27FC236}">
                <a16:creationId xmlns:a16="http://schemas.microsoft.com/office/drawing/2014/main" id="{D7ECB486-B024-4376-8D8E-0A03E9BEB794}"/>
              </a:ext>
            </a:extLst>
          </p:cNvPr>
          <p:cNvSpPr>
            <a:spLocks noGrp="1"/>
          </p:cNvSpPr>
          <p:nvPr>
            <p:ph idx="12"/>
          </p:nvPr>
        </p:nvSpPr>
        <p:spPr/>
        <p:txBody>
          <a:bodyPr/>
          <a:lstStyle/>
          <a:p>
            <a:r>
              <a:rPr lang="de-DE" dirty="0"/>
              <a:t>In der Regel werden Termingeschäfte finanziell „</a:t>
            </a:r>
            <a:r>
              <a:rPr lang="de-DE" dirty="0" err="1"/>
              <a:t>gesettlet</a:t>
            </a:r>
            <a:r>
              <a:rPr lang="de-DE" dirty="0"/>
              <a:t>“ und es findet keine physische Lieferung der Waren statt</a:t>
            </a:r>
          </a:p>
        </p:txBody>
      </p:sp>
      <p:pic>
        <p:nvPicPr>
          <p:cNvPr id="7" name="Picture 2">
            <a:extLst>
              <a:ext uri="{FF2B5EF4-FFF2-40B4-BE49-F238E27FC236}">
                <a16:creationId xmlns:a16="http://schemas.microsoft.com/office/drawing/2014/main" id="{686BAD7E-C99A-433B-925B-39CE174A5FA1}"/>
              </a:ext>
            </a:extLst>
          </p:cNvPr>
          <p:cNvPicPr/>
          <p:nvPr/>
        </p:nvPicPr>
        <p:blipFill>
          <a:blip r:embed="rId3"/>
          <a:stretch/>
        </p:blipFill>
        <p:spPr>
          <a:xfrm>
            <a:off x="697320" y="3908880"/>
            <a:ext cx="3994920" cy="2412000"/>
          </a:xfrm>
          <a:prstGeom prst="rect">
            <a:avLst/>
          </a:prstGeom>
          <a:ln>
            <a:noFill/>
          </a:ln>
        </p:spPr>
      </p:pic>
      <p:pic>
        <p:nvPicPr>
          <p:cNvPr id="9" name="Grafik 8">
            <a:extLst>
              <a:ext uri="{FF2B5EF4-FFF2-40B4-BE49-F238E27FC236}">
                <a16:creationId xmlns:a16="http://schemas.microsoft.com/office/drawing/2014/main" id="{D042C140-E1FC-48F0-A3C5-07B3F1B27B79}"/>
              </a:ext>
            </a:extLst>
          </p:cNvPr>
          <p:cNvPicPr/>
          <p:nvPr/>
        </p:nvPicPr>
        <p:blipFill>
          <a:blip r:embed="rId4"/>
          <a:srcRect l="18970" r="23062" b="12552"/>
          <a:stretch/>
        </p:blipFill>
        <p:spPr>
          <a:xfrm>
            <a:off x="7056000" y="1339560"/>
            <a:ext cx="3610440" cy="3063600"/>
          </a:xfrm>
          <a:prstGeom prst="rect">
            <a:avLst/>
          </a:prstGeom>
          <a:ln>
            <a:noFill/>
          </a:ln>
          <a:effectLst>
            <a:outerShdw blurRad="190500" algn="tl" rotWithShape="0">
              <a:srgbClr val="000000">
                <a:alpha val="70000"/>
              </a:srgbClr>
            </a:outerShdw>
          </a:effectLst>
        </p:spPr>
      </p:pic>
      <p:sp>
        <p:nvSpPr>
          <p:cNvPr id="11" name="CustomShape 2">
            <a:extLst>
              <a:ext uri="{FF2B5EF4-FFF2-40B4-BE49-F238E27FC236}">
                <a16:creationId xmlns:a16="http://schemas.microsoft.com/office/drawing/2014/main" id="{1E4F52D2-35D9-4F18-A7A1-D1C17C52349B}"/>
              </a:ext>
            </a:extLst>
          </p:cNvPr>
          <p:cNvSpPr/>
          <p:nvPr/>
        </p:nvSpPr>
        <p:spPr>
          <a:xfrm>
            <a:off x="572040" y="1950120"/>
            <a:ext cx="4822200" cy="181442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000" b="1" strike="noStrike" spc="-1" dirty="0">
                <a:latin typeface="Arial" panose="020B0604020202020204" pitchFamily="34" charset="0"/>
                <a:cs typeface="Arial" panose="020B0604020202020204" pitchFamily="34" charset="0"/>
              </a:rPr>
              <a:t>Physische</a:t>
            </a:r>
            <a:r>
              <a:rPr lang="de-DE" b="1" strike="noStrike" spc="-1" dirty="0">
                <a:latin typeface="Arial" panose="020B0604020202020204" pitchFamily="34" charset="0"/>
                <a:cs typeface="Arial" panose="020B0604020202020204" pitchFamily="34" charset="0"/>
              </a:rPr>
              <a:t> </a:t>
            </a:r>
            <a:r>
              <a:rPr lang="de-DE" sz="2000" b="1" strike="noStrike" spc="-1" dirty="0">
                <a:latin typeface="Arial" panose="020B0604020202020204" pitchFamily="34" charset="0"/>
                <a:cs typeface="Arial" panose="020B0604020202020204" pitchFamily="34" charset="0"/>
              </a:rPr>
              <a:t>Lieferung</a:t>
            </a:r>
          </a:p>
          <a:p>
            <a:pPr>
              <a:lnSpc>
                <a:spcPct val="100000"/>
              </a:lnSpc>
            </a:pPr>
            <a:endParaRPr lang="de-DE" sz="2000" b="0" strike="noStrike" spc="-1" dirty="0">
              <a:latin typeface="Arial" panose="020B0604020202020204" pitchFamily="34" charset="0"/>
              <a:cs typeface="Arial" panose="020B0604020202020204" pitchFamily="34" charset="0"/>
            </a:endParaRPr>
          </a:p>
          <a:p>
            <a:pPr marL="457200">
              <a:lnSpc>
                <a:spcPct val="100000"/>
              </a:lnSpc>
            </a:pPr>
            <a:r>
              <a:rPr lang="de-DE" b="0" strike="noStrike" spc="-1" dirty="0">
                <a:latin typeface="Arial" panose="020B0604020202020204" pitchFamily="34" charset="0"/>
                <a:cs typeface="Arial" panose="020B0604020202020204" pitchFamily="34" charset="0"/>
              </a:rPr>
              <a:t>Tatsächliche Lieferung des gehandelten Rohstoffs an den Kontraktpartner, oft mit enormem Logistikaufwand verbunden</a:t>
            </a:r>
          </a:p>
          <a:p>
            <a:pPr>
              <a:lnSpc>
                <a:spcPct val="100000"/>
              </a:lnSpc>
            </a:pPr>
            <a:endParaRPr lang="de-DE" b="0" strike="noStrike" spc="-1" dirty="0">
              <a:latin typeface="Arial" panose="020B0604020202020204" pitchFamily="34" charset="0"/>
              <a:cs typeface="Arial" panose="020B0604020202020204" pitchFamily="34" charset="0"/>
            </a:endParaRPr>
          </a:p>
        </p:txBody>
      </p:sp>
      <p:sp>
        <p:nvSpPr>
          <p:cNvPr id="13" name="CustomShape 3">
            <a:extLst>
              <a:ext uri="{FF2B5EF4-FFF2-40B4-BE49-F238E27FC236}">
                <a16:creationId xmlns:a16="http://schemas.microsoft.com/office/drawing/2014/main" id="{D5A674BB-9825-484E-B9E2-DDF25B2B3530}"/>
              </a:ext>
            </a:extLst>
          </p:cNvPr>
          <p:cNvSpPr/>
          <p:nvPr/>
        </p:nvSpPr>
        <p:spPr>
          <a:xfrm>
            <a:off x="6527880" y="4475160"/>
            <a:ext cx="5626440" cy="126043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000" b="1" strike="noStrike" spc="-1" dirty="0">
                <a:latin typeface="Arial" panose="020B0604020202020204" pitchFamily="34" charset="0"/>
                <a:cs typeface="Arial" panose="020B0604020202020204" pitchFamily="34" charset="0"/>
              </a:rPr>
              <a:t>Finanzielles Settlement</a:t>
            </a:r>
          </a:p>
          <a:p>
            <a:pPr>
              <a:lnSpc>
                <a:spcPct val="100000"/>
              </a:lnSpc>
            </a:pPr>
            <a:endParaRPr lang="de-DE" sz="2000" b="0" strike="noStrike" spc="-1" dirty="0">
              <a:latin typeface="Arial" panose="020B0604020202020204" pitchFamily="34" charset="0"/>
              <a:cs typeface="Arial" panose="020B0604020202020204" pitchFamily="34" charset="0"/>
            </a:endParaRPr>
          </a:p>
          <a:p>
            <a:pPr marL="457200">
              <a:lnSpc>
                <a:spcPct val="100000"/>
              </a:lnSpc>
            </a:pPr>
            <a:r>
              <a:rPr lang="de-DE" b="0" strike="noStrike" spc="-1" dirty="0">
                <a:latin typeface="Arial" panose="020B0604020202020204" pitchFamily="34" charset="0"/>
                <a:cs typeface="Arial" panose="020B0604020202020204" pitchFamily="34" charset="0"/>
              </a:rPr>
              <a:t>Ausgleichen des Differenzbetrags gegenüber Kontraktpartner, rein monetäre Einigung</a:t>
            </a:r>
          </a:p>
        </p:txBody>
      </p:sp>
      <p:sp>
        <p:nvSpPr>
          <p:cNvPr id="15" name="Line 4">
            <a:extLst>
              <a:ext uri="{FF2B5EF4-FFF2-40B4-BE49-F238E27FC236}">
                <a16:creationId xmlns:a16="http://schemas.microsoft.com/office/drawing/2014/main" id="{B72CFDBC-0009-4FF3-A3BB-96BE7A9E8D9C}"/>
              </a:ext>
            </a:extLst>
          </p:cNvPr>
          <p:cNvSpPr/>
          <p:nvPr/>
        </p:nvSpPr>
        <p:spPr>
          <a:xfrm>
            <a:off x="6095880" y="1721160"/>
            <a:ext cx="360" cy="38199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Tree>
    <p:extLst>
      <p:ext uri="{BB962C8B-B14F-4D97-AF65-F5344CB8AC3E}">
        <p14:creationId xmlns:p14="http://schemas.microsoft.com/office/powerpoint/2010/main" val="6402379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CA6A024-8277-465D-8320-59CD4CE5DB5B}"/>
              </a:ext>
            </a:extLst>
          </p:cNvPr>
          <p:cNvSpPr>
            <a:spLocks noGrp="1"/>
          </p:cNvSpPr>
          <p:nvPr>
            <p:ph type="sldNum" sz="quarter" idx="10"/>
          </p:nvPr>
        </p:nvSpPr>
        <p:spPr/>
        <p:txBody>
          <a:bodyPr/>
          <a:lstStyle/>
          <a:p>
            <a:fld id="{F966D7FF-EADB-4E92-9989-4DE4533DAC48}" type="slidenum">
              <a:rPr lang="de-DE" smtClean="0"/>
              <a:pPr/>
              <a:t>15</a:t>
            </a:fld>
            <a:endParaRPr lang="de-DE" dirty="0"/>
          </a:p>
        </p:txBody>
      </p:sp>
      <p:sp>
        <p:nvSpPr>
          <p:cNvPr id="3" name="Inhaltsplatzhalter 2">
            <a:extLst>
              <a:ext uri="{FF2B5EF4-FFF2-40B4-BE49-F238E27FC236}">
                <a16:creationId xmlns:a16="http://schemas.microsoft.com/office/drawing/2014/main" id="{90D334E9-F0D6-4BFE-88F6-F2608ADFC23D}"/>
              </a:ext>
            </a:extLst>
          </p:cNvPr>
          <p:cNvSpPr>
            <a:spLocks noGrp="1"/>
          </p:cNvSpPr>
          <p:nvPr>
            <p:ph idx="11"/>
          </p:nvPr>
        </p:nvSpPr>
        <p:spPr/>
        <p:txBody>
          <a:bodyPr/>
          <a:lstStyle/>
          <a:p>
            <a:r>
              <a:rPr lang="de-DE" dirty="0"/>
              <a:t>Future Positionen</a:t>
            </a:r>
          </a:p>
        </p:txBody>
      </p:sp>
      <p:sp>
        <p:nvSpPr>
          <p:cNvPr id="5" name="Inhaltsplatzhalter 4">
            <a:extLst>
              <a:ext uri="{FF2B5EF4-FFF2-40B4-BE49-F238E27FC236}">
                <a16:creationId xmlns:a16="http://schemas.microsoft.com/office/drawing/2014/main" id="{7BB9DAAA-CA77-4C45-B20F-A70A69F9E052}"/>
              </a:ext>
            </a:extLst>
          </p:cNvPr>
          <p:cNvSpPr>
            <a:spLocks noGrp="1"/>
          </p:cNvSpPr>
          <p:nvPr>
            <p:ph idx="12"/>
          </p:nvPr>
        </p:nvSpPr>
        <p:spPr/>
        <p:txBody>
          <a:bodyPr/>
          <a:lstStyle/>
          <a:p>
            <a:r>
              <a:rPr lang="de-DE" dirty="0"/>
              <a:t>Wer einen Future kauft (Long), hat eine quasi unbegrenzte Gewinnmöglichkeit – wer einen Future verkauft (Short), hat eine quasi unbegrenzte Verlustmöglichkeit</a:t>
            </a:r>
          </a:p>
        </p:txBody>
      </p:sp>
      <p:grpSp>
        <p:nvGrpSpPr>
          <p:cNvPr id="58" name="Gruppieren 57">
            <a:extLst>
              <a:ext uri="{FF2B5EF4-FFF2-40B4-BE49-F238E27FC236}">
                <a16:creationId xmlns:a16="http://schemas.microsoft.com/office/drawing/2014/main" id="{A564CB2C-07B8-4977-B952-1667F63F9A0F}"/>
              </a:ext>
            </a:extLst>
          </p:cNvPr>
          <p:cNvGrpSpPr/>
          <p:nvPr/>
        </p:nvGrpSpPr>
        <p:grpSpPr>
          <a:xfrm>
            <a:off x="239040" y="1318282"/>
            <a:ext cx="11903760" cy="5016913"/>
            <a:chOff x="239040" y="1260407"/>
            <a:chExt cx="11903760" cy="5016913"/>
          </a:xfrm>
        </p:grpSpPr>
        <p:sp>
          <p:nvSpPr>
            <p:cNvPr id="7" name="Line 4">
              <a:extLst>
                <a:ext uri="{FF2B5EF4-FFF2-40B4-BE49-F238E27FC236}">
                  <a16:creationId xmlns:a16="http://schemas.microsoft.com/office/drawing/2014/main" id="{E3E83093-E4CF-4D87-9C71-6987BA80B9A2}"/>
                </a:ext>
              </a:extLst>
            </p:cNvPr>
            <p:cNvSpPr/>
            <p:nvPr/>
          </p:nvSpPr>
          <p:spPr>
            <a:xfrm flipH="1">
              <a:off x="1661040" y="2056320"/>
              <a:ext cx="3082320" cy="3860640"/>
            </a:xfrm>
            <a:prstGeom prst="line">
              <a:avLst/>
            </a:prstGeom>
            <a:ln w="28440">
              <a:solidFill>
                <a:schemeClr val="tx1"/>
              </a:solidFill>
              <a:round/>
            </a:ln>
          </p:spPr>
          <p:style>
            <a:lnRef idx="0">
              <a:scrgbClr r="0" g="0" b="0"/>
            </a:lnRef>
            <a:fillRef idx="0">
              <a:scrgbClr r="0" g="0" b="0"/>
            </a:fillRef>
            <a:effectRef idx="0">
              <a:scrgbClr r="0" g="0" b="0"/>
            </a:effectRef>
            <a:fontRef idx="minor"/>
          </p:style>
          <p:txBody>
            <a:bodyPr/>
            <a:lstStyle/>
            <a:p>
              <a:endParaRPr lang="de-DE"/>
            </a:p>
          </p:txBody>
        </p:sp>
        <p:sp>
          <p:nvSpPr>
            <p:cNvPr id="9" name="Line 5">
              <a:extLst>
                <a:ext uri="{FF2B5EF4-FFF2-40B4-BE49-F238E27FC236}">
                  <a16:creationId xmlns:a16="http://schemas.microsoft.com/office/drawing/2014/main" id="{91A89C16-E7DE-474B-8440-34D3A7946BB2}"/>
                </a:ext>
              </a:extLst>
            </p:cNvPr>
            <p:cNvSpPr/>
            <p:nvPr/>
          </p:nvSpPr>
          <p:spPr>
            <a:xfrm>
              <a:off x="1240200" y="3953880"/>
              <a:ext cx="3884040" cy="360"/>
            </a:xfrm>
            <a:prstGeom prst="line">
              <a:avLst/>
            </a:prstGeom>
            <a:ln w="19080">
              <a:solidFill>
                <a:schemeClr val="tx1"/>
              </a:solidFill>
              <a:round/>
              <a:headEnd type="stealth" w="lg" len="lg"/>
              <a:tailEnd type="stealth" w="lg" len="lg"/>
            </a:ln>
          </p:spPr>
          <p:style>
            <a:lnRef idx="0">
              <a:scrgbClr r="0" g="0" b="0"/>
            </a:lnRef>
            <a:fillRef idx="0">
              <a:scrgbClr r="0" g="0" b="0"/>
            </a:fillRef>
            <a:effectRef idx="0">
              <a:scrgbClr r="0" g="0" b="0"/>
            </a:effectRef>
            <a:fontRef idx="minor"/>
          </p:style>
          <p:txBody>
            <a:bodyPr/>
            <a:lstStyle/>
            <a:p>
              <a:endParaRPr lang="de-DE"/>
            </a:p>
          </p:txBody>
        </p:sp>
        <p:sp>
          <p:nvSpPr>
            <p:cNvPr id="11" name="Line 6">
              <a:extLst>
                <a:ext uri="{FF2B5EF4-FFF2-40B4-BE49-F238E27FC236}">
                  <a16:creationId xmlns:a16="http://schemas.microsoft.com/office/drawing/2014/main" id="{EB373C4A-347C-46AD-92D2-70273637729D}"/>
                </a:ext>
              </a:extLst>
            </p:cNvPr>
            <p:cNvSpPr/>
            <p:nvPr/>
          </p:nvSpPr>
          <p:spPr>
            <a:xfrm>
              <a:off x="1240200" y="1678320"/>
              <a:ext cx="360" cy="4538160"/>
            </a:xfrm>
            <a:prstGeom prst="line">
              <a:avLst/>
            </a:prstGeom>
            <a:ln w="19080">
              <a:solidFill>
                <a:schemeClr val="tx1"/>
              </a:solidFill>
              <a:round/>
              <a:headEnd type="stealth" w="lg" len="lg"/>
              <a:tailEnd type="stealth" w="lg" len="lg"/>
            </a:ln>
          </p:spPr>
          <p:style>
            <a:lnRef idx="0">
              <a:scrgbClr r="0" g="0" b="0"/>
            </a:lnRef>
            <a:fillRef idx="0">
              <a:scrgbClr r="0" g="0" b="0"/>
            </a:fillRef>
            <a:effectRef idx="0">
              <a:scrgbClr r="0" g="0" b="0"/>
            </a:effectRef>
            <a:fontRef idx="minor"/>
          </p:style>
          <p:txBody>
            <a:bodyPr/>
            <a:lstStyle/>
            <a:p>
              <a:endParaRPr lang="de-DE"/>
            </a:p>
          </p:txBody>
        </p:sp>
        <p:sp>
          <p:nvSpPr>
            <p:cNvPr id="13" name="CustomShape 7">
              <a:extLst>
                <a:ext uri="{FF2B5EF4-FFF2-40B4-BE49-F238E27FC236}">
                  <a16:creationId xmlns:a16="http://schemas.microsoft.com/office/drawing/2014/main" id="{778AB885-5A8B-43F0-9097-80CD884D37A4}"/>
                </a:ext>
              </a:extLst>
            </p:cNvPr>
            <p:cNvSpPr/>
            <p:nvPr/>
          </p:nvSpPr>
          <p:spPr>
            <a:xfrm>
              <a:off x="239040" y="1593720"/>
              <a:ext cx="113220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Gewinn</a:t>
              </a:r>
              <a:endParaRPr lang="de-DE" sz="1600" b="0" strike="noStrike" spc="-1">
                <a:latin typeface="Arial"/>
              </a:endParaRPr>
            </a:p>
          </p:txBody>
        </p:sp>
        <p:sp>
          <p:nvSpPr>
            <p:cNvPr id="15" name="CustomShape 8">
              <a:extLst>
                <a:ext uri="{FF2B5EF4-FFF2-40B4-BE49-F238E27FC236}">
                  <a16:creationId xmlns:a16="http://schemas.microsoft.com/office/drawing/2014/main" id="{1228F0E2-ACD0-456B-BD07-0EC68DEFE768}"/>
                </a:ext>
              </a:extLst>
            </p:cNvPr>
            <p:cNvSpPr/>
            <p:nvPr/>
          </p:nvSpPr>
          <p:spPr>
            <a:xfrm>
              <a:off x="315360" y="5943600"/>
              <a:ext cx="92448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Verlust</a:t>
              </a:r>
              <a:endParaRPr lang="de-DE" sz="1600" b="0" strike="noStrike" spc="-1">
                <a:latin typeface="Arial"/>
              </a:endParaRPr>
            </a:p>
          </p:txBody>
        </p:sp>
        <p:sp>
          <p:nvSpPr>
            <p:cNvPr id="17" name="CustomShape 9">
              <a:extLst>
                <a:ext uri="{FF2B5EF4-FFF2-40B4-BE49-F238E27FC236}">
                  <a16:creationId xmlns:a16="http://schemas.microsoft.com/office/drawing/2014/main" id="{9AE73292-4124-4DF0-AF6C-D21F99D2DCB9}"/>
                </a:ext>
              </a:extLst>
            </p:cNvPr>
            <p:cNvSpPr/>
            <p:nvPr/>
          </p:nvSpPr>
          <p:spPr>
            <a:xfrm>
              <a:off x="1837440" y="4127400"/>
              <a:ext cx="92448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Verlust</a:t>
              </a:r>
              <a:endParaRPr lang="de-DE" sz="1600" b="0" strike="noStrike" spc="-1">
                <a:latin typeface="Arial"/>
              </a:endParaRPr>
            </a:p>
          </p:txBody>
        </p:sp>
        <p:sp>
          <p:nvSpPr>
            <p:cNvPr id="19" name="CustomShape 10">
              <a:extLst>
                <a:ext uri="{FF2B5EF4-FFF2-40B4-BE49-F238E27FC236}">
                  <a16:creationId xmlns:a16="http://schemas.microsoft.com/office/drawing/2014/main" id="{6097ABB7-8162-4A83-B6DF-5CD4197C1AF8}"/>
                </a:ext>
              </a:extLst>
            </p:cNvPr>
            <p:cNvSpPr/>
            <p:nvPr/>
          </p:nvSpPr>
          <p:spPr>
            <a:xfrm>
              <a:off x="3579120" y="3371760"/>
              <a:ext cx="110664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Gewinn</a:t>
              </a:r>
              <a:endParaRPr lang="de-DE" sz="1600" b="0" strike="noStrike" spc="-1">
                <a:latin typeface="Arial"/>
              </a:endParaRPr>
            </a:p>
          </p:txBody>
        </p:sp>
        <p:sp>
          <p:nvSpPr>
            <p:cNvPr id="21" name="CustomShape 11">
              <a:extLst>
                <a:ext uri="{FF2B5EF4-FFF2-40B4-BE49-F238E27FC236}">
                  <a16:creationId xmlns:a16="http://schemas.microsoft.com/office/drawing/2014/main" id="{8A645CEF-9DA1-4A35-996E-457FB155220E}"/>
                </a:ext>
              </a:extLst>
            </p:cNvPr>
            <p:cNvSpPr/>
            <p:nvPr/>
          </p:nvSpPr>
          <p:spPr>
            <a:xfrm>
              <a:off x="681480" y="3773880"/>
              <a:ext cx="92448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0" strike="noStrike" spc="-1">
                  <a:solidFill>
                    <a:srgbClr val="000000"/>
                  </a:solidFill>
                  <a:latin typeface="Calibri"/>
                </a:rPr>
                <a:t>0</a:t>
              </a:r>
              <a:endParaRPr lang="de-DE" sz="1600" b="0" strike="noStrike" spc="-1">
                <a:latin typeface="Arial"/>
              </a:endParaRPr>
            </a:p>
          </p:txBody>
        </p:sp>
        <p:sp>
          <p:nvSpPr>
            <p:cNvPr id="23" name="Line 12">
              <a:extLst>
                <a:ext uri="{FF2B5EF4-FFF2-40B4-BE49-F238E27FC236}">
                  <a16:creationId xmlns:a16="http://schemas.microsoft.com/office/drawing/2014/main" id="{304ABE18-7399-4E95-82FB-27B8F1A471F2}"/>
                </a:ext>
              </a:extLst>
            </p:cNvPr>
            <p:cNvSpPr/>
            <p:nvPr/>
          </p:nvSpPr>
          <p:spPr>
            <a:xfrm flipV="1">
              <a:off x="3202200" y="3981240"/>
              <a:ext cx="360" cy="1397160"/>
            </a:xfrm>
            <a:prstGeom prst="line">
              <a:avLst/>
            </a:prstGeom>
            <a:ln w="19080" cap="rnd">
              <a:solidFill>
                <a:schemeClr val="tx1"/>
              </a:solidFill>
              <a:prstDash val="dash"/>
              <a:round/>
              <a:tailEnd type="stealth" w="med" len="lg"/>
            </a:ln>
          </p:spPr>
          <p:style>
            <a:lnRef idx="0">
              <a:scrgbClr r="0" g="0" b="0"/>
            </a:lnRef>
            <a:fillRef idx="0">
              <a:scrgbClr r="0" g="0" b="0"/>
            </a:fillRef>
            <a:effectRef idx="0">
              <a:scrgbClr r="0" g="0" b="0"/>
            </a:effectRef>
            <a:fontRef idx="minor"/>
          </p:style>
          <p:txBody>
            <a:bodyPr/>
            <a:lstStyle/>
            <a:p>
              <a:endParaRPr lang="de-DE"/>
            </a:p>
          </p:txBody>
        </p:sp>
        <p:sp>
          <p:nvSpPr>
            <p:cNvPr id="25" name="CustomShape 13">
              <a:extLst>
                <a:ext uri="{FF2B5EF4-FFF2-40B4-BE49-F238E27FC236}">
                  <a16:creationId xmlns:a16="http://schemas.microsoft.com/office/drawing/2014/main" id="{7AE8DA76-4081-4948-8363-4EF8A8ED9587}"/>
                </a:ext>
              </a:extLst>
            </p:cNvPr>
            <p:cNvSpPr/>
            <p:nvPr/>
          </p:nvSpPr>
          <p:spPr>
            <a:xfrm>
              <a:off x="2626920" y="5361480"/>
              <a:ext cx="151092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799"/>
                </a:spcBef>
              </a:pPr>
              <a:r>
                <a:rPr lang="de-DE" sz="1600" b="0" strike="noStrike" spc="-1">
                  <a:solidFill>
                    <a:srgbClr val="000000"/>
                  </a:solidFill>
                  <a:latin typeface="Calibri"/>
                </a:rPr>
                <a:t>Terminpreis</a:t>
              </a:r>
              <a:endParaRPr lang="de-DE" sz="1600" b="0" strike="noStrike" spc="-1">
                <a:latin typeface="Arial"/>
              </a:endParaRPr>
            </a:p>
          </p:txBody>
        </p:sp>
        <p:sp>
          <p:nvSpPr>
            <p:cNvPr id="27" name="CustomShape 14">
              <a:extLst>
                <a:ext uri="{FF2B5EF4-FFF2-40B4-BE49-F238E27FC236}">
                  <a16:creationId xmlns:a16="http://schemas.microsoft.com/office/drawing/2014/main" id="{041AD8A4-83F6-4A8F-95A4-2DEB6BDB05D6}"/>
                </a:ext>
              </a:extLst>
            </p:cNvPr>
            <p:cNvSpPr/>
            <p:nvPr/>
          </p:nvSpPr>
          <p:spPr>
            <a:xfrm>
              <a:off x="5126400" y="3613320"/>
              <a:ext cx="1432800" cy="5770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799"/>
                </a:spcBef>
              </a:pPr>
              <a:r>
                <a:rPr lang="de-DE" sz="1600" b="0" strike="noStrike" spc="-1">
                  <a:solidFill>
                    <a:srgbClr val="000000"/>
                  </a:solidFill>
                  <a:latin typeface="Calibri"/>
                </a:rPr>
                <a:t>Preis des Basiswertes</a:t>
              </a:r>
              <a:endParaRPr lang="de-DE" sz="1600" b="0" strike="noStrike" spc="-1">
                <a:latin typeface="Arial"/>
              </a:endParaRPr>
            </a:p>
          </p:txBody>
        </p:sp>
        <p:sp>
          <p:nvSpPr>
            <p:cNvPr id="29" name="Line 17">
              <a:extLst>
                <a:ext uri="{FF2B5EF4-FFF2-40B4-BE49-F238E27FC236}">
                  <a16:creationId xmlns:a16="http://schemas.microsoft.com/office/drawing/2014/main" id="{C693B580-D4FB-4550-B1B0-456D7465DA4D}"/>
                </a:ext>
              </a:extLst>
            </p:cNvPr>
            <p:cNvSpPr/>
            <p:nvPr/>
          </p:nvSpPr>
          <p:spPr>
            <a:xfrm>
              <a:off x="7320960" y="2060640"/>
              <a:ext cx="2691000" cy="3875040"/>
            </a:xfrm>
            <a:prstGeom prst="line">
              <a:avLst/>
            </a:prstGeom>
            <a:ln w="28440">
              <a:solidFill>
                <a:schemeClr val="tx1"/>
              </a:solidFill>
              <a:round/>
            </a:ln>
          </p:spPr>
          <p:style>
            <a:lnRef idx="0">
              <a:scrgbClr r="0" g="0" b="0"/>
            </a:lnRef>
            <a:fillRef idx="0">
              <a:scrgbClr r="0" g="0" b="0"/>
            </a:fillRef>
            <a:effectRef idx="0">
              <a:scrgbClr r="0" g="0" b="0"/>
            </a:effectRef>
            <a:fontRef idx="minor"/>
          </p:style>
          <p:txBody>
            <a:bodyPr/>
            <a:lstStyle/>
            <a:p>
              <a:endParaRPr lang="de-DE"/>
            </a:p>
          </p:txBody>
        </p:sp>
        <p:sp>
          <p:nvSpPr>
            <p:cNvPr id="31" name="Line 18">
              <a:extLst>
                <a:ext uri="{FF2B5EF4-FFF2-40B4-BE49-F238E27FC236}">
                  <a16:creationId xmlns:a16="http://schemas.microsoft.com/office/drawing/2014/main" id="{5CBFFE97-BA0E-421D-888F-D09F9F33D324}"/>
                </a:ext>
              </a:extLst>
            </p:cNvPr>
            <p:cNvSpPr/>
            <p:nvPr/>
          </p:nvSpPr>
          <p:spPr>
            <a:xfrm>
              <a:off x="6963480" y="3966480"/>
              <a:ext cx="3369960" cy="360"/>
            </a:xfrm>
            <a:prstGeom prst="line">
              <a:avLst/>
            </a:prstGeom>
            <a:ln w="19080">
              <a:solidFill>
                <a:schemeClr val="tx1"/>
              </a:solidFill>
              <a:round/>
              <a:headEnd type="stealth" w="lg" len="lg"/>
              <a:tailEnd type="stealth" w="lg" len="lg"/>
            </a:ln>
          </p:spPr>
          <p:style>
            <a:lnRef idx="0">
              <a:scrgbClr r="0" g="0" b="0"/>
            </a:lnRef>
            <a:fillRef idx="0">
              <a:scrgbClr r="0" g="0" b="0"/>
            </a:fillRef>
            <a:effectRef idx="0">
              <a:scrgbClr r="0" g="0" b="0"/>
            </a:effectRef>
            <a:fontRef idx="minor"/>
          </p:style>
          <p:txBody>
            <a:bodyPr/>
            <a:lstStyle/>
            <a:p>
              <a:endParaRPr lang="de-DE"/>
            </a:p>
          </p:txBody>
        </p:sp>
        <p:sp>
          <p:nvSpPr>
            <p:cNvPr id="33" name="Line 19">
              <a:extLst>
                <a:ext uri="{FF2B5EF4-FFF2-40B4-BE49-F238E27FC236}">
                  <a16:creationId xmlns:a16="http://schemas.microsoft.com/office/drawing/2014/main" id="{3D9FD2A2-8829-42B0-A970-70DA38006DD4}"/>
                </a:ext>
              </a:extLst>
            </p:cNvPr>
            <p:cNvSpPr/>
            <p:nvPr/>
          </p:nvSpPr>
          <p:spPr>
            <a:xfrm>
              <a:off x="6963480" y="1690920"/>
              <a:ext cx="360" cy="4538160"/>
            </a:xfrm>
            <a:prstGeom prst="line">
              <a:avLst/>
            </a:prstGeom>
            <a:ln w="19080">
              <a:solidFill>
                <a:schemeClr val="tx1"/>
              </a:solidFill>
              <a:round/>
              <a:headEnd type="stealth" w="lg" len="lg"/>
              <a:tailEnd type="stealth" w="lg" len="lg"/>
            </a:ln>
          </p:spPr>
          <p:style>
            <a:lnRef idx="0">
              <a:scrgbClr r="0" g="0" b="0"/>
            </a:lnRef>
            <a:fillRef idx="0">
              <a:scrgbClr r="0" g="0" b="0"/>
            </a:fillRef>
            <a:effectRef idx="0">
              <a:scrgbClr r="0" g="0" b="0"/>
            </a:effectRef>
            <a:fontRef idx="minor"/>
          </p:style>
          <p:txBody>
            <a:bodyPr/>
            <a:lstStyle/>
            <a:p>
              <a:endParaRPr lang="de-DE"/>
            </a:p>
          </p:txBody>
        </p:sp>
        <p:sp>
          <p:nvSpPr>
            <p:cNvPr id="35" name="CustomShape 20">
              <a:extLst>
                <a:ext uri="{FF2B5EF4-FFF2-40B4-BE49-F238E27FC236}">
                  <a16:creationId xmlns:a16="http://schemas.microsoft.com/office/drawing/2014/main" id="{115A0B9D-45B6-40C7-A5EE-D0DA74557536}"/>
                </a:ext>
              </a:extLst>
            </p:cNvPr>
            <p:cNvSpPr/>
            <p:nvPr/>
          </p:nvSpPr>
          <p:spPr>
            <a:xfrm>
              <a:off x="6000840" y="1610640"/>
              <a:ext cx="107280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Gewinn</a:t>
              </a:r>
              <a:endParaRPr lang="de-DE" sz="1600" b="0" strike="noStrike" spc="-1">
                <a:latin typeface="Arial"/>
              </a:endParaRPr>
            </a:p>
          </p:txBody>
        </p:sp>
        <p:sp>
          <p:nvSpPr>
            <p:cNvPr id="37" name="CustomShape 21">
              <a:extLst>
                <a:ext uri="{FF2B5EF4-FFF2-40B4-BE49-F238E27FC236}">
                  <a16:creationId xmlns:a16="http://schemas.microsoft.com/office/drawing/2014/main" id="{81BBA79E-3D54-4343-802B-294FB9324622}"/>
                </a:ext>
              </a:extLst>
            </p:cNvPr>
            <p:cNvSpPr/>
            <p:nvPr/>
          </p:nvSpPr>
          <p:spPr>
            <a:xfrm>
              <a:off x="5903280" y="5939280"/>
              <a:ext cx="132048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Verlust</a:t>
              </a:r>
              <a:endParaRPr lang="de-DE" sz="1600" b="0" strike="noStrike" spc="-1">
                <a:latin typeface="Arial"/>
              </a:endParaRPr>
            </a:p>
          </p:txBody>
        </p:sp>
        <p:sp>
          <p:nvSpPr>
            <p:cNvPr id="39" name="CustomShape 22">
              <a:extLst>
                <a:ext uri="{FF2B5EF4-FFF2-40B4-BE49-F238E27FC236}">
                  <a16:creationId xmlns:a16="http://schemas.microsoft.com/office/drawing/2014/main" id="{1CEA253F-9545-40F9-A62E-02C75E4BB151}"/>
                </a:ext>
              </a:extLst>
            </p:cNvPr>
            <p:cNvSpPr/>
            <p:nvPr/>
          </p:nvSpPr>
          <p:spPr>
            <a:xfrm flipH="1">
              <a:off x="9003600" y="4125240"/>
              <a:ext cx="101124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Verlust</a:t>
              </a:r>
              <a:endParaRPr lang="de-DE" sz="1600" b="0" strike="noStrike" spc="-1">
                <a:latin typeface="Arial"/>
              </a:endParaRPr>
            </a:p>
          </p:txBody>
        </p:sp>
        <p:sp>
          <p:nvSpPr>
            <p:cNvPr id="41" name="CustomShape 23">
              <a:extLst>
                <a:ext uri="{FF2B5EF4-FFF2-40B4-BE49-F238E27FC236}">
                  <a16:creationId xmlns:a16="http://schemas.microsoft.com/office/drawing/2014/main" id="{F3F2A15B-A84C-4B4F-AF2F-13556BD4D856}"/>
                </a:ext>
              </a:extLst>
            </p:cNvPr>
            <p:cNvSpPr/>
            <p:nvPr/>
          </p:nvSpPr>
          <p:spPr>
            <a:xfrm flipH="1">
              <a:off x="7223400" y="3477600"/>
              <a:ext cx="127404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1" strike="noStrike" spc="-1">
                  <a:solidFill>
                    <a:srgbClr val="000000"/>
                  </a:solidFill>
                  <a:latin typeface="Calibri"/>
                </a:rPr>
                <a:t>Gewinn</a:t>
              </a:r>
              <a:endParaRPr lang="de-DE" sz="1600" b="0" strike="noStrike" spc="-1">
                <a:latin typeface="Arial"/>
              </a:endParaRPr>
            </a:p>
          </p:txBody>
        </p:sp>
        <p:sp>
          <p:nvSpPr>
            <p:cNvPr id="43" name="CustomShape 24">
              <a:extLst>
                <a:ext uri="{FF2B5EF4-FFF2-40B4-BE49-F238E27FC236}">
                  <a16:creationId xmlns:a16="http://schemas.microsoft.com/office/drawing/2014/main" id="{AA53BE1E-EDFC-46C0-A5D3-41A37438DBAB}"/>
                </a:ext>
              </a:extLst>
            </p:cNvPr>
            <p:cNvSpPr/>
            <p:nvPr/>
          </p:nvSpPr>
          <p:spPr>
            <a:xfrm>
              <a:off x="6479280" y="3784680"/>
              <a:ext cx="80388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ts val="799"/>
                </a:spcBef>
              </a:pPr>
              <a:r>
                <a:rPr lang="de-DE" sz="1600" b="0" strike="noStrike" spc="-1">
                  <a:solidFill>
                    <a:srgbClr val="000000"/>
                  </a:solidFill>
                  <a:latin typeface="Calibri"/>
                </a:rPr>
                <a:t>0</a:t>
              </a:r>
              <a:endParaRPr lang="de-DE" sz="1600" b="0" strike="noStrike" spc="-1">
                <a:latin typeface="Arial"/>
              </a:endParaRPr>
            </a:p>
          </p:txBody>
        </p:sp>
        <p:sp>
          <p:nvSpPr>
            <p:cNvPr id="45" name="Line 25">
              <a:extLst>
                <a:ext uri="{FF2B5EF4-FFF2-40B4-BE49-F238E27FC236}">
                  <a16:creationId xmlns:a16="http://schemas.microsoft.com/office/drawing/2014/main" id="{0CC08D63-A52E-4D8B-B2B7-2EE0D53566CC}"/>
                </a:ext>
              </a:extLst>
            </p:cNvPr>
            <p:cNvSpPr/>
            <p:nvPr/>
          </p:nvSpPr>
          <p:spPr>
            <a:xfrm flipV="1">
              <a:off x="8667720" y="3993840"/>
              <a:ext cx="360" cy="1397160"/>
            </a:xfrm>
            <a:prstGeom prst="line">
              <a:avLst/>
            </a:prstGeom>
            <a:ln w="19080" cap="rnd">
              <a:solidFill>
                <a:schemeClr val="tx1"/>
              </a:solidFill>
              <a:prstDash val="dash"/>
              <a:round/>
              <a:tailEnd type="stealth" w="med" len="lg"/>
            </a:ln>
          </p:spPr>
          <p:style>
            <a:lnRef idx="0">
              <a:scrgbClr r="0" g="0" b="0"/>
            </a:lnRef>
            <a:fillRef idx="0">
              <a:scrgbClr r="0" g="0" b="0"/>
            </a:fillRef>
            <a:effectRef idx="0">
              <a:scrgbClr r="0" g="0" b="0"/>
            </a:effectRef>
            <a:fontRef idx="minor"/>
          </p:style>
          <p:txBody>
            <a:bodyPr/>
            <a:lstStyle/>
            <a:p>
              <a:endParaRPr lang="de-DE"/>
            </a:p>
          </p:txBody>
        </p:sp>
        <p:sp>
          <p:nvSpPr>
            <p:cNvPr id="47" name="CustomShape 26">
              <a:extLst>
                <a:ext uri="{FF2B5EF4-FFF2-40B4-BE49-F238E27FC236}">
                  <a16:creationId xmlns:a16="http://schemas.microsoft.com/office/drawing/2014/main" id="{9700B265-7A3C-4C31-83D2-9D1FC099542C}"/>
                </a:ext>
              </a:extLst>
            </p:cNvPr>
            <p:cNvSpPr/>
            <p:nvPr/>
          </p:nvSpPr>
          <p:spPr>
            <a:xfrm>
              <a:off x="7971480" y="5391000"/>
              <a:ext cx="1623240" cy="333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799"/>
                </a:spcBef>
              </a:pPr>
              <a:r>
                <a:rPr lang="de-DE" sz="1600" b="0" strike="noStrike" spc="-1">
                  <a:solidFill>
                    <a:srgbClr val="000000"/>
                  </a:solidFill>
                  <a:latin typeface="Calibri"/>
                </a:rPr>
                <a:t>Terminpreis</a:t>
              </a:r>
              <a:endParaRPr lang="de-DE" sz="1600" b="0" strike="noStrike" spc="-1">
                <a:latin typeface="Arial"/>
              </a:endParaRPr>
            </a:p>
          </p:txBody>
        </p:sp>
        <p:sp>
          <p:nvSpPr>
            <p:cNvPr id="49" name="CustomShape 27">
              <a:extLst>
                <a:ext uri="{FF2B5EF4-FFF2-40B4-BE49-F238E27FC236}">
                  <a16:creationId xmlns:a16="http://schemas.microsoft.com/office/drawing/2014/main" id="{DBB12D2C-045B-41A7-9CD6-91536A7F00E1}"/>
                </a:ext>
              </a:extLst>
            </p:cNvPr>
            <p:cNvSpPr/>
            <p:nvPr/>
          </p:nvSpPr>
          <p:spPr>
            <a:xfrm>
              <a:off x="10333440" y="3625920"/>
              <a:ext cx="1642320" cy="5770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799"/>
                </a:spcBef>
              </a:pPr>
              <a:r>
                <a:rPr lang="de-DE" sz="1600" b="0" strike="noStrike" spc="-1">
                  <a:solidFill>
                    <a:srgbClr val="000000"/>
                  </a:solidFill>
                  <a:latin typeface="Calibri"/>
                </a:rPr>
                <a:t>Preis des Basiswertes</a:t>
              </a:r>
              <a:endParaRPr lang="de-DE" sz="1600" b="0" strike="noStrike" spc="-1">
                <a:latin typeface="Arial"/>
              </a:endParaRPr>
            </a:p>
          </p:txBody>
        </p:sp>
        <p:sp>
          <p:nvSpPr>
            <p:cNvPr id="51" name="Line 28">
              <a:extLst>
                <a:ext uri="{FF2B5EF4-FFF2-40B4-BE49-F238E27FC236}">
                  <a16:creationId xmlns:a16="http://schemas.microsoft.com/office/drawing/2014/main" id="{7CA8BCD7-2C40-4ECE-915C-A0A3E053F619}"/>
                </a:ext>
              </a:extLst>
            </p:cNvPr>
            <p:cNvSpPr/>
            <p:nvPr/>
          </p:nvSpPr>
          <p:spPr>
            <a:xfrm flipV="1">
              <a:off x="1695238" y="1260407"/>
              <a:ext cx="0" cy="873442"/>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53" name="CustomShape 29">
              <a:extLst>
                <a:ext uri="{FF2B5EF4-FFF2-40B4-BE49-F238E27FC236}">
                  <a16:creationId xmlns:a16="http://schemas.microsoft.com/office/drawing/2014/main" id="{CEDF382C-0871-41C4-9F36-7D547AFC97DB}"/>
                </a:ext>
              </a:extLst>
            </p:cNvPr>
            <p:cNvSpPr/>
            <p:nvPr/>
          </p:nvSpPr>
          <p:spPr>
            <a:xfrm>
              <a:off x="1678680" y="1477935"/>
              <a:ext cx="355356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dirty="0">
                  <a:solidFill>
                    <a:srgbClr val="000000"/>
                  </a:solidFill>
                  <a:latin typeface="Calibri"/>
                </a:rPr>
                <a:t>Long Future</a:t>
              </a:r>
              <a:endParaRPr lang="de-DE" sz="3200" b="0" strike="noStrike" spc="-1" dirty="0">
                <a:latin typeface="Arial"/>
              </a:endParaRPr>
            </a:p>
          </p:txBody>
        </p:sp>
        <p:sp>
          <p:nvSpPr>
            <p:cNvPr id="55" name="Line 30">
              <a:extLst>
                <a:ext uri="{FF2B5EF4-FFF2-40B4-BE49-F238E27FC236}">
                  <a16:creationId xmlns:a16="http://schemas.microsoft.com/office/drawing/2014/main" id="{8AF69B19-3661-4B5F-91C9-193EE5130891}"/>
                </a:ext>
              </a:extLst>
            </p:cNvPr>
            <p:cNvSpPr/>
            <p:nvPr/>
          </p:nvSpPr>
          <p:spPr>
            <a:xfrm flipH="1" flipV="1">
              <a:off x="8603640" y="1344897"/>
              <a:ext cx="360" cy="812107"/>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57" name="CustomShape 31">
              <a:extLst>
                <a:ext uri="{FF2B5EF4-FFF2-40B4-BE49-F238E27FC236}">
                  <a16:creationId xmlns:a16="http://schemas.microsoft.com/office/drawing/2014/main" id="{91A8EBF0-BFB0-4FF3-A501-143DF705138A}"/>
                </a:ext>
              </a:extLst>
            </p:cNvPr>
            <p:cNvSpPr/>
            <p:nvPr/>
          </p:nvSpPr>
          <p:spPr>
            <a:xfrm>
              <a:off x="8591400" y="1473365"/>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dirty="0">
                  <a:solidFill>
                    <a:srgbClr val="000000"/>
                  </a:solidFill>
                  <a:latin typeface="Calibri"/>
                </a:rPr>
                <a:t>Short Future</a:t>
              </a:r>
              <a:endParaRPr lang="de-DE" sz="3200" b="0" strike="noStrike" spc="-1" dirty="0">
                <a:latin typeface="Arial"/>
              </a:endParaRPr>
            </a:p>
          </p:txBody>
        </p:sp>
      </p:grpSp>
    </p:spTree>
    <p:extLst>
      <p:ext uri="{BB962C8B-B14F-4D97-AF65-F5344CB8AC3E}">
        <p14:creationId xmlns:p14="http://schemas.microsoft.com/office/powerpoint/2010/main" val="4211154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B441AF2-6DCF-4635-80C5-5C5DC54DF314}"/>
              </a:ext>
            </a:extLst>
          </p:cNvPr>
          <p:cNvSpPr>
            <a:spLocks noGrp="1"/>
          </p:cNvSpPr>
          <p:nvPr>
            <p:ph type="sldNum" sz="quarter" idx="10"/>
          </p:nvPr>
        </p:nvSpPr>
        <p:spPr/>
        <p:txBody>
          <a:bodyPr/>
          <a:lstStyle/>
          <a:p>
            <a:fld id="{F966D7FF-EADB-4E92-9989-4DE4533DAC48}" type="slidenum">
              <a:rPr lang="de-DE" smtClean="0"/>
              <a:pPr/>
              <a:t>16</a:t>
            </a:fld>
            <a:endParaRPr lang="de-DE" dirty="0"/>
          </a:p>
        </p:txBody>
      </p:sp>
      <p:sp>
        <p:nvSpPr>
          <p:cNvPr id="3" name="Inhaltsplatzhalter 2">
            <a:extLst>
              <a:ext uri="{FF2B5EF4-FFF2-40B4-BE49-F238E27FC236}">
                <a16:creationId xmlns:a16="http://schemas.microsoft.com/office/drawing/2014/main" id="{97282D3E-B5A0-4F6F-B4C6-921C3BEFFB57}"/>
              </a:ext>
            </a:extLst>
          </p:cNvPr>
          <p:cNvSpPr>
            <a:spLocks noGrp="1"/>
          </p:cNvSpPr>
          <p:nvPr>
            <p:ph idx="11"/>
          </p:nvPr>
        </p:nvSpPr>
        <p:spPr/>
        <p:txBody>
          <a:bodyPr/>
          <a:lstStyle/>
          <a:p>
            <a:r>
              <a:rPr lang="de-DE" dirty="0"/>
              <a:t>Wann ergibt ein Future Sinn?</a:t>
            </a:r>
          </a:p>
        </p:txBody>
      </p:sp>
      <p:sp>
        <p:nvSpPr>
          <p:cNvPr id="5" name="Inhaltsplatzhalter 4">
            <a:extLst>
              <a:ext uri="{FF2B5EF4-FFF2-40B4-BE49-F238E27FC236}">
                <a16:creationId xmlns:a16="http://schemas.microsoft.com/office/drawing/2014/main" id="{B05B2B83-8D95-4B39-B12D-9B0653CEA31C}"/>
              </a:ext>
            </a:extLst>
          </p:cNvPr>
          <p:cNvSpPr>
            <a:spLocks noGrp="1"/>
          </p:cNvSpPr>
          <p:nvPr>
            <p:ph idx="12"/>
          </p:nvPr>
        </p:nvSpPr>
        <p:spPr>
          <a:xfrm>
            <a:off x="334435" y="247170"/>
            <a:ext cx="10308165" cy="555162"/>
          </a:xfrm>
        </p:spPr>
        <p:txBody>
          <a:bodyPr/>
          <a:lstStyle/>
          <a:p>
            <a:r>
              <a:rPr lang="de-DE" dirty="0"/>
              <a:t>Mit einem Future kann der Preis in der Zukunft gesichert und eine Position abgesichert werden, die einer negativen oder positiven Entwicklung des Preises ausgesetzt ist</a:t>
            </a:r>
          </a:p>
        </p:txBody>
      </p:sp>
      <p:grpSp>
        <p:nvGrpSpPr>
          <p:cNvPr id="14" name="Gruppieren 13">
            <a:extLst>
              <a:ext uri="{FF2B5EF4-FFF2-40B4-BE49-F238E27FC236}">
                <a16:creationId xmlns:a16="http://schemas.microsoft.com/office/drawing/2014/main" id="{9030790F-04EA-48DE-8B1B-EA39FE47C523}"/>
              </a:ext>
            </a:extLst>
          </p:cNvPr>
          <p:cNvGrpSpPr/>
          <p:nvPr/>
        </p:nvGrpSpPr>
        <p:grpSpPr>
          <a:xfrm>
            <a:off x="334963" y="1574208"/>
            <a:ext cx="11531880" cy="4663080"/>
            <a:chOff x="334963" y="1574208"/>
            <a:chExt cx="11531880" cy="4663080"/>
          </a:xfrm>
        </p:grpSpPr>
        <p:pic>
          <p:nvPicPr>
            <p:cNvPr id="7" name="Grafik 6">
              <a:extLst>
                <a:ext uri="{FF2B5EF4-FFF2-40B4-BE49-F238E27FC236}">
                  <a16:creationId xmlns:a16="http://schemas.microsoft.com/office/drawing/2014/main" id="{1D1E2C1A-2E62-4373-B53E-594277C95C09}"/>
                </a:ext>
              </a:extLst>
            </p:cNvPr>
            <p:cNvPicPr/>
            <p:nvPr/>
          </p:nvPicPr>
          <p:blipFill>
            <a:blip r:embed="rId3">
              <a:extLst>
                <a:ext uri="{BEBA8EAE-BF5A-486C-A8C5-ECC9F3942E4B}">
                  <a14:imgProps xmlns:a14="http://schemas.microsoft.com/office/drawing/2010/main">
                    <a14:imgLayer>
                      <a14:imgEffect>
                        <a14:artisticPaintStrokes/>
                      </a14:imgEffect>
                    </a14:imgLayer>
                  </a14:imgProps>
                </a:ext>
              </a:extLst>
            </a:blip>
            <a:stretch/>
          </p:blipFill>
          <p:spPr>
            <a:xfrm>
              <a:off x="334963" y="3307608"/>
              <a:ext cx="4405680" cy="2929680"/>
            </a:xfrm>
            <a:prstGeom prst="rect">
              <a:avLst/>
            </a:prstGeom>
            <a:ln>
              <a:noFill/>
            </a:ln>
          </p:spPr>
        </p:pic>
        <p:sp>
          <p:nvSpPr>
            <p:cNvPr id="9" name="CustomShape 2">
              <a:extLst>
                <a:ext uri="{FF2B5EF4-FFF2-40B4-BE49-F238E27FC236}">
                  <a16:creationId xmlns:a16="http://schemas.microsoft.com/office/drawing/2014/main" id="{B5200D65-528F-49B6-8D7C-80ADFD186AB4}"/>
                </a:ext>
              </a:extLst>
            </p:cNvPr>
            <p:cNvSpPr/>
            <p:nvPr/>
          </p:nvSpPr>
          <p:spPr>
            <a:xfrm>
              <a:off x="4174723" y="1574208"/>
              <a:ext cx="1972080" cy="1878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1740" b="1" strike="noStrike" spc="-1">
                  <a:solidFill>
                    <a:srgbClr val="000000"/>
                  </a:solidFill>
                  <a:latin typeface="Calibri"/>
                </a:rPr>
                <a:t>?</a:t>
              </a:r>
              <a:endParaRPr lang="de-DE" sz="11740" b="0" strike="noStrike" spc="-1">
                <a:latin typeface="Arial"/>
              </a:endParaRPr>
            </a:p>
          </p:txBody>
        </p:sp>
        <p:sp>
          <p:nvSpPr>
            <p:cNvPr id="11" name="CustomShape 3">
              <a:extLst>
                <a:ext uri="{FF2B5EF4-FFF2-40B4-BE49-F238E27FC236}">
                  <a16:creationId xmlns:a16="http://schemas.microsoft.com/office/drawing/2014/main" id="{957C7E58-F1C5-42AB-9BFB-571BE440E7C4}"/>
                </a:ext>
              </a:extLst>
            </p:cNvPr>
            <p:cNvSpPr/>
            <p:nvPr/>
          </p:nvSpPr>
          <p:spPr>
            <a:xfrm rot="798000">
              <a:off x="1802683" y="1802808"/>
              <a:ext cx="2111760" cy="1055880"/>
            </a:xfrm>
            <a:prstGeom prst="flowChartPunchedTape">
              <a:avLst/>
            </a:prstGeom>
            <a:solidFill>
              <a:srgbClr val="193052"/>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2400" b="0" strike="noStrike" spc="-1">
                  <a:solidFill>
                    <a:srgbClr val="FFFFFF"/>
                  </a:solidFill>
                  <a:latin typeface="Calibri"/>
                </a:rPr>
                <a:t>Future</a:t>
              </a:r>
              <a:endParaRPr lang="de-DE" sz="2400" b="0" strike="noStrike" spc="-1">
                <a:latin typeface="Arial"/>
              </a:endParaRPr>
            </a:p>
          </p:txBody>
        </p:sp>
        <p:sp>
          <p:nvSpPr>
            <p:cNvPr id="13" name="CustomShape 4">
              <a:extLst>
                <a:ext uri="{FF2B5EF4-FFF2-40B4-BE49-F238E27FC236}">
                  <a16:creationId xmlns:a16="http://schemas.microsoft.com/office/drawing/2014/main" id="{04CCEE3C-743F-41A3-BCE4-43AB62D0A9DC}"/>
                </a:ext>
              </a:extLst>
            </p:cNvPr>
            <p:cNvSpPr/>
            <p:nvPr/>
          </p:nvSpPr>
          <p:spPr>
            <a:xfrm>
              <a:off x="5294683" y="2800728"/>
              <a:ext cx="6572160" cy="140508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0" strike="noStrike" spc="-1" dirty="0">
                  <a:latin typeface="Calibri"/>
                </a:rPr>
                <a:t>Für den Landwirt (Long Position):</a:t>
              </a:r>
              <a:endParaRPr lang="de-DE" sz="3200" b="0" strike="noStrike" spc="-1" dirty="0">
                <a:latin typeface="Arial"/>
              </a:endParaRPr>
            </a:p>
            <a:p>
              <a:pPr marL="990720" lvl="1" indent="-380520">
                <a:lnSpc>
                  <a:spcPct val="100000"/>
                </a:lnSpc>
                <a:buClr>
                  <a:srgbClr val="808080"/>
                </a:buClr>
                <a:buFont typeface="StarSymbol"/>
                <a:buChar char="-"/>
              </a:pPr>
              <a:r>
                <a:rPr lang="de-DE" sz="2670" b="0" strike="noStrike" spc="-1" dirty="0">
                  <a:latin typeface="Calibri"/>
                </a:rPr>
                <a:t>Bei erwartetem Preisverfall</a:t>
              </a:r>
              <a:endParaRPr lang="de-DE" sz="2670" b="0" strike="noStrike" spc="-1" dirty="0">
                <a:latin typeface="Arial"/>
              </a:endParaRPr>
            </a:p>
            <a:p>
              <a:pPr marL="990720" lvl="1" indent="-380520">
                <a:lnSpc>
                  <a:spcPct val="100000"/>
                </a:lnSpc>
                <a:buClr>
                  <a:srgbClr val="808080"/>
                </a:buClr>
                <a:buFont typeface="StarSymbol"/>
                <a:buChar char="-"/>
              </a:pPr>
              <a:r>
                <a:rPr lang="de-DE" sz="2670" b="0" strike="noStrike" spc="-1" dirty="0">
                  <a:latin typeface="Calibri"/>
                </a:rPr>
                <a:t>Zur Absicherung</a:t>
              </a:r>
              <a:endParaRPr lang="de-DE" sz="2670" b="0" strike="noStrike" spc="-1" dirty="0">
                <a:latin typeface="Arial"/>
              </a:endParaRPr>
            </a:p>
          </p:txBody>
        </p:sp>
      </p:grpSp>
    </p:spTree>
    <p:extLst>
      <p:ext uri="{BB962C8B-B14F-4D97-AF65-F5344CB8AC3E}">
        <p14:creationId xmlns:p14="http://schemas.microsoft.com/office/powerpoint/2010/main" val="633042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EB83059-F949-42FF-9EA4-1ABBDE5BA97D}"/>
              </a:ext>
            </a:extLst>
          </p:cNvPr>
          <p:cNvSpPr>
            <a:spLocks noGrp="1"/>
          </p:cNvSpPr>
          <p:nvPr>
            <p:ph type="sldNum" sz="quarter" idx="10"/>
          </p:nvPr>
        </p:nvSpPr>
        <p:spPr/>
        <p:txBody>
          <a:bodyPr/>
          <a:lstStyle/>
          <a:p>
            <a:fld id="{F966D7FF-EADB-4E92-9989-4DE4533DAC48}" type="slidenum">
              <a:rPr lang="de-DE" smtClean="0"/>
              <a:pPr/>
              <a:t>17</a:t>
            </a:fld>
            <a:endParaRPr lang="de-DE" dirty="0"/>
          </a:p>
        </p:txBody>
      </p:sp>
      <p:sp>
        <p:nvSpPr>
          <p:cNvPr id="3" name="Inhaltsplatzhalter 2">
            <a:extLst>
              <a:ext uri="{FF2B5EF4-FFF2-40B4-BE49-F238E27FC236}">
                <a16:creationId xmlns:a16="http://schemas.microsoft.com/office/drawing/2014/main" id="{7BE3309C-B5AF-47EC-AF33-97F5E44E98FF}"/>
              </a:ext>
            </a:extLst>
          </p:cNvPr>
          <p:cNvSpPr>
            <a:spLocks noGrp="1"/>
          </p:cNvSpPr>
          <p:nvPr>
            <p:ph idx="11"/>
          </p:nvPr>
        </p:nvSpPr>
        <p:spPr/>
        <p:txBody>
          <a:bodyPr/>
          <a:lstStyle/>
          <a:p>
            <a:r>
              <a:rPr lang="de-DE" sz="1200" dirty="0">
                <a:ea typeface="Verdana"/>
                <a:cs typeface="Arial"/>
              </a:rPr>
              <a:t>Absicherung mit Futures-Short Hedge</a:t>
            </a:r>
            <a:endParaRPr lang="de-DE" sz="1200" dirty="0"/>
          </a:p>
        </p:txBody>
      </p:sp>
      <p:sp>
        <p:nvSpPr>
          <p:cNvPr id="5" name="Inhaltsplatzhalter 4">
            <a:extLst>
              <a:ext uri="{FF2B5EF4-FFF2-40B4-BE49-F238E27FC236}">
                <a16:creationId xmlns:a16="http://schemas.microsoft.com/office/drawing/2014/main" id="{C16BEBB2-F0FB-4BAA-B055-64DB55C883CD}"/>
              </a:ext>
            </a:extLst>
          </p:cNvPr>
          <p:cNvSpPr>
            <a:spLocks noGrp="1"/>
          </p:cNvSpPr>
          <p:nvPr>
            <p:ph idx="12"/>
          </p:nvPr>
        </p:nvSpPr>
        <p:spPr/>
        <p:txBody>
          <a:bodyPr/>
          <a:lstStyle/>
          <a:p>
            <a:r>
              <a:rPr lang="de-DE" dirty="0"/>
              <a:t>Wenn der Preis fällt, kann ein Futures-Short Hedge die resultierenden Verluste wieder ausgleichen</a:t>
            </a:r>
          </a:p>
        </p:txBody>
      </p:sp>
      <p:grpSp>
        <p:nvGrpSpPr>
          <p:cNvPr id="26" name="Gruppieren 25">
            <a:extLst>
              <a:ext uri="{FF2B5EF4-FFF2-40B4-BE49-F238E27FC236}">
                <a16:creationId xmlns:a16="http://schemas.microsoft.com/office/drawing/2014/main" id="{56D1E236-8F25-415D-8786-C61D4721B940}"/>
              </a:ext>
            </a:extLst>
          </p:cNvPr>
          <p:cNvGrpSpPr/>
          <p:nvPr/>
        </p:nvGrpSpPr>
        <p:grpSpPr>
          <a:xfrm>
            <a:off x="334080" y="1022881"/>
            <a:ext cx="11522880" cy="5283000"/>
            <a:chOff x="334080" y="1022881"/>
            <a:chExt cx="11522880" cy="5283000"/>
          </a:xfrm>
        </p:grpSpPr>
        <p:sp>
          <p:nvSpPr>
            <p:cNvPr id="7" name="Line 2">
              <a:extLst>
                <a:ext uri="{FF2B5EF4-FFF2-40B4-BE49-F238E27FC236}">
                  <a16:creationId xmlns:a16="http://schemas.microsoft.com/office/drawing/2014/main" id="{D3DBD61B-EB7C-461E-B0CD-F9689B1A6568}"/>
                </a:ext>
              </a:extLst>
            </p:cNvPr>
            <p:cNvSpPr/>
            <p:nvPr/>
          </p:nvSpPr>
          <p:spPr>
            <a:xfrm>
              <a:off x="334080" y="3371800"/>
              <a:ext cx="3937320" cy="360"/>
            </a:xfrm>
            <a:prstGeom prst="line">
              <a:avLst/>
            </a:prstGeom>
            <a:ln>
              <a:solidFill>
                <a:schemeClr val="tx1"/>
              </a:solidFill>
            </a:ln>
          </p:spPr>
          <p:style>
            <a:lnRef idx="1">
              <a:schemeClr val="accent1"/>
            </a:lnRef>
            <a:fillRef idx="0">
              <a:schemeClr val="accent1"/>
            </a:fillRef>
            <a:effectRef idx="0">
              <a:schemeClr val="accent1"/>
            </a:effectRef>
            <a:fontRef idx="minor"/>
          </p:style>
          <p:txBody>
            <a:bodyPr/>
            <a:lstStyle/>
            <a:p>
              <a:endParaRPr lang="de-DE"/>
            </a:p>
          </p:txBody>
        </p:sp>
        <p:sp>
          <p:nvSpPr>
            <p:cNvPr id="9" name="Line 3">
              <a:extLst>
                <a:ext uri="{FF2B5EF4-FFF2-40B4-BE49-F238E27FC236}">
                  <a16:creationId xmlns:a16="http://schemas.microsoft.com/office/drawing/2014/main" id="{12C8A413-DC1B-4D8A-8F0F-C6D3CB28B804}"/>
                </a:ext>
              </a:extLst>
            </p:cNvPr>
            <p:cNvSpPr/>
            <p:nvPr/>
          </p:nvSpPr>
          <p:spPr>
            <a:xfrm>
              <a:off x="334080" y="3371800"/>
              <a:ext cx="3649320" cy="153648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1" name="CustomShape 4">
              <a:extLst>
                <a:ext uri="{FF2B5EF4-FFF2-40B4-BE49-F238E27FC236}">
                  <a16:creationId xmlns:a16="http://schemas.microsoft.com/office/drawing/2014/main" id="{C44A28D0-1B7C-4966-9A68-2A0A2C1D8DA1}"/>
                </a:ext>
              </a:extLst>
            </p:cNvPr>
            <p:cNvSpPr/>
            <p:nvPr/>
          </p:nvSpPr>
          <p:spPr>
            <a:xfrm>
              <a:off x="945360" y="2030800"/>
              <a:ext cx="2465640" cy="4561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a:solidFill>
                    <a:srgbClr val="000000"/>
                  </a:solidFill>
                  <a:latin typeface="Calibri"/>
                </a:rPr>
                <a:t>Getreidepreis</a:t>
              </a:r>
              <a:r>
                <a:rPr lang="de-DE" sz="2400" b="0" strike="noStrike" spc="-1">
                  <a:solidFill>
                    <a:srgbClr val="000000"/>
                  </a:solidFill>
                  <a:latin typeface="Calibri"/>
                </a:rPr>
                <a:t> </a:t>
              </a:r>
              <a:r>
                <a:rPr lang="de-DE" sz="2400" b="1" strike="noStrike" spc="-1">
                  <a:solidFill>
                    <a:srgbClr val="000000"/>
                  </a:solidFill>
                  <a:latin typeface="Calibri"/>
                </a:rPr>
                <a:t>fällt</a:t>
              </a:r>
              <a:endParaRPr lang="de-DE" sz="2400" b="0" strike="noStrike" spc="-1">
                <a:latin typeface="Arial"/>
              </a:endParaRPr>
            </a:p>
          </p:txBody>
        </p:sp>
        <p:sp>
          <p:nvSpPr>
            <p:cNvPr id="13" name="CustomShape 7">
              <a:extLst>
                <a:ext uri="{FF2B5EF4-FFF2-40B4-BE49-F238E27FC236}">
                  <a16:creationId xmlns:a16="http://schemas.microsoft.com/office/drawing/2014/main" id="{30D04411-C33E-4756-86DA-64321F9F69A0}"/>
                </a:ext>
              </a:extLst>
            </p:cNvPr>
            <p:cNvSpPr/>
            <p:nvPr/>
          </p:nvSpPr>
          <p:spPr>
            <a:xfrm>
              <a:off x="4051440" y="3371800"/>
              <a:ext cx="1823297" cy="706432"/>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000" b="1" strike="noStrike" spc="-1" dirty="0">
                  <a:latin typeface="Arial" panose="020B0604020202020204" pitchFamily="34" charset="0"/>
                  <a:cs typeface="Arial" panose="020B0604020202020204" pitchFamily="34" charset="0"/>
                </a:rPr>
                <a:t>Verlust durch</a:t>
              </a:r>
            </a:p>
            <a:p>
              <a:pPr>
                <a:lnSpc>
                  <a:spcPct val="100000"/>
                </a:lnSpc>
              </a:pPr>
              <a:r>
                <a:rPr lang="de-DE" sz="2000" b="1" strike="noStrike" spc="-1" dirty="0">
                  <a:latin typeface="Arial" panose="020B0604020202020204" pitchFamily="34" charset="0"/>
                  <a:cs typeface="Arial" panose="020B0604020202020204" pitchFamily="34" charset="0"/>
                </a:rPr>
                <a:t>Preisverfall</a:t>
              </a:r>
            </a:p>
          </p:txBody>
        </p:sp>
        <p:sp>
          <p:nvSpPr>
            <p:cNvPr id="15" name="CustomShape 8">
              <a:extLst>
                <a:ext uri="{FF2B5EF4-FFF2-40B4-BE49-F238E27FC236}">
                  <a16:creationId xmlns:a16="http://schemas.microsoft.com/office/drawing/2014/main" id="{301AF6B2-F35B-4323-821C-15C390B1CE25}"/>
                </a:ext>
              </a:extLst>
            </p:cNvPr>
            <p:cNvSpPr/>
            <p:nvPr/>
          </p:nvSpPr>
          <p:spPr>
            <a:xfrm>
              <a:off x="1688400" y="3371800"/>
              <a:ext cx="1889020" cy="706432"/>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000" b="1" strike="noStrike" spc="-1" dirty="0">
                  <a:latin typeface="Arial" panose="020B0604020202020204" pitchFamily="34" charset="0"/>
                  <a:cs typeface="Arial" panose="020B0604020202020204" pitchFamily="34" charset="0"/>
                </a:rPr>
                <a:t>Gewinn durch</a:t>
              </a:r>
            </a:p>
            <a:p>
              <a:pPr>
                <a:lnSpc>
                  <a:spcPct val="100000"/>
                </a:lnSpc>
              </a:pPr>
              <a:r>
                <a:rPr lang="de-DE" sz="2000" b="1" strike="noStrike" spc="-1" dirty="0">
                  <a:latin typeface="Arial" panose="020B0604020202020204" pitchFamily="34" charset="0"/>
                  <a:cs typeface="Arial" panose="020B0604020202020204" pitchFamily="34" charset="0"/>
                </a:rPr>
                <a:t>        Future</a:t>
              </a:r>
            </a:p>
          </p:txBody>
        </p:sp>
        <p:sp>
          <p:nvSpPr>
            <p:cNvPr id="17" name="Line 9">
              <a:extLst>
                <a:ext uri="{FF2B5EF4-FFF2-40B4-BE49-F238E27FC236}">
                  <a16:creationId xmlns:a16="http://schemas.microsoft.com/office/drawing/2014/main" id="{C5EEC409-83B8-417F-B464-148E688EC40A}"/>
                </a:ext>
              </a:extLst>
            </p:cNvPr>
            <p:cNvSpPr/>
            <p:nvPr/>
          </p:nvSpPr>
          <p:spPr>
            <a:xfrm flipV="1">
              <a:off x="928080" y="1320520"/>
              <a:ext cx="43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9" name="CustomShape 10">
              <a:extLst>
                <a:ext uri="{FF2B5EF4-FFF2-40B4-BE49-F238E27FC236}">
                  <a16:creationId xmlns:a16="http://schemas.microsoft.com/office/drawing/2014/main" id="{010710A5-D81D-4454-8BF8-12056121530D}"/>
                </a:ext>
              </a:extLst>
            </p:cNvPr>
            <p:cNvSpPr/>
            <p:nvPr/>
          </p:nvSpPr>
          <p:spPr>
            <a:xfrm>
              <a:off x="911520" y="1521760"/>
              <a:ext cx="355356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Szenario 1</a:t>
              </a:r>
              <a:endParaRPr lang="de-DE" sz="3200" b="0" strike="noStrike" spc="-1">
                <a:latin typeface="Arial"/>
              </a:endParaRPr>
            </a:p>
          </p:txBody>
        </p:sp>
        <p:sp>
          <p:nvSpPr>
            <p:cNvPr id="21" name="Line 11">
              <a:extLst>
                <a:ext uri="{FF2B5EF4-FFF2-40B4-BE49-F238E27FC236}">
                  <a16:creationId xmlns:a16="http://schemas.microsoft.com/office/drawing/2014/main" id="{BAFBF016-14ED-438F-B274-701D5C2B5EDF}"/>
                </a:ext>
              </a:extLst>
            </p:cNvPr>
            <p:cNvSpPr/>
            <p:nvPr/>
          </p:nvSpPr>
          <p:spPr>
            <a:xfrm>
              <a:off x="6027634" y="1022881"/>
              <a:ext cx="360" cy="5283000"/>
            </a:xfrm>
            <a:prstGeom prst="line">
              <a:avLst/>
            </a:prstGeom>
            <a:ln w="28440">
              <a:solidFill>
                <a:schemeClr val="accent4"/>
              </a:solidFill>
              <a:prstDash val="dash"/>
            </a:ln>
          </p:spPr>
          <p:style>
            <a:lnRef idx="1">
              <a:schemeClr val="accent1"/>
            </a:lnRef>
            <a:fillRef idx="0">
              <a:schemeClr val="accent1"/>
            </a:fillRef>
            <a:effectRef idx="0">
              <a:schemeClr val="accent1"/>
            </a:effectRef>
            <a:fontRef idx="minor"/>
          </p:style>
          <p:txBody>
            <a:bodyPr/>
            <a:lstStyle/>
            <a:p>
              <a:endParaRPr lang="de-DE"/>
            </a:p>
          </p:txBody>
        </p:sp>
        <p:sp>
          <p:nvSpPr>
            <p:cNvPr id="23" name="CustomShape 12">
              <a:extLst>
                <a:ext uri="{FF2B5EF4-FFF2-40B4-BE49-F238E27FC236}">
                  <a16:creationId xmlns:a16="http://schemas.microsoft.com/office/drawing/2014/main" id="{4BD995B3-2051-42A8-A648-B465302B94EF}"/>
                </a:ext>
              </a:extLst>
            </p:cNvPr>
            <p:cNvSpPr/>
            <p:nvPr/>
          </p:nvSpPr>
          <p:spPr>
            <a:xfrm>
              <a:off x="7056000" y="1838200"/>
              <a:ext cx="4800960" cy="319172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b="0" strike="noStrike" spc="-1" dirty="0">
                  <a:latin typeface="Arial" panose="020B0604020202020204" pitchFamily="34" charset="0"/>
                  <a:cs typeface="Arial" panose="020B0604020202020204" pitchFamily="34" charset="0"/>
                </a:rPr>
                <a:t>Ausgangspreis des Getreides: </a:t>
              </a:r>
              <a:br>
                <a:rPr sz="1600" dirty="0">
                  <a:latin typeface="Arial" panose="020B0604020202020204" pitchFamily="34" charset="0"/>
                  <a:cs typeface="Arial" panose="020B0604020202020204" pitchFamily="34" charset="0"/>
                </a:rPr>
              </a:br>
              <a:endParaRPr lang="de-DE" b="0" strike="noStrike" spc="-1" dirty="0">
                <a:latin typeface="Arial" panose="020B0604020202020204" pitchFamily="34" charset="0"/>
                <a:cs typeface="Arial" panose="020B0604020202020204" pitchFamily="34" charset="0"/>
              </a:endParaRPr>
            </a:p>
            <a:p>
              <a:pPr marL="457200">
                <a:lnSpc>
                  <a:spcPct val="100000"/>
                </a:lnSpc>
              </a:pPr>
              <a:r>
                <a:rPr lang="de-DE" b="0" strike="noStrike" spc="-1" dirty="0">
                  <a:latin typeface="Arial" panose="020B0604020202020204" pitchFamily="34" charset="0"/>
                  <a:cs typeface="Arial" panose="020B0604020202020204" pitchFamily="34" charset="0"/>
                </a:rPr>
                <a:t>100€ ≙ vereinbarter Preis in t</a:t>
              </a:r>
              <a:r>
                <a:rPr lang="de-DE" b="0" strike="noStrike" spc="-1" baseline="-25000" dirty="0">
                  <a:latin typeface="Arial" panose="020B0604020202020204" pitchFamily="34" charset="0"/>
                  <a:cs typeface="Arial" panose="020B0604020202020204" pitchFamily="34" charset="0"/>
                </a:rPr>
                <a:t>0</a:t>
              </a:r>
              <a:r>
                <a:rPr lang="de-DE" b="0" strike="noStrike" spc="-1" dirty="0">
                  <a:latin typeface="Arial" panose="020B0604020202020204" pitchFamily="34" charset="0"/>
                  <a:cs typeface="Arial" panose="020B0604020202020204" pitchFamily="34" charset="0"/>
                </a:rPr>
                <a:t> </a:t>
              </a:r>
            </a:p>
            <a:p>
              <a:pPr marL="457200">
                <a:lnSpc>
                  <a:spcPct val="100000"/>
                </a:lnSpc>
              </a:pPr>
              <a:r>
                <a:rPr lang="de-DE" b="0" strike="noStrike" spc="-1" dirty="0">
                  <a:latin typeface="Arial" panose="020B0604020202020204" pitchFamily="34" charset="0"/>
                  <a:cs typeface="Arial" panose="020B0604020202020204" pitchFamily="34" charset="0"/>
                </a:rPr>
                <a:t>-&gt; Wert des Futures in t</a:t>
              </a:r>
              <a:r>
                <a:rPr lang="de-DE" b="0" strike="noStrike" spc="-1" baseline="-25000" dirty="0">
                  <a:latin typeface="Arial" panose="020B0604020202020204" pitchFamily="34" charset="0"/>
                  <a:cs typeface="Arial" panose="020B0604020202020204" pitchFamily="34" charset="0"/>
                </a:rPr>
                <a:t>0</a:t>
              </a:r>
              <a:r>
                <a:rPr lang="de-DE" b="0" strike="noStrike" spc="-1" dirty="0">
                  <a:latin typeface="Arial" panose="020B0604020202020204" pitchFamily="34" charset="0"/>
                  <a:cs typeface="Arial" panose="020B0604020202020204" pitchFamily="34" charset="0"/>
                </a:rPr>
                <a:t>: 0€</a:t>
              </a:r>
            </a:p>
            <a:p>
              <a:pPr>
                <a:lnSpc>
                  <a:spcPct val="100000"/>
                </a:lnSpc>
              </a:pPr>
              <a:endParaRPr lang="de-DE"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Getreidepreis zur Fälligkeit des Futures: </a:t>
              </a:r>
              <a:br>
                <a:rPr sz="1600" dirty="0">
                  <a:latin typeface="Arial" panose="020B0604020202020204" pitchFamily="34" charset="0"/>
                  <a:cs typeface="Arial" panose="020B0604020202020204" pitchFamily="34" charset="0"/>
                </a:rPr>
              </a:br>
              <a:endParaRPr lang="de-DE" b="0" strike="noStrike" spc="-1" dirty="0">
                <a:latin typeface="Arial" panose="020B0604020202020204" pitchFamily="34" charset="0"/>
                <a:cs typeface="Arial" panose="020B0604020202020204" pitchFamily="34" charset="0"/>
              </a:endParaRPr>
            </a:p>
            <a:p>
              <a:pPr marL="457200">
                <a:lnSpc>
                  <a:spcPct val="100000"/>
                </a:lnSpc>
              </a:pPr>
              <a:r>
                <a:rPr lang="de-DE" b="0" strike="noStrike" spc="-1" dirty="0">
                  <a:latin typeface="Arial" panose="020B0604020202020204" pitchFamily="34" charset="0"/>
                  <a:cs typeface="Arial" panose="020B0604020202020204" pitchFamily="34" charset="0"/>
                </a:rPr>
                <a:t>50€ → Wert des Futures per t</a:t>
              </a:r>
              <a:r>
                <a:rPr lang="de-DE" b="0" strike="noStrike" spc="-1" baseline="-25000" dirty="0">
                  <a:latin typeface="Arial" panose="020B0604020202020204" pitchFamily="34" charset="0"/>
                  <a:cs typeface="Arial" panose="020B0604020202020204" pitchFamily="34" charset="0"/>
                </a:rPr>
                <a:t>1</a:t>
              </a:r>
              <a:r>
                <a:rPr lang="de-DE" b="0" strike="noStrike" spc="-1" dirty="0">
                  <a:latin typeface="Arial" panose="020B0604020202020204" pitchFamily="34" charset="0"/>
                  <a:cs typeface="Arial" panose="020B0604020202020204" pitchFamily="34" charset="0"/>
                </a:rPr>
                <a:t>: +50€</a:t>
              </a:r>
              <a:br>
                <a:rPr sz="1600" dirty="0">
                  <a:latin typeface="Arial" panose="020B0604020202020204" pitchFamily="34" charset="0"/>
                  <a:cs typeface="Arial" panose="020B0604020202020204" pitchFamily="34" charset="0"/>
                </a:rPr>
              </a:br>
              <a:r>
                <a:rPr lang="de-DE" b="0" strike="noStrike" spc="-1" dirty="0">
                  <a:latin typeface="Arial" panose="020B0604020202020204" pitchFamily="34" charset="0"/>
                  <a:cs typeface="Arial" panose="020B0604020202020204" pitchFamily="34" charset="0"/>
                </a:rPr>
                <a:t>d.h. Wert eines Vertrages, das Getreide jetzt für 100€ zu verkaufen</a:t>
              </a:r>
            </a:p>
            <a:p>
              <a:pPr>
                <a:lnSpc>
                  <a:spcPct val="100000"/>
                </a:lnSpc>
              </a:pPr>
              <a:endParaRPr lang="de-DE" b="0" strike="noStrike" spc="-1" dirty="0">
                <a:latin typeface="Arial" panose="020B0604020202020204" pitchFamily="34" charset="0"/>
                <a:cs typeface="Arial" panose="020B0604020202020204" pitchFamily="34" charset="0"/>
              </a:endParaRPr>
            </a:p>
          </p:txBody>
        </p:sp>
        <p:sp>
          <p:nvSpPr>
            <p:cNvPr id="25" name="CustomShape 13">
              <a:extLst>
                <a:ext uri="{FF2B5EF4-FFF2-40B4-BE49-F238E27FC236}">
                  <a16:creationId xmlns:a16="http://schemas.microsoft.com/office/drawing/2014/main" id="{91ADB7B5-B47A-442F-9BCF-7DAE9FE1E818}"/>
                </a:ext>
              </a:extLst>
            </p:cNvPr>
            <p:cNvSpPr/>
            <p:nvPr/>
          </p:nvSpPr>
          <p:spPr>
            <a:xfrm>
              <a:off x="793440" y="5209240"/>
              <a:ext cx="4320000" cy="95419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b="0" strike="noStrike" spc="-1" dirty="0">
                  <a:latin typeface="Arial" panose="020B0604020202020204" pitchFamily="34" charset="0"/>
                  <a:cs typeface="Arial" panose="020B0604020202020204" pitchFamily="34" charset="0"/>
                </a:rPr>
                <a:t>Perfekter Hedge ≙ weder Gewinn noch Verlust, unabhängig von Kursentwicklung</a:t>
              </a:r>
            </a:p>
          </p:txBody>
        </p:sp>
      </p:grpSp>
    </p:spTree>
    <p:extLst>
      <p:ext uri="{BB962C8B-B14F-4D97-AF65-F5344CB8AC3E}">
        <p14:creationId xmlns:p14="http://schemas.microsoft.com/office/powerpoint/2010/main" val="38844905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4EA914A-B17A-4704-BF25-2F98A43FEA9C}"/>
              </a:ext>
            </a:extLst>
          </p:cNvPr>
          <p:cNvSpPr>
            <a:spLocks noGrp="1"/>
          </p:cNvSpPr>
          <p:nvPr>
            <p:ph type="sldNum" sz="quarter" idx="10"/>
          </p:nvPr>
        </p:nvSpPr>
        <p:spPr/>
        <p:txBody>
          <a:bodyPr/>
          <a:lstStyle/>
          <a:p>
            <a:fld id="{F966D7FF-EADB-4E92-9989-4DE4533DAC48}" type="slidenum">
              <a:rPr lang="de-DE" smtClean="0"/>
              <a:pPr/>
              <a:t>18</a:t>
            </a:fld>
            <a:endParaRPr lang="de-DE" dirty="0"/>
          </a:p>
        </p:txBody>
      </p:sp>
      <p:sp>
        <p:nvSpPr>
          <p:cNvPr id="3" name="Inhaltsplatzhalter 2">
            <a:extLst>
              <a:ext uri="{FF2B5EF4-FFF2-40B4-BE49-F238E27FC236}">
                <a16:creationId xmlns:a16="http://schemas.microsoft.com/office/drawing/2014/main" id="{AD00D1FD-D734-482A-A58F-6F88EA0AF53A}"/>
              </a:ext>
            </a:extLst>
          </p:cNvPr>
          <p:cNvSpPr>
            <a:spLocks noGrp="1"/>
          </p:cNvSpPr>
          <p:nvPr>
            <p:ph idx="11"/>
          </p:nvPr>
        </p:nvSpPr>
        <p:spPr/>
        <p:txBody>
          <a:bodyPr/>
          <a:lstStyle/>
          <a:p>
            <a:r>
              <a:rPr lang="de-DE" sz="1200" dirty="0">
                <a:ea typeface="Verdana"/>
                <a:cs typeface="Arial"/>
              </a:rPr>
              <a:t>Absicherung mit Futures-Short Hedge</a:t>
            </a:r>
            <a:endParaRPr lang="de-DE" sz="1200" dirty="0"/>
          </a:p>
        </p:txBody>
      </p:sp>
      <p:sp>
        <p:nvSpPr>
          <p:cNvPr id="5" name="Inhaltsplatzhalter 4">
            <a:extLst>
              <a:ext uri="{FF2B5EF4-FFF2-40B4-BE49-F238E27FC236}">
                <a16:creationId xmlns:a16="http://schemas.microsoft.com/office/drawing/2014/main" id="{F9D9AAEF-2A40-40B6-A88E-B40BAA1EC437}"/>
              </a:ext>
            </a:extLst>
          </p:cNvPr>
          <p:cNvSpPr>
            <a:spLocks noGrp="1"/>
          </p:cNvSpPr>
          <p:nvPr>
            <p:ph idx="12"/>
          </p:nvPr>
        </p:nvSpPr>
        <p:spPr/>
        <p:txBody>
          <a:bodyPr/>
          <a:lstStyle/>
          <a:p>
            <a:r>
              <a:rPr lang="de-DE" dirty="0"/>
              <a:t>Wenn der Preis steigt, verursacht ein Futures-Short Hedge Verluste, welche durch den Gewinn des Preisanstiegs ausgeglichen werden</a:t>
            </a:r>
          </a:p>
        </p:txBody>
      </p:sp>
      <p:grpSp>
        <p:nvGrpSpPr>
          <p:cNvPr id="26" name="Gruppieren 25">
            <a:extLst>
              <a:ext uri="{FF2B5EF4-FFF2-40B4-BE49-F238E27FC236}">
                <a16:creationId xmlns:a16="http://schemas.microsoft.com/office/drawing/2014/main" id="{BD67C133-7104-408D-991D-868579B62208}"/>
              </a:ext>
            </a:extLst>
          </p:cNvPr>
          <p:cNvGrpSpPr/>
          <p:nvPr/>
        </p:nvGrpSpPr>
        <p:grpSpPr>
          <a:xfrm>
            <a:off x="335520" y="1012903"/>
            <a:ext cx="11505600" cy="5283000"/>
            <a:chOff x="335520" y="1012903"/>
            <a:chExt cx="11505600" cy="5283000"/>
          </a:xfrm>
        </p:grpSpPr>
        <p:sp>
          <p:nvSpPr>
            <p:cNvPr id="7" name="Line 2">
              <a:extLst>
                <a:ext uri="{FF2B5EF4-FFF2-40B4-BE49-F238E27FC236}">
                  <a16:creationId xmlns:a16="http://schemas.microsoft.com/office/drawing/2014/main" id="{22E8FC4E-BABA-4918-9A65-AA87A607291A}"/>
                </a:ext>
              </a:extLst>
            </p:cNvPr>
            <p:cNvSpPr/>
            <p:nvPr/>
          </p:nvSpPr>
          <p:spPr>
            <a:xfrm>
              <a:off x="6054849" y="1012903"/>
              <a:ext cx="360" cy="5283000"/>
            </a:xfrm>
            <a:prstGeom prst="line">
              <a:avLst/>
            </a:prstGeom>
            <a:ln w="28440">
              <a:solidFill>
                <a:schemeClr val="accent4"/>
              </a:solidFill>
              <a:prstDash val="dash"/>
            </a:ln>
          </p:spPr>
          <p:style>
            <a:lnRef idx="1">
              <a:schemeClr val="accent1"/>
            </a:lnRef>
            <a:fillRef idx="0">
              <a:schemeClr val="accent1"/>
            </a:fillRef>
            <a:effectRef idx="0">
              <a:schemeClr val="accent1"/>
            </a:effectRef>
            <a:fontRef idx="minor"/>
          </p:style>
          <p:txBody>
            <a:bodyPr/>
            <a:lstStyle/>
            <a:p>
              <a:endParaRPr lang="de-DE"/>
            </a:p>
          </p:txBody>
        </p:sp>
        <p:sp>
          <p:nvSpPr>
            <p:cNvPr id="9" name="Line 3">
              <a:extLst>
                <a:ext uri="{FF2B5EF4-FFF2-40B4-BE49-F238E27FC236}">
                  <a16:creationId xmlns:a16="http://schemas.microsoft.com/office/drawing/2014/main" id="{4BD2484E-8BA9-4E49-A31D-08DBD7201898}"/>
                </a:ext>
              </a:extLst>
            </p:cNvPr>
            <p:cNvSpPr/>
            <p:nvPr/>
          </p:nvSpPr>
          <p:spPr>
            <a:xfrm>
              <a:off x="335520" y="3842640"/>
              <a:ext cx="3934800" cy="360"/>
            </a:xfrm>
            <a:prstGeom prst="line">
              <a:avLst/>
            </a:prstGeom>
            <a:ln>
              <a:solidFill>
                <a:schemeClr val="tx1"/>
              </a:solidFill>
            </a:ln>
          </p:spPr>
          <p:style>
            <a:lnRef idx="1">
              <a:schemeClr val="accent1"/>
            </a:lnRef>
            <a:fillRef idx="0">
              <a:schemeClr val="accent1"/>
            </a:fillRef>
            <a:effectRef idx="0">
              <a:schemeClr val="accent1"/>
            </a:effectRef>
            <a:fontRef idx="minor"/>
          </p:style>
          <p:txBody>
            <a:bodyPr/>
            <a:lstStyle/>
            <a:p>
              <a:endParaRPr lang="de-DE"/>
            </a:p>
          </p:txBody>
        </p:sp>
        <p:sp>
          <p:nvSpPr>
            <p:cNvPr id="11" name="Line 4">
              <a:extLst>
                <a:ext uri="{FF2B5EF4-FFF2-40B4-BE49-F238E27FC236}">
                  <a16:creationId xmlns:a16="http://schemas.microsoft.com/office/drawing/2014/main" id="{B638604D-004C-4A6F-89C9-94ECD3284E25}"/>
                </a:ext>
              </a:extLst>
            </p:cNvPr>
            <p:cNvSpPr/>
            <p:nvPr/>
          </p:nvSpPr>
          <p:spPr>
            <a:xfrm flipV="1">
              <a:off x="335520" y="2593800"/>
              <a:ext cx="3166560" cy="124884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3" name="CustomShape 7">
              <a:extLst>
                <a:ext uri="{FF2B5EF4-FFF2-40B4-BE49-F238E27FC236}">
                  <a16:creationId xmlns:a16="http://schemas.microsoft.com/office/drawing/2014/main" id="{2962C4ED-F1D0-4D3D-948B-7D730AD9A86C}"/>
                </a:ext>
              </a:extLst>
            </p:cNvPr>
            <p:cNvSpPr/>
            <p:nvPr/>
          </p:nvSpPr>
          <p:spPr>
            <a:xfrm>
              <a:off x="1113480" y="3047760"/>
              <a:ext cx="2448720" cy="8218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00000"/>
                </a:lnSpc>
              </a:pPr>
              <a:r>
                <a:rPr lang="de-DE" sz="2400" b="0" strike="noStrike" spc="-1">
                  <a:solidFill>
                    <a:sysClr val="windowText" lastClr="000000"/>
                  </a:solidFill>
                  <a:latin typeface="Calibri"/>
                </a:rPr>
                <a:t>Gewinn </a:t>
              </a:r>
              <a:br>
                <a:rPr>
                  <a:solidFill>
                    <a:sysClr val="windowText" lastClr="000000"/>
                  </a:solidFill>
                </a:rPr>
              </a:br>
              <a:r>
                <a:rPr lang="de-DE" sz="2400" b="0" strike="noStrike" spc="-1">
                  <a:solidFill>
                    <a:sysClr val="windowText" lastClr="000000"/>
                  </a:solidFill>
                  <a:latin typeface="Calibri"/>
                </a:rPr>
                <a:t>durch Preisanstieg</a:t>
              </a:r>
              <a:endParaRPr lang="de-DE" sz="2400" b="0" strike="noStrike" spc="-1">
                <a:solidFill>
                  <a:sysClr val="windowText" lastClr="000000"/>
                </a:solidFill>
                <a:latin typeface="Arial"/>
              </a:endParaRPr>
            </a:p>
          </p:txBody>
        </p:sp>
        <p:sp>
          <p:nvSpPr>
            <p:cNvPr id="15" name="CustomShape 8">
              <a:extLst>
                <a:ext uri="{FF2B5EF4-FFF2-40B4-BE49-F238E27FC236}">
                  <a16:creationId xmlns:a16="http://schemas.microsoft.com/office/drawing/2014/main" id="{3787B890-7990-40E9-89C3-3D343DD8A4F7}"/>
                </a:ext>
              </a:extLst>
            </p:cNvPr>
            <p:cNvSpPr/>
            <p:nvPr/>
          </p:nvSpPr>
          <p:spPr>
            <a:xfrm>
              <a:off x="3895920" y="2981160"/>
              <a:ext cx="1827000" cy="8218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0" strike="noStrike" spc="-1">
                  <a:solidFill>
                    <a:sysClr val="windowText" lastClr="000000"/>
                  </a:solidFill>
                  <a:latin typeface="Calibri"/>
                </a:rPr>
                <a:t>Verlust durch</a:t>
              </a:r>
              <a:endParaRPr lang="de-DE" sz="2400" b="0" strike="noStrike" spc="-1">
                <a:solidFill>
                  <a:sysClr val="windowText" lastClr="000000"/>
                </a:solidFill>
                <a:latin typeface="Arial"/>
              </a:endParaRPr>
            </a:p>
            <a:p>
              <a:pPr>
                <a:lnSpc>
                  <a:spcPct val="100000"/>
                </a:lnSpc>
              </a:pPr>
              <a:r>
                <a:rPr lang="de-DE" sz="2400" b="0" strike="noStrike" spc="-1">
                  <a:solidFill>
                    <a:sysClr val="windowText" lastClr="000000"/>
                  </a:solidFill>
                  <a:latin typeface="Calibri"/>
                </a:rPr>
                <a:t>Future</a:t>
              </a:r>
              <a:endParaRPr lang="de-DE" sz="2400" b="0" strike="noStrike" spc="-1">
                <a:solidFill>
                  <a:sysClr val="windowText" lastClr="000000"/>
                </a:solidFill>
                <a:latin typeface="Arial"/>
              </a:endParaRPr>
            </a:p>
          </p:txBody>
        </p:sp>
        <p:sp>
          <p:nvSpPr>
            <p:cNvPr id="17" name="CustomShape 9">
              <a:extLst>
                <a:ext uri="{FF2B5EF4-FFF2-40B4-BE49-F238E27FC236}">
                  <a16:creationId xmlns:a16="http://schemas.microsoft.com/office/drawing/2014/main" id="{0DF50015-7A53-4BD7-9727-44009ED2C8A4}"/>
                </a:ext>
              </a:extLst>
            </p:cNvPr>
            <p:cNvSpPr/>
            <p:nvPr/>
          </p:nvSpPr>
          <p:spPr>
            <a:xfrm>
              <a:off x="946440" y="1980000"/>
              <a:ext cx="2665440" cy="45612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a:solidFill>
                    <a:srgbClr val="000000"/>
                  </a:solidFill>
                  <a:latin typeface="Calibri"/>
                </a:rPr>
                <a:t>Getreidepreis</a:t>
              </a:r>
              <a:r>
                <a:rPr lang="de-DE" sz="2400" b="0" strike="noStrike" spc="-1">
                  <a:solidFill>
                    <a:srgbClr val="000000"/>
                  </a:solidFill>
                  <a:latin typeface="Calibri"/>
                </a:rPr>
                <a:t> </a:t>
              </a:r>
              <a:r>
                <a:rPr lang="de-DE" sz="2400" b="1" strike="noStrike" spc="-1">
                  <a:solidFill>
                    <a:srgbClr val="000000"/>
                  </a:solidFill>
                  <a:latin typeface="Calibri"/>
                </a:rPr>
                <a:t>steigt</a:t>
              </a:r>
              <a:endParaRPr lang="de-DE" sz="2400" b="0" strike="noStrike" spc="-1">
                <a:latin typeface="Arial"/>
              </a:endParaRPr>
            </a:p>
          </p:txBody>
        </p:sp>
        <p:sp>
          <p:nvSpPr>
            <p:cNvPr id="19" name="Line 10">
              <a:extLst>
                <a:ext uri="{FF2B5EF4-FFF2-40B4-BE49-F238E27FC236}">
                  <a16:creationId xmlns:a16="http://schemas.microsoft.com/office/drawing/2014/main" id="{E3930D10-B556-4A3E-B612-C135626C2073}"/>
                </a:ext>
              </a:extLst>
            </p:cNvPr>
            <p:cNvSpPr/>
            <p:nvPr/>
          </p:nvSpPr>
          <p:spPr>
            <a:xfrm flipV="1">
              <a:off x="928080" y="1269720"/>
              <a:ext cx="43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11">
              <a:extLst>
                <a:ext uri="{FF2B5EF4-FFF2-40B4-BE49-F238E27FC236}">
                  <a16:creationId xmlns:a16="http://schemas.microsoft.com/office/drawing/2014/main" id="{2E0465E3-A1FA-4646-8ADC-8A71E13D7B91}"/>
                </a:ext>
              </a:extLst>
            </p:cNvPr>
            <p:cNvSpPr/>
            <p:nvPr/>
          </p:nvSpPr>
          <p:spPr>
            <a:xfrm>
              <a:off x="911520" y="1470960"/>
              <a:ext cx="355356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Szenario 2</a:t>
              </a:r>
              <a:endParaRPr lang="de-DE" sz="3200" b="0" strike="noStrike" spc="-1">
                <a:latin typeface="Arial"/>
              </a:endParaRPr>
            </a:p>
          </p:txBody>
        </p:sp>
        <p:sp>
          <p:nvSpPr>
            <p:cNvPr id="23" name="CustomShape 12">
              <a:extLst>
                <a:ext uri="{FF2B5EF4-FFF2-40B4-BE49-F238E27FC236}">
                  <a16:creationId xmlns:a16="http://schemas.microsoft.com/office/drawing/2014/main" id="{A7958766-47C6-4763-85CD-97A49DD37BAF}"/>
                </a:ext>
              </a:extLst>
            </p:cNvPr>
            <p:cNvSpPr/>
            <p:nvPr/>
          </p:nvSpPr>
          <p:spPr>
            <a:xfrm>
              <a:off x="793440" y="5158440"/>
              <a:ext cx="432000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Calibri"/>
                </a:rPr>
                <a:t>Perfekter Hedge ≙ weder Gewinn noch Verlust, unabhängig von Kursentwicklung</a:t>
              </a:r>
              <a:endParaRPr lang="de-DE" sz="1870" b="0" strike="noStrike" spc="-1">
                <a:solidFill>
                  <a:sysClr val="windowText" lastClr="000000"/>
                </a:solidFill>
                <a:latin typeface="Arial"/>
              </a:endParaRPr>
            </a:p>
          </p:txBody>
        </p:sp>
        <p:sp>
          <p:nvSpPr>
            <p:cNvPr id="25" name="CustomShape 13">
              <a:extLst>
                <a:ext uri="{FF2B5EF4-FFF2-40B4-BE49-F238E27FC236}">
                  <a16:creationId xmlns:a16="http://schemas.microsoft.com/office/drawing/2014/main" id="{D7B6CB8D-98B4-4DA7-BBF5-4E7E978A84D5}"/>
                </a:ext>
              </a:extLst>
            </p:cNvPr>
            <p:cNvSpPr/>
            <p:nvPr/>
          </p:nvSpPr>
          <p:spPr>
            <a:xfrm>
              <a:off x="7040160" y="1787400"/>
              <a:ext cx="4800960" cy="33307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dirty="0">
                  <a:solidFill>
                    <a:sysClr val="windowText" lastClr="000000"/>
                  </a:solidFill>
                  <a:latin typeface="Calibri"/>
                </a:rPr>
                <a:t>Ausgangspreis des Getreides: </a:t>
              </a:r>
              <a:br>
                <a:rPr dirty="0">
                  <a:solidFill>
                    <a:sysClr val="windowText" lastClr="000000"/>
                  </a:solidFill>
                </a:rPr>
              </a:br>
              <a:endParaRPr lang="de-DE" sz="1870" b="0" strike="noStrike" spc="-1" dirty="0">
                <a:solidFill>
                  <a:sysClr val="windowText" lastClr="000000"/>
                </a:solidFill>
                <a:latin typeface="Arial"/>
              </a:endParaRPr>
            </a:p>
            <a:p>
              <a:pPr marL="457200">
                <a:lnSpc>
                  <a:spcPct val="100000"/>
                </a:lnSpc>
              </a:pPr>
              <a:r>
                <a:rPr lang="de-DE" sz="1870" b="0" strike="noStrike" spc="-1" dirty="0">
                  <a:solidFill>
                    <a:sysClr val="windowText" lastClr="000000"/>
                  </a:solidFill>
                  <a:latin typeface="Calibri"/>
                </a:rPr>
                <a:t>100€ ≙ vereinbarter Preis in t</a:t>
              </a:r>
              <a:r>
                <a:rPr lang="de-DE" sz="1868" b="0" strike="noStrike" spc="-1" baseline="-25000" dirty="0">
                  <a:solidFill>
                    <a:sysClr val="windowText" lastClr="000000"/>
                  </a:solidFill>
                  <a:latin typeface="Calibri"/>
                </a:rPr>
                <a:t>0</a:t>
              </a:r>
              <a:r>
                <a:rPr lang="de-DE" sz="1870" b="0" strike="noStrike" spc="-1" dirty="0">
                  <a:solidFill>
                    <a:sysClr val="windowText" lastClr="000000"/>
                  </a:solidFill>
                  <a:latin typeface="Calibri"/>
                </a:rPr>
                <a:t> </a:t>
              </a:r>
              <a:endParaRPr lang="de-DE" sz="1870" b="0" strike="noStrike" spc="-1" dirty="0">
                <a:solidFill>
                  <a:sysClr val="windowText" lastClr="000000"/>
                </a:solidFill>
                <a:latin typeface="Arial"/>
              </a:endParaRPr>
            </a:p>
            <a:p>
              <a:pPr marL="457200">
                <a:lnSpc>
                  <a:spcPct val="100000"/>
                </a:lnSpc>
              </a:pPr>
              <a:r>
                <a:rPr lang="de-DE" sz="1870" b="0" strike="noStrike" spc="-1" dirty="0">
                  <a:solidFill>
                    <a:sysClr val="windowText" lastClr="000000"/>
                  </a:solidFill>
                  <a:latin typeface="Calibri"/>
                </a:rPr>
                <a:t>-&gt; Wert des Futures in t</a:t>
              </a:r>
              <a:r>
                <a:rPr lang="de-DE" sz="1868" b="0" strike="noStrike" spc="-1" baseline="-25000" dirty="0">
                  <a:solidFill>
                    <a:sysClr val="windowText" lastClr="000000"/>
                  </a:solidFill>
                  <a:latin typeface="Calibri"/>
                </a:rPr>
                <a:t>0</a:t>
              </a:r>
              <a:r>
                <a:rPr lang="de-DE" sz="1870" b="0" strike="noStrike" spc="-1" dirty="0">
                  <a:solidFill>
                    <a:sysClr val="windowText" lastClr="000000"/>
                  </a:solidFill>
                  <a:latin typeface="Calibri"/>
                </a:rPr>
                <a:t>: 0€</a:t>
              </a:r>
              <a:endParaRPr lang="de-DE" sz="1870" b="0" strike="noStrike" spc="-1" dirty="0">
                <a:solidFill>
                  <a:sysClr val="windowText" lastClr="000000"/>
                </a:solidFill>
                <a:latin typeface="Arial"/>
              </a:endParaRPr>
            </a:p>
            <a:p>
              <a:pPr>
                <a:lnSpc>
                  <a:spcPct val="100000"/>
                </a:lnSpc>
              </a:pPr>
              <a:endParaRPr lang="de-DE" sz="1870" b="0" strike="noStrike" spc="-1" dirty="0">
                <a:solidFill>
                  <a:sysClr val="windowText" lastClr="000000"/>
                </a:solidFill>
                <a:latin typeface="Arial"/>
              </a:endParaRPr>
            </a:p>
            <a:p>
              <a:pPr>
                <a:lnSpc>
                  <a:spcPct val="100000"/>
                </a:lnSpc>
              </a:pPr>
              <a:r>
                <a:rPr lang="de-DE" sz="1870" b="0" strike="noStrike" spc="-1" dirty="0">
                  <a:solidFill>
                    <a:sysClr val="windowText" lastClr="000000"/>
                  </a:solidFill>
                  <a:latin typeface="Calibri"/>
                </a:rPr>
                <a:t>Getreidepreis zur Fälligkeit des Futures: </a:t>
              </a:r>
              <a:br>
                <a:rPr dirty="0">
                  <a:solidFill>
                    <a:sysClr val="windowText" lastClr="000000"/>
                  </a:solidFill>
                </a:rPr>
              </a:br>
              <a:endParaRPr lang="de-DE" sz="1870" b="0" strike="noStrike" spc="-1" dirty="0">
                <a:solidFill>
                  <a:sysClr val="windowText" lastClr="000000"/>
                </a:solidFill>
                <a:latin typeface="Arial"/>
              </a:endParaRPr>
            </a:p>
            <a:p>
              <a:pPr marL="457200">
                <a:lnSpc>
                  <a:spcPct val="100000"/>
                </a:lnSpc>
              </a:pPr>
              <a:r>
                <a:rPr lang="de-DE" sz="1870" b="0" strike="noStrike" spc="-1" dirty="0">
                  <a:solidFill>
                    <a:sysClr val="windowText" lastClr="000000"/>
                  </a:solidFill>
                  <a:latin typeface="Calibri"/>
                </a:rPr>
                <a:t>150€ → Wert des Futures per t</a:t>
              </a:r>
              <a:r>
                <a:rPr lang="de-DE" sz="1868" b="0" strike="noStrike" spc="-1" baseline="-25000" dirty="0">
                  <a:solidFill>
                    <a:sysClr val="windowText" lastClr="000000"/>
                  </a:solidFill>
                  <a:latin typeface="Calibri"/>
                </a:rPr>
                <a:t>1</a:t>
              </a:r>
              <a:r>
                <a:rPr lang="de-DE" sz="1870" b="0" strike="noStrike" spc="-1" dirty="0">
                  <a:solidFill>
                    <a:sysClr val="windowText" lastClr="000000"/>
                  </a:solidFill>
                  <a:latin typeface="Calibri"/>
                </a:rPr>
                <a:t>: -50€</a:t>
              </a:r>
              <a:br>
                <a:rPr dirty="0">
                  <a:solidFill>
                    <a:sysClr val="windowText" lastClr="000000"/>
                  </a:solidFill>
                </a:rPr>
              </a:br>
              <a:r>
                <a:rPr lang="de-DE" sz="1870" b="0" strike="noStrike" spc="-1" dirty="0">
                  <a:solidFill>
                    <a:sysClr val="windowText" lastClr="000000"/>
                  </a:solidFill>
                  <a:latin typeface="Calibri"/>
                </a:rPr>
                <a:t>d.h. Wert eines Vertrages, das Getreide jetzt für 100€ verkaufen </a:t>
              </a:r>
              <a:r>
                <a:rPr lang="de-DE" sz="1870" b="0" u="sng" strike="noStrike" spc="-1" dirty="0">
                  <a:solidFill>
                    <a:sysClr val="windowText" lastClr="000000"/>
                  </a:solidFill>
                  <a:uFillTx/>
                  <a:latin typeface="Calibri"/>
                </a:rPr>
                <a:t>zu müssen</a:t>
              </a:r>
              <a:endParaRPr lang="de-DE" sz="1870" b="0" strike="noStrike" spc="-1" dirty="0">
                <a:solidFill>
                  <a:sysClr val="windowText" lastClr="000000"/>
                </a:solidFill>
                <a:latin typeface="Arial"/>
              </a:endParaRPr>
            </a:p>
            <a:p>
              <a:pPr>
                <a:lnSpc>
                  <a:spcPct val="100000"/>
                </a:lnSpc>
              </a:pPr>
              <a:endParaRPr lang="de-DE" sz="1870" b="0" strike="noStrike" spc="-1" dirty="0">
                <a:solidFill>
                  <a:sysClr val="windowText" lastClr="000000"/>
                </a:solidFill>
                <a:latin typeface="Arial"/>
              </a:endParaRPr>
            </a:p>
          </p:txBody>
        </p:sp>
      </p:grpSp>
    </p:spTree>
    <p:extLst>
      <p:ext uri="{BB962C8B-B14F-4D97-AF65-F5344CB8AC3E}">
        <p14:creationId xmlns:p14="http://schemas.microsoft.com/office/powerpoint/2010/main" val="4204833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FBB9419-0464-4ACB-AA7C-883B96532956}"/>
              </a:ext>
            </a:extLst>
          </p:cNvPr>
          <p:cNvSpPr>
            <a:spLocks noGrp="1"/>
          </p:cNvSpPr>
          <p:nvPr>
            <p:ph type="sldNum" sz="quarter" idx="10"/>
          </p:nvPr>
        </p:nvSpPr>
        <p:spPr/>
        <p:txBody>
          <a:bodyPr/>
          <a:lstStyle/>
          <a:p>
            <a:fld id="{F966D7FF-EADB-4E92-9989-4DE4533DAC48}" type="slidenum">
              <a:rPr lang="de-DE" smtClean="0"/>
              <a:pPr/>
              <a:t>19</a:t>
            </a:fld>
            <a:endParaRPr lang="de-DE" dirty="0"/>
          </a:p>
        </p:txBody>
      </p:sp>
      <p:sp>
        <p:nvSpPr>
          <p:cNvPr id="3" name="Inhaltsplatzhalter 2">
            <a:extLst>
              <a:ext uri="{FF2B5EF4-FFF2-40B4-BE49-F238E27FC236}">
                <a16:creationId xmlns:a16="http://schemas.microsoft.com/office/drawing/2014/main" id="{D0366C14-4326-49E8-B97A-BA18E9716DE5}"/>
              </a:ext>
            </a:extLst>
          </p:cNvPr>
          <p:cNvSpPr>
            <a:spLocks noGrp="1"/>
          </p:cNvSpPr>
          <p:nvPr>
            <p:ph idx="11"/>
          </p:nvPr>
        </p:nvSpPr>
        <p:spPr/>
        <p:txBody>
          <a:bodyPr/>
          <a:lstStyle/>
          <a:p>
            <a:r>
              <a:rPr lang="de-DE" sz="1200" dirty="0">
                <a:ea typeface="Verdana"/>
                <a:cs typeface="Arial"/>
              </a:rPr>
              <a:t>Einflussfaktoren</a:t>
            </a:r>
            <a:endParaRPr lang="de-DE" sz="1200" dirty="0"/>
          </a:p>
        </p:txBody>
      </p:sp>
      <p:sp>
        <p:nvSpPr>
          <p:cNvPr id="5" name="Inhaltsplatzhalter 4">
            <a:extLst>
              <a:ext uri="{FF2B5EF4-FFF2-40B4-BE49-F238E27FC236}">
                <a16:creationId xmlns:a16="http://schemas.microsoft.com/office/drawing/2014/main" id="{6EE63325-D1B1-42EF-ADB0-BBB541B13BE5}"/>
              </a:ext>
            </a:extLst>
          </p:cNvPr>
          <p:cNvSpPr>
            <a:spLocks noGrp="1"/>
          </p:cNvSpPr>
          <p:nvPr>
            <p:ph idx="12"/>
          </p:nvPr>
        </p:nvSpPr>
        <p:spPr/>
        <p:txBody>
          <a:bodyPr/>
          <a:lstStyle/>
          <a:p>
            <a:r>
              <a:rPr lang="de-DE" dirty="0"/>
              <a:t>Der Terminpreis eines Futures hängt von drei Parametern ab</a:t>
            </a:r>
          </a:p>
        </p:txBody>
      </p:sp>
      <p:grpSp>
        <p:nvGrpSpPr>
          <p:cNvPr id="15" name="Gruppieren 14">
            <a:extLst>
              <a:ext uri="{FF2B5EF4-FFF2-40B4-BE49-F238E27FC236}">
                <a16:creationId xmlns:a16="http://schemas.microsoft.com/office/drawing/2014/main" id="{F67C84DA-E640-49D9-A73F-D473BC8286D1}"/>
              </a:ext>
            </a:extLst>
          </p:cNvPr>
          <p:cNvGrpSpPr/>
          <p:nvPr/>
        </p:nvGrpSpPr>
        <p:grpSpPr>
          <a:xfrm>
            <a:off x="431280" y="1018720"/>
            <a:ext cx="11719800" cy="5278680"/>
            <a:chOff x="431280" y="1018720"/>
            <a:chExt cx="11719800" cy="5278680"/>
          </a:xfrm>
        </p:grpSpPr>
        <p:grpSp>
          <p:nvGrpSpPr>
            <p:cNvPr id="6" name="Group 2">
              <a:extLst>
                <a:ext uri="{FF2B5EF4-FFF2-40B4-BE49-F238E27FC236}">
                  <a16:creationId xmlns:a16="http://schemas.microsoft.com/office/drawing/2014/main" id="{0728E88F-9F91-4CE7-AF0C-63D67F6A78F9}"/>
                </a:ext>
              </a:extLst>
            </p:cNvPr>
            <p:cNvGrpSpPr/>
            <p:nvPr/>
          </p:nvGrpSpPr>
          <p:grpSpPr>
            <a:xfrm>
              <a:off x="2649960" y="1018720"/>
              <a:ext cx="6573960" cy="5278680"/>
              <a:chOff x="2649960" y="1111320"/>
              <a:chExt cx="6573960" cy="5278680"/>
            </a:xfrm>
          </p:grpSpPr>
          <p:sp>
            <p:nvSpPr>
              <p:cNvPr id="7" name="CustomShape 3">
                <a:extLst>
                  <a:ext uri="{FF2B5EF4-FFF2-40B4-BE49-F238E27FC236}">
                    <a16:creationId xmlns:a16="http://schemas.microsoft.com/office/drawing/2014/main" id="{3C150168-6D4C-4292-AF91-9AB5B03954DA}"/>
                  </a:ext>
                </a:extLst>
              </p:cNvPr>
              <p:cNvSpPr/>
              <p:nvPr/>
            </p:nvSpPr>
            <p:spPr>
              <a:xfrm>
                <a:off x="3648960" y="1998000"/>
                <a:ext cx="4601160" cy="3549240"/>
              </a:xfrm>
              <a:prstGeom prst="triangle">
                <a:avLst>
                  <a:gd name="adj" fmla="val 50000"/>
                </a:avLst>
              </a:prstGeom>
              <a:noFill/>
              <a:ln/>
            </p:spPr>
            <p:style>
              <a:lnRef idx="2">
                <a:schemeClr val="accent3"/>
              </a:lnRef>
              <a:fillRef idx="1">
                <a:schemeClr val="lt1"/>
              </a:fillRef>
              <a:effectRef idx="0">
                <a:schemeClr val="accent3"/>
              </a:effectRef>
              <a:fontRef idx="minor"/>
            </p:style>
            <p:txBody>
              <a:bodyPr/>
              <a:lstStyle/>
              <a:p>
                <a:endParaRPr lang="de-DE"/>
              </a:p>
            </p:txBody>
          </p:sp>
          <p:sp>
            <p:nvSpPr>
              <p:cNvPr id="8" name="CustomShape 4">
                <a:extLst>
                  <a:ext uri="{FF2B5EF4-FFF2-40B4-BE49-F238E27FC236}">
                    <a16:creationId xmlns:a16="http://schemas.microsoft.com/office/drawing/2014/main" id="{8546D8D2-834F-47E1-9028-CC45B142BCA5}"/>
                  </a:ext>
                </a:extLst>
              </p:cNvPr>
              <p:cNvSpPr/>
              <p:nvPr/>
            </p:nvSpPr>
            <p:spPr>
              <a:xfrm>
                <a:off x="4950720" y="1111320"/>
                <a:ext cx="1997640" cy="1773360"/>
              </a:xfrm>
              <a:prstGeom prst="ellipse">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140" b="1" strike="noStrike" spc="-1">
                    <a:solidFill>
                      <a:srgbClr val="FFFFFF"/>
                    </a:solidFill>
                    <a:latin typeface="Calibri"/>
                  </a:rPr>
                  <a:t>risikoloser Zins</a:t>
                </a:r>
                <a:endParaRPr lang="de-DE" sz="2140" b="0" strike="noStrike" spc="-1">
                  <a:latin typeface="Arial"/>
                </a:endParaRPr>
              </a:p>
            </p:txBody>
          </p:sp>
          <p:sp>
            <p:nvSpPr>
              <p:cNvPr id="9" name="CustomShape 5">
                <a:extLst>
                  <a:ext uri="{FF2B5EF4-FFF2-40B4-BE49-F238E27FC236}">
                    <a16:creationId xmlns:a16="http://schemas.microsoft.com/office/drawing/2014/main" id="{E75EBA01-D423-4F99-8D14-E02A6F182949}"/>
                  </a:ext>
                </a:extLst>
              </p:cNvPr>
              <p:cNvSpPr/>
              <p:nvPr/>
            </p:nvSpPr>
            <p:spPr>
              <a:xfrm>
                <a:off x="2649960" y="4591080"/>
                <a:ext cx="1997640" cy="1798920"/>
              </a:xfrm>
              <a:prstGeom prst="ellipse">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140" b="1" strike="noStrike" spc="-1">
                    <a:solidFill>
                      <a:srgbClr val="FFFFFF"/>
                    </a:solidFill>
                    <a:latin typeface="Calibri"/>
                  </a:rPr>
                  <a:t>Kassakurs </a:t>
                </a:r>
                <a:r>
                  <a:rPr lang="de-DE" sz="2000" b="1" strike="noStrike" spc="-1">
                    <a:solidFill>
                      <a:srgbClr val="FFFFFF"/>
                    </a:solidFill>
                    <a:latin typeface="Calibri"/>
                  </a:rPr>
                  <a:t>Underlying</a:t>
                </a:r>
                <a:endParaRPr lang="de-DE" sz="2000" b="0" strike="noStrike" spc="-1">
                  <a:latin typeface="Arial"/>
                </a:endParaRPr>
              </a:p>
            </p:txBody>
          </p:sp>
          <p:sp>
            <p:nvSpPr>
              <p:cNvPr id="10" name="CustomShape 6">
                <a:extLst>
                  <a:ext uri="{FF2B5EF4-FFF2-40B4-BE49-F238E27FC236}">
                    <a16:creationId xmlns:a16="http://schemas.microsoft.com/office/drawing/2014/main" id="{D0A659A2-E3D6-4D5F-9F29-85D7A6EB9175}"/>
                  </a:ext>
                </a:extLst>
              </p:cNvPr>
              <p:cNvSpPr/>
              <p:nvPr/>
            </p:nvSpPr>
            <p:spPr>
              <a:xfrm>
                <a:off x="7255800" y="4616280"/>
                <a:ext cx="1968120" cy="1773360"/>
              </a:xfrm>
              <a:prstGeom prst="ellipse">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140" b="1" strike="noStrike" spc="-1">
                    <a:solidFill>
                      <a:srgbClr val="FFFFFF"/>
                    </a:solidFill>
                    <a:latin typeface="Calibri"/>
                  </a:rPr>
                  <a:t>Cost of Carry</a:t>
                </a:r>
                <a:endParaRPr lang="de-DE" sz="2140" b="0" strike="noStrike" spc="-1">
                  <a:latin typeface="Arial"/>
                </a:endParaRPr>
              </a:p>
            </p:txBody>
          </p:sp>
        </p:grpSp>
        <p:sp>
          <p:nvSpPr>
            <p:cNvPr id="11" name="CustomShape 7">
              <a:extLst>
                <a:ext uri="{FF2B5EF4-FFF2-40B4-BE49-F238E27FC236}">
                  <a16:creationId xmlns:a16="http://schemas.microsoft.com/office/drawing/2014/main" id="{0DD20C1B-9108-40E2-96CB-11FAAF8204EF}"/>
                </a:ext>
              </a:extLst>
            </p:cNvPr>
            <p:cNvSpPr/>
            <p:nvPr/>
          </p:nvSpPr>
          <p:spPr>
            <a:xfrm>
              <a:off x="4777560" y="3679480"/>
              <a:ext cx="2435040" cy="106524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3200" b="1" strike="noStrike" spc="-1">
                  <a:solidFill>
                    <a:srgbClr val="000000"/>
                  </a:solidFill>
                  <a:latin typeface="Calibri"/>
                </a:rPr>
                <a:t>Terminpreis</a:t>
              </a:r>
              <a:endParaRPr lang="de-DE" sz="3200" b="0" strike="noStrike" spc="-1">
                <a:latin typeface="Arial"/>
              </a:endParaRPr>
            </a:p>
            <a:p>
              <a:pPr algn="ctr">
                <a:lnSpc>
                  <a:spcPct val="100000"/>
                </a:lnSpc>
              </a:pPr>
              <a:r>
                <a:rPr lang="de-DE" sz="3200" b="1" strike="noStrike" spc="-1">
                  <a:solidFill>
                    <a:srgbClr val="000000"/>
                  </a:solidFill>
                  <a:latin typeface="Calibri"/>
                </a:rPr>
                <a:t>eines Futures</a:t>
              </a:r>
              <a:endParaRPr lang="de-DE" sz="3200" b="0" strike="noStrike" spc="-1">
                <a:latin typeface="Arial"/>
              </a:endParaRPr>
            </a:p>
          </p:txBody>
        </p:sp>
        <p:sp>
          <p:nvSpPr>
            <p:cNvPr id="12" name="CustomShape 8">
              <a:extLst>
                <a:ext uri="{FF2B5EF4-FFF2-40B4-BE49-F238E27FC236}">
                  <a16:creationId xmlns:a16="http://schemas.microsoft.com/office/drawing/2014/main" id="{DDDBB338-3C07-4D3C-AB1A-33FA4BDC873A}"/>
                </a:ext>
              </a:extLst>
            </p:cNvPr>
            <p:cNvSpPr/>
            <p:nvPr/>
          </p:nvSpPr>
          <p:spPr>
            <a:xfrm>
              <a:off x="431280" y="5049280"/>
              <a:ext cx="199764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870" b="0" strike="noStrike" spc="-1">
                  <a:latin typeface="Arial" panose="020B0604020202020204" pitchFamily="34" charset="0"/>
                  <a:cs typeface="Arial" panose="020B0604020202020204" pitchFamily="34" charset="0"/>
                </a:rPr>
                <a:t>Aktueller Börsenpreis</a:t>
              </a:r>
            </a:p>
          </p:txBody>
        </p:sp>
        <p:sp>
          <p:nvSpPr>
            <p:cNvPr id="13" name="CustomShape 9">
              <a:extLst>
                <a:ext uri="{FF2B5EF4-FFF2-40B4-BE49-F238E27FC236}">
                  <a16:creationId xmlns:a16="http://schemas.microsoft.com/office/drawing/2014/main" id="{F8127C84-0720-4BD7-8E76-3CA8374B943C}"/>
                </a:ext>
              </a:extLst>
            </p:cNvPr>
            <p:cNvSpPr/>
            <p:nvPr/>
          </p:nvSpPr>
          <p:spPr>
            <a:xfrm>
              <a:off x="9224280" y="5049280"/>
              <a:ext cx="292680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870" b="0" strike="noStrike" spc="-1">
                  <a:latin typeface="Arial" panose="020B0604020202020204" pitchFamily="34" charset="0"/>
                  <a:cs typeface="Arial" panose="020B0604020202020204" pitchFamily="34" charset="0"/>
                </a:rPr>
                <a:t>z.B. Lagerungskosten </a:t>
              </a:r>
              <a:br>
                <a:rPr>
                  <a:latin typeface="Arial" panose="020B0604020202020204" pitchFamily="34" charset="0"/>
                  <a:cs typeface="Arial" panose="020B0604020202020204" pitchFamily="34" charset="0"/>
                </a:rPr>
              </a:br>
              <a:r>
                <a:rPr lang="de-DE" sz="1870" b="0" strike="noStrike" spc="-1">
                  <a:latin typeface="Arial" panose="020B0604020202020204" pitchFamily="34" charset="0"/>
                  <a:cs typeface="Arial" panose="020B0604020202020204" pitchFamily="34" charset="0"/>
                </a:rPr>
                <a:t>oder Dividenden</a:t>
              </a:r>
            </a:p>
          </p:txBody>
        </p:sp>
        <p:sp>
          <p:nvSpPr>
            <p:cNvPr id="14" name="CustomShape 10">
              <a:extLst>
                <a:ext uri="{FF2B5EF4-FFF2-40B4-BE49-F238E27FC236}">
                  <a16:creationId xmlns:a16="http://schemas.microsoft.com/office/drawing/2014/main" id="{9050E9E0-9E3B-4E5A-B84B-1D02708FB7E3}"/>
                </a:ext>
              </a:extLst>
            </p:cNvPr>
            <p:cNvSpPr/>
            <p:nvPr/>
          </p:nvSpPr>
          <p:spPr>
            <a:xfrm>
              <a:off x="6776640" y="1559800"/>
              <a:ext cx="292680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870" b="0" strike="noStrike" spc="-1" dirty="0">
                  <a:latin typeface="Arial" panose="020B0604020202020204" pitchFamily="34" charset="0"/>
                  <a:cs typeface="Arial" panose="020B0604020202020204" pitchFamily="34" charset="0"/>
                </a:rPr>
                <a:t>Ertrag der risikolosen Alternative</a:t>
              </a:r>
            </a:p>
          </p:txBody>
        </p:sp>
      </p:grpSp>
    </p:spTree>
    <p:extLst>
      <p:ext uri="{BB962C8B-B14F-4D97-AF65-F5344CB8AC3E}">
        <p14:creationId xmlns:p14="http://schemas.microsoft.com/office/powerpoint/2010/main" val="3264696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EBE8E1-E1A3-4B05-B3BE-25D6E53F7B9A}"/>
              </a:ext>
            </a:extLst>
          </p:cNvPr>
          <p:cNvSpPr>
            <a:spLocks noGrp="1"/>
          </p:cNvSpPr>
          <p:nvPr>
            <p:ph type="title"/>
          </p:nvPr>
        </p:nvSpPr>
        <p:spPr/>
        <p:txBody>
          <a:bodyPr/>
          <a:lstStyle/>
          <a:p>
            <a:endParaRPr lang="de-DE" dirty="0"/>
          </a:p>
        </p:txBody>
      </p:sp>
      <p:pic>
        <p:nvPicPr>
          <p:cNvPr id="3" name="Grafik 2">
            <a:extLst>
              <a:ext uri="{FF2B5EF4-FFF2-40B4-BE49-F238E27FC236}">
                <a16:creationId xmlns:a16="http://schemas.microsoft.com/office/drawing/2014/main" id="{2CF8412D-7026-4607-A638-055F31351C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23"/>
            <a:ext cx="12192000" cy="6858000"/>
          </a:xfrm>
          <a:prstGeom prst="rect">
            <a:avLst/>
          </a:prstGeom>
        </p:spPr>
      </p:pic>
    </p:spTree>
    <p:extLst>
      <p:ext uri="{BB962C8B-B14F-4D97-AF65-F5344CB8AC3E}">
        <p14:creationId xmlns:p14="http://schemas.microsoft.com/office/powerpoint/2010/main" val="1382956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2D80B43-7F74-4496-B77E-37D1399AA9B0}"/>
              </a:ext>
            </a:extLst>
          </p:cNvPr>
          <p:cNvSpPr>
            <a:spLocks noGrp="1"/>
          </p:cNvSpPr>
          <p:nvPr>
            <p:ph type="sldNum" sz="quarter" idx="10"/>
          </p:nvPr>
        </p:nvSpPr>
        <p:spPr/>
        <p:txBody>
          <a:bodyPr/>
          <a:lstStyle/>
          <a:p>
            <a:fld id="{F966D7FF-EADB-4E92-9989-4DE4533DAC48}" type="slidenum">
              <a:rPr lang="de-DE" smtClean="0"/>
              <a:pPr/>
              <a:t>20</a:t>
            </a:fld>
            <a:endParaRPr lang="de-DE" dirty="0"/>
          </a:p>
        </p:txBody>
      </p:sp>
      <p:sp>
        <p:nvSpPr>
          <p:cNvPr id="3" name="Inhaltsplatzhalter 2">
            <a:extLst>
              <a:ext uri="{FF2B5EF4-FFF2-40B4-BE49-F238E27FC236}">
                <a16:creationId xmlns:a16="http://schemas.microsoft.com/office/drawing/2014/main" id="{CFE17AD4-D596-4E50-A985-5CB8C5A64C77}"/>
              </a:ext>
            </a:extLst>
          </p:cNvPr>
          <p:cNvSpPr>
            <a:spLocks noGrp="1"/>
          </p:cNvSpPr>
          <p:nvPr>
            <p:ph idx="11"/>
          </p:nvPr>
        </p:nvSpPr>
        <p:spPr/>
        <p:txBody>
          <a:bodyPr/>
          <a:lstStyle/>
          <a:p>
            <a:r>
              <a:rPr lang="de-DE" dirty="0"/>
              <a:t>Terminkurven für Futures</a:t>
            </a:r>
          </a:p>
        </p:txBody>
      </p:sp>
      <p:sp>
        <p:nvSpPr>
          <p:cNvPr id="5" name="Inhaltsplatzhalter 4">
            <a:extLst>
              <a:ext uri="{FF2B5EF4-FFF2-40B4-BE49-F238E27FC236}">
                <a16:creationId xmlns:a16="http://schemas.microsoft.com/office/drawing/2014/main" id="{831DED8C-A5E3-4C0D-B51E-F2CDB8B0AA20}"/>
              </a:ext>
            </a:extLst>
          </p:cNvPr>
          <p:cNvSpPr>
            <a:spLocks noGrp="1"/>
          </p:cNvSpPr>
          <p:nvPr>
            <p:ph idx="12"/>
          </p:nvPr>
        </p:nvSpPr>
        <p:spPr/>
        <p:txBody>
          <a:bodyPr/>
          <a:lstStyle/>
          <a:p>
            <a:r>
              <a:rPr lang="de-DE" dirty="0"/>
              <a:t>Die Terminkurven können entweder in „</a:t>
            </a:r>
            <a:r>
              <a:rPr lang="de-DE" dirty="0" err="1"/>
              <a:t>Contango</a:t>
            </a:r>
            <a:r>
              <a:rPr lang="de-DE" dirty="0"/>
              <a:t>“ oder „</a:t>
            </a:r>
            <a:r>
              <a:rPr lang="de-DE" dirty="0" err="1"/>
              <a:t>Backwardation</a:t>
            </a:r>
            <a:r>
              <a:rPr lang="de-DE" dirty="0"/>
              <a:t>“ sein</a:t>
            </a:r>
          </a:p>
        </p:txBody>
      </p:sp>
      <p:grpSp>
        <p:nvGrpSpPr>
          <p:cNvPr id="32" name="Gruppieren 31">
            <a:extLst>
              <a:ext uri="{FF2B5EF4-FFF2-40B4-BE49-F238E27FC236}">
                <a16:creationId xmlns:a16="http://schemas.microsoft.com/office/drawing/2014/main" id="{A877215A-1A2B-4221-809D-E325C86328B9}"/>
              </a:ext>
            </a:extLst>
          </p:cNvPr>
          <p:cNvGrpSpPr/>
          <p:nvPr/>
        </p:nvGrpSpPr>
        <p:grpSpPr>
          <a:xfrm>
            <a:off x="1576455" y="1691376"/>
            <a:ext cx="8757731" cy="4292642"/>
            <a:chOff x="823206" y="1247613"/>
            <a:chExt cx="8757731" cy="4292642"/>
          </a:xfrm>
        </p:grpSpPr>
        <p:sp>
          <p:nvSpPr>
            <p:cNvPr id="6" name="CustomShape 4">
              <a:extLst>
                <a:ext uri="{FF2B5EF4-FFF2-40B4-BE49-F238E27FC236}">
                  <a16:creationId xmlns:a16="http://schemas.microsoft.com/office/drawing/2014/main" id="{D98EDDA5-DFF6-4605-9061-4AD5110155CE}"/>
                </a:ext>
              </a:extLst>
            </p:cNvPr>
            <p:cNvSpPr/>
            <p:nvPr/>
          </p:nvSpPr>
          <p:spPr>
            <a:xfrm>
              <a:off x="4101207" y="4962455"/>
              <a:ext cx="2148480" cy="57780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de-DE" sz="3200" b="1" strike="noStrike" spc="-1" dirty="0">
                  <a:solidFill>
                    <a:srgbClr val="808080"/>
                  </a:solidFill>
                  <a:uFill>
                    <a:solidFill>
                      <a:srgbClr val="FFFFFF"/>
                    </a:solidFill>
                  </a:uFill>
                  <a:latin typeface="Arial" panose="020B0604020202020204" pitchFamily="34" charset="0"/>
                  <a:cs typeface="Arial" panose="020B0604020202020204" pitchFamily="34" charset="0"/>
                </a:rPr>
                <a:t>L a u f z e i t</a:t>
              </a:r>
              <a:endParaRPr lang="de-DE" sz="1800" b="0" strike="noStrike" spc="-1" dirty="0">
                <a:solidFill>
                  <a:srgbClr val="000000"/>
                </a:solidFill>
                <a:uFill>
                  <a:solidFill>
                    <a:srgbClr val="FFFFFF"/>
                  </a:solidFill>
                </a:uFill>
                <a:latin typeface="Arial" panose="020B0604020202020204" pitchFamily="34" charset="0"/>
                <a:cs typeface="Arial" panose="020B0604020202020204" pitchFamily="34" charset="0"/>
              </a:endParaRPr>
            </a:p>
          </p:txBody>
        </p:sp>
        <p:sp>
          <p:nvSpPr>
            <p:cNvPr id="7" name="CustomShape 4">
              <a:extLst>
                <a:ext uri="{FF2B5EF4-FFF2-40B4-BE49-F238E27FC236}">
                  <a16:creationId xmlns:a16="http://schemas.microsoft.com/office/drawing/2014/main" id="{46C44FAE-DA2A-423B-9ACF-388CF5FDE7BC}"/>
                </a:ext>
              </a:extLst>
            </p:cNvPr>
            <p:cNvSpPr/>
            <p:nvPr/>
          </p:nvSpPr>
          <p:spPr>
            <a:xfrm>
              <a:off x="823206" y="1247613"/>
              <a:ext cx="2148480" cy="57780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lstStyle/>
            <a:p>
              <a:pPr>
                <a:lnSpc>
                  <a:spcPct val="100000"/>
                </a:lnSpc>
              </a:pPr>
              <a:r>
                <a:rPr lang="de-DE" sz="3200" b="1" strike="noStrike" spc="-1" dirty="0">
                  <a:solidFill>
                    <a:srgbClr val="808080"/>
                  </a:solidFill>
                  <a:uFill>
                    <a:solidFill>
                      <a:srgbClr val="FFFFFF"/>
                    </a:solidFill>
                  </a:uFill>
                  <a:latin typeface="Arial" panose="020B0604020202020204" pitchFamily="34" charset="0"/>
                  <a:cs typeface="Arial" panose="020B0604020202020204" pitchFamily="34" charset="0"/>
                </a:rPr>
                <a:t>Preis</a:t>
              </a:r>
              <a:endParaRPr lang="de-DE" sz="1800" b="0" strike="noStrike" spc="-1" dirty="0">
                <a:solidFill>
                  <a:srgbClr val="000000"/>
                </a:solidFill>
                <a:uFill>
                  <a:solidFill>
                    <a:srgbClr val="FFFFFF"/>
                  </a:solidFill>
                </a:uFill>
                <a:latin typeface="Arial" panose="020B0604020202020204" pitchFamily="34" charset="0"/>
                <a:cs typeface="Arial" panose="020B0604020202020204" pitchFamily="34" charset="0"/>
              </a:endParaRPr>
            </a:p>
          </p:txBody>
        </p:sp>
        <p:cxnSp>
          <p:nvCxnSpPr>
            <p:cNvPr id="8" name="Gerade Verbindung 4">
              <a:extLst>
                <a:ext uri="{FF2B5EF4-FFF2-40B4-BE49-F238E27FC236}">
                  <a16:creationId xmlns:a16="http://schemas.microsoft.com/office/drawing/2014/main" id="{E687981E-70C3-4DC0-BB27-F9FA9491F0FA}"/>
                </a:ext>
              </a:extLst>
            </p:cNvPr>
            <p:cNvCxnSpPr/>
            <p:nvPr/>
          </p:nvCxnSpPr>
          <p:spPr>
            <a:xfrm flipV="1">
              <a:off x="1540095" y="2490655"/>
              <a:ext cx="4032448" cy="2134648"/>
            </a:xfrm>
            <a:prstGeom prst="line">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9" name="Gerade Verbindung 15">
              <a:extLst>
                <a:ext uri="{FF2B5EF4-FFF2-40B4-BE49-F238E27FC236}">
                  <a16:creationId xmlns:a16="http://schemas.microsoft.com/office/drawing/2014/main" id="{2D2DE3DF-4776-4B3F-B9CF-00546E61DD1C}"/>
                </a:ext>
              </a:extLst>
            </p:cNvPr>
            <p:cNvCxnSpPr/>
            <p:nvPr/>
          </p:nvCxnSpPr>
          <p:spPr>
            <a:xfrm>
              <a:off x="1612103" y="2321047"/>
              <a:ext cx="3960440" cy="2304256"/>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10" name="Flussdiagramm: Verbindungsstelle 9">
              <a:extLst>
                <a:ext uri="{FF2B5EF4-FFF2-40B4-BE49-F238E27FC236}">
                  <a16:creationId xmlns:a16="http://schemas.microsoft.com/office/drawing/2014/main" id="{B9C69856-781A-4F89-8D61-CCF9304BBEDF}"/>
                </a:ext>
              </a:extLst>
            </p:cNvPr>
            <p:cNvSpPr/>
            <p:nvPr/>
          </p:nvSpPr>
          <p:spPr>
            <a:xfrm>
              <a:off x="1924033" y="4337271"/>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1" name="Flussdiagramm: Verbindungsstelle 20">
              <a:extLst>
                <a:ext uri="{FF2B5EF4-FFF2-40B4-BE49-F238E27FC236}">
                  <a16:creationId xmlns:a16="http://schemas.microsoft.com/office/drawing/2014/main" id="{8F5BFCD4-D75E-44DD-A232-B9F2C01A28DC}"/>
                </a:ext>
              </a:extLst>
            </p:cNvPr>
            <p:cNvSpPr/>
            <p:nvPr/>
          </p:nvSpPr>
          <p:spPr>
            <a:xfrm>
              <a:off x="2763298" y="3885109"/>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2" name="Flussdiagramm: Verbindungsstelle 21">
              <a:extLst>
                <a:ext uri="{FF2B5EF4-FFF2-40B4-BE49-F238E27FC236}">
                  <a16:creationId xmlns:a16="http://schemas.microsoft.com/office/drawing/2014/main" id="{34B10B24-B2DC-44BA-AE67-934E5E650E8A}"/>
                </a:ext>
              </a:extLst>
            </p:cNvPr>
            <p:cNvSpPr/>
            <p:nvPr/>
          </p:nvSpPr>
          <p:spPr>
            <a:xfrm>
              <a:off x="3597119" y="3432933"/>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3" name="Flussdiagramm: Verbindungsstelle 22">
              <a:extLst>
                <a:ext uri="{FF2B5EF4-FFF2-40B4-BE49-F238E27FC236}">
                  <a16:creationId xmlns:a16="http://schemas.microsoft.com/office/drawing/2014/main" id="{3E423E49-696A-428F-B2AE-B2675C710A02}"/>
                </a:ext>
              </a:extLst>
            </p:cNvPr>
            <p:cNvSpPr/>
            <p:nvPr/>
          </p:nvSpPr>
          <p:spPr>
            <a:xfrm>
              <a:off x="4514426" y="2952638"/>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4" name="Flussdiagramm: Verbindungsstelle 23">
              <a:extLst>
                <a:ext uri="{FF2B5EF4-FFF2-40B4-BE49-F238E27FC236}">
                  <a16:creationId xmlns:a16="http://schemas.microsoft.com/office/drawing/2014/main" id="{46A4B9F4-1817-460E-9205-0399A5335826}"/>
                </a:ext>
              </a:extLst>
            </p:cNvPr>
            <p:cNvSpPr/>
            <p:nvPr/>
          </p:nvSpPr>
          <p:spPr>
            <a:xfrm>
              <a:off x="5305061" y="2547805"/>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5" name="Flussdiagramm: Verbindungsstelle 24">
              <a:extLst>
                <a:ext uri="{FF2B5EF4-FFF2-40B4-BE49-F238E27FC236}">
                  <a16:creationId xmlns:a16="http://schemas.microsoft.com/office/drawing/2014/main" id="{EAF195F0-43DB-4742-A7DA-BA8F802555D7}"/>
                </a:ext>
              </a:extLst>
            </p:cNvPr>
            <p:cNvSpPr/>
            <p:nvPr/>
          </p:nvSpPr>
          <p:spPr>
            <a:xfrm>
              <a:off x="1902589" y="2490655"/>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6" name="Flussdiagramm: Verbindungsstelle 25">
              <a:extLst>
                <a:ext uri="{FF2B5EF4-FFF2-40B4-BE49-F238E27FC236}">
                  <a16:creationId xmlns:a16="http://schemas.microsoft.com/office/drawing/2014/main" id="{390E0669-F2A1-49A8-9E46-5DA0434E7970}"/>
                </a:ext>
              </a:extLst>
            </p:cNvPr>
            <p:cNvSpPr/>
            <p:nvPr/>
          </p:nvSpPr>
          <p:spPr>
            <a:xfrm>
              <a:off x="2734723" y="2948953"/>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7" name="Flussdiagramm: Verbindungsstelle 26">
              <a:extLst>
                <a:ext uri="{FF2B5EF4-FFF2-40B4-BE49-F238E27FC236}">
                  <a16:creationId xmlns:a16="http://schemas.microsoft.com/office/drawing/2014/main" id="{B69FA23C-5544-4244-88C6-62B0E23DF547}"/>
                </a:ext>
              </a:extLst>
            </p:cNvPr>
            <p:cNvSpPr/>
            <p:nvPr/>
          </p:nvSpPr>
          <p:spPr>
            <a:xfrm>
              <a:off x="3606020" y="3432933"/>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8" name="Flussdiagramm: Verbindungsstelle 27">
              <a:extLst>
                <a:ext uri="{FF2B5EF4-FFF2-40B4-BE49-F238E27FC236}">
                  <a16:creationId xmlns:a16="http://schemas.microsoft.com/office/drawing/2014/main" id="{B7B53EF8-1CDA-4852-B8A9-C9E31F143880}"/>
                </a:ext>
              </a:extLst>
            </p:cNvPr>
            <p:cNvSpPr/>
            <p:nvPr/>
          </p:nvSpPr>
          <p:spPr>
            <a:xfrm>
              <a:off x="4500139" y="3963861"/>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19" name="Flussdiagramm: Verbindungsstelle 28">
              <a:extLst>
                <a:ext uri="{FF2B5EF4-FFF2-40B4-BE49-F238E27FC236}">
                  <a16:creationId xmlns:a16="http://schemas.microsoft.com/office/drawing/2014/main" id="{2FEC456E-1D7B-45CE-96D0-5B602A35CC6A}"/>
                </a:ext>
              </a:extLst>
            </p:cNvPr>
            <p:cNvSpPr/>
            <p:nvPr/>
          </p:nvSpPr>
          <p:spPr>
            <a:xfrm>
              <a:off x="5335532" y="4451571"/>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cxnSp>
          <p:nvCxnSpPr>
            <p:cNvPr id="20" name="Gerade Verbindung 13">
              <a:extLst>
                <a:ext uri="{FF2B5EF4-FFF2-40B4-BE49-F238E27FC236}">
                  <a16:creationId xmlns:a16="http://schemas.microsoft.com/office/drawing/2014/main" id="{74E011AE-A7C8-4B85-8890-797C75BC025E}"/>
                </a:ext>
              </a:extLst>
            </p:cNvPr>
            <p:cNvCxnSpPr/>
            <p:nvPr/>
          </p:nvCxnSpPr>
          <p:spPr>
            <a:xfrm flipH="1" flipV="1">
              <a:off x="1952608" y="2071981"/>
              <a:ext cx="28575" cy="2914136"/>
            </a:xfrm>
            <a:prstGeom prst="line">
              <a:avLst/>
            </a:prstGeom>
            <a:ln w="952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33">
              <a:extLst>
                <a:ext uri="{FF2B5EF4-FFF2-40B4-BE49-F238E27FC236}">
                  <a16:creationId xmlns:a16="http://schemas.microsoft.com/office/drawing/2014/main" id="{1EB1D305-0262-4EA5-917D-2B04E2E5B20F}"/>
                </a:ext>
              </a:extLst>
            </p:cNvPr>
            <p:cNvCxnSpPr/>
            <p:nvPr/>
          </p:nvCxnSpPr>
          <p:spPr>
            <a:xfrm flipH="1" flipV="1">
              <a:off x="2792283" y="2090165"/>
              <a:ext cx="28575" cy="2914136"/>
            </a:xfrm>
            <a:prstGeom prst="line">
              <a:avLst/>
            </a:prstGeom>
            <a:ln w="952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34">
              <a:extLst>
                <a:ext uri="{FF2B5EF4-FFF2-40B4-BE49-F238E27FC236}">
                  <a16:creationId xmlns:a16="http://schemas.microsoft.com/office/drawing/2014/main" id="{EE576E53-E425-4A1F-9EBF-9EA68C1123EE}"/>
                </a:ext>
              </a:extLst>
            </p:cNvPr>
            <p:cNvCxnSpPr/>
            <p:nvPr/>
          </p:nvCxnSpPr>
          <p:spPr>
            <a:xfrm flipH="1" flipV="1">
              <a:off x="3648882" y="2055788"/>
              <a:ext cx="28575" cy="2914136"/>
            </a:xfrm>
            <a:prstGeom prst="line">
              <a:avLst/>
            </a:prstGeom>
            <a:ln w="952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3" name="Gerade Verbindung 35">
              <a:extLst>
                <a:ext uri="{FF2B5EF4-FFF2-40B4-BE49-F238E27FC236}">
                  <a16:creationId xmlns:a16="http://schemas.microsoft.com/office/drawing/2014/main" id="{9B837C29-4134-4DBD-BB4E-078127223DD9}"/>
                </a:ext>
              </a:extLst>
            </p:cNvPr>
            <p:cNvCxnSpPr/>
            <p:nvPr/>
          </p:nvCxnSpPr>
          <p:spPr>
            <a:xfrm flipH="1" flipV="1">
              <a:off x="5364107" y="2080517"/>
              <a:ext cx="28575" cy="2914136"/>
            </a:xfrm>
            <a:prstGeom prst="line">
              <a:avLst/>
            </a:prstGeom>
            <a:ln w="952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36">
              <a:extLst>
                <a:ext uri="{FF2B5EF4-FFF2-40B4-BE49-F238E27FC236}">
                  <a16:creationId xmlns:a16="http://schemas.microsoft.com/office/drawing/2014/main" id="{58A74753-9EA8-4E98-A727-9105BC528666}"/>
                </a:ext>
              </a:extLst>
            </p:cNvPr>
            <p:cNvCxnSpPr/>
            <p:nvPr/>
          </p:nvCxnSpPr>
          <p:spPr>
            <a:xfrm flipH="1" flipV="1">
              <a:off x="4557289" y="2055825"/>
              <a:ext cx="28575" cy="2914136"/>
            </a:xfrm>
            <a:prstGeom prst="line">
              <a:avLst/>
            </a:prstGeom>
            <a:ln w="9525">
              <a:solidFill>
                <a:schemeClr val="tx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C915AFF8-B849-4B67-B281-E7838E87B0E2}"/>
                </a:ext>
              </a:extLst>
            </p:cNvPr>
            <p:cNvCxnSpPr/>
            <p:nvPr/>
          </p:nvCxnSpPr>
          <p:spPr>
            <a:xfrm>
              <a:off x="1125807" y="4986117"/>
              <a:ext cx="6246936" cy="0"/>
            </a:xfrm>
            <a:prstGeom prst="straightConnector1">
              <a:avLst/>
            </a:prstGeom>
            <a:ln w="28575">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0B6368C3-D61A-4171-8561-5CD0A76614E4}"/>
                </a:ext>
              </a:extLst>
            </p:cNvPr>
            <p:cNvCxnSpPr/>
            <p:nvPr/>
          </p:nvCxnSpPr>
          <p:spPr>
            <a:xfrm flipV="1">
              <a:off x="1122944" y="1841569"/>
              <a:ext cx="0" cy="3144548"/>
            </a:xfrm>
            <a:prstGeom prst="straightConnector1">
              <a:avLst/>
            </a:prstGeom>
            <a:ln w="28575">
              <a:solidFill>
                <a:schemeClr val="tx1"/>
              </a:solidFill>
              <a:tailEnd type="triangle" w="med" len="lg"/>
            </a:ln>
          </p:spPr>
          <p:style>
            <a:lnRef idx="1">
              <a:schemeClr val="accent1"/>
            </a:lnRef>
            <a:fillRef idx="0">
              <a:schemeClr val="accent1"/>
            </a:fillRef>
            <a:effectRef idx="0">
              <a:schemeClr val="accent1"/>
            </a:effectRef>
            <a:fontRef idx="minor">
              <a:schemeClr val="tx1"/>
            </a:fontRef>
          </p:style>
        </p:cxnSp>
        <p:sp>
          <p:nvSpPr>
            <p:cNvPr id="27" name="Flussdiagramm: Verbindungsstelle 54">
              <a:extLst>
                <a:ext uri="{FF2B5EF4-FFF2-40B4-BE49-F238E27FC236}">
                  <a16:creationId xmlns:a16="http://schemas.microsoft.com/office/drawing/2014/main" id="{7340395B-D594-46C6-8681-764B2EF4AF2D}"/>
                </a:ext>
              </a:extLst>
            </p:cNvPr>
            <p:cNvSpPr/>
            <p:nvPr/>
          </p:nvSpPr>
          <p:spPr>
            <a:xfrm>
              <a:off x="6868687" y="3006103"/>
              <a:ext cx="114300" cy="114300"/>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8" name="Flussdiagramm: Verbindungsstelle 55">
              <a:extLst>
                <a:ext uri="{FF2B5EF4-FFF2-40B4-BE49-F238E27FC236}">
                  <a16:creationId xmlns:a16="http://schemas.microsoft.com/office/drawing/2014/main" id="{0FA6DB29-CB68-446C-8E80-F2837458D1FD}"/>
                </a:ext>
              </a:extLst>
            </p:cNvPr>
            <p:cNvSpPr/>
            <p:nvPr/>
          </p:nvSpPr>
          <p:spPr>
            <a:xfrm>
              <a:off x="6868687" y="2450003"/>
              <a:ext cx="114300" cy="1143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29" name="Textfeld 28">
              <a:extLst>
                <a:ext uri="{FF2B5EF4-FFF2-40B4-BE49-F238E27FC236}">
                  <a16:creationId xmlns:a16="http://schemas.microsoft.com/office/drawing/2014/main" id="{BBEDA12C-CC1E-44E8-BDDB-B99F23180F71}"/>
                </a:ext>
              </a:extLst>
            </p:cNvPr>
            <p:cNvSpPr txBox="1"/>
            <p:nvPr/>
          </p:nvSpPr>
          <p:spPr>
            <a:xfrm>
              <a:off x="6976117" y="2291709"/>
              <a:ext cx="1728192" cy="430887"/>
            </a:xfrm>
            <a:prstGeom prst="rect">
              <a:avLst/>
            </a:prstGeom>
            <a:noFill/>
          </p:spPr>
          <p:txBody>
            <a:bodyPr wrap="square" rtlCol="0">
              <a:spAutoFit/>
            </a:bodyPr>
            <a:lstStyle/>
            <a:p>
              <a:r>
                <a:rPr lang="de-DE" sz="2200" b="1" err="1">
                  <a:latin typeface="Arial" panose="020B0604020202020204" pitchFamily="34" charset="0"/>
                  <a:cs typeface="Arial" panose="020B0604020202020204" pitchFamily="34" charset="0"/>
                </a:rPr>
                <a:t>Contango</a:t>
              </a:r>
              <a:endParaRPr lang="en-GB" sz="2200" b="1">
                <a:latin typeface="Arial" panose="020B0604020202020204" pitchFamily="34" charset="0"/>
                <a:cs typeface="Arial" panose="020B0604020202020204" pitchFamily="34" charset="0"/>
              </a:endParaRPr>
            </a:p>
          </p:txBody>
        </p:sp>
        <p:sp>
          <p:nvSpPr>
            <p:cNvPr id="30" name="Textfeld 29">
              <a:extLst>
                <a:ext uri="{FF2B5EF4-FFF2-40B4-BE49-F238E27FC236}">
                  <a16:creationId xmlns:a16="http://schemas.microsoft.com/office/drawing/2014/main" id="{94D8DBD7-54CF-49D0-A07F-FFBD3A627DEC}"/>
                </a:ext>
              </a:extLst>
            </p:cNvPr>
            <p:cNvSpPr txBox="1"/>
            <p:nvPr/>
          </p:nvSpPr>
          <p:spPr>
            <a:xfrm>
              <a:off x="6976117" y="2847809"/>
              <a:ext cx="2412850" cy="430887"/>
            </a:xfrm>
            <a:prstGeom prst="rect">
              <a:avLst/>
            </a:prstGeom>
            <a:noFill/>
          </p:spPr>
          <p:txBody>
            <a:bodyPr wrap="square" rtlCol="0">
              <a:spAutoFit/>
            </a:bodyPr>
            <a:lstStyle/>
            <a:p>
              <a:r>
                <a:rPr lang="de-DE" sz="2200" b="1" err="1">
                  <a:latin typeface="Arial" panose="020B0604020202020204" pitchFamily="34" charset="0"/>
                  <a:cs typeface="Arial" panose="020B0604020202020204" pitchFamily="34" charset="0"/>
                </a:rPr>
                <a:t>Backwardation</a:t>
              </a:r>
              <a:endParaRPr lang="en-GB" sz="2200" b="1">
                <a:latin typeface="Arial" panose="020B0604020202020204" pitchFamily="34" charset="0"/>
                <a:cs typeface="Arial" panose="020B0604020202020204" pitchFamily="34" charset="0"/>
              </a:endParaRPr>
            </a:p>
          </p:txBody>
        </p:sp>
        <p:sp>
          <p:nvSpPr>
            <p:cNvPr id="31" name="Textfeld 30">
              <a:extLst>
                <a:ext uri="{FF2B5EF4-FFF2-40B4-BE49-F238E27FC236}">
                  <a16:creationId xmlns:a16="http://schemas.microsoft.com/office/drawing/2014/main" id="{2C42B0F7-2233-4AD2-AF88-E9A8EE5B750B}"/>
                </a:ext>
              </a:extLst>
            </p:cNvPr>
            <p:cNvSpPr txBox="1"/>
            <p:nvPr/>
          </p:nvSpPr>
          <p:spPr>
            <a:xfrm>
              <a:off x="6616022" y="3853420"/>
              <a:ext cx="2964915" cy="1015663"/>
            </a:xfrm>
            <a:prstGeom prst="rect">
              <a:avLst/>
            </a:prstGeom>
          </p:spPr>
          <p:txBody>
            <a:bodyPr wrap="square" rtlCol="0">
              <a:spAutoFit/>
            </a:bodyPr>
            <a:lstStyle/>
            <a:p>
              <a:pPr marL="342900" marR="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pPr>
              <a:r>
                <a:rPr kumimoji="0" lang="de-DE" sz="2000" b="1" i="0" u="none" strike="noStrike" kern="1200" cap="none" spc="0" normalizeH="0" baseline="0" noProof="0" dirty="0">
                  <a:ln>
                    <a:noFill/>
                  </a:ln>
                  <a:effectLst/>
                  <a:uLnTx/>
                  <a:uFillTx/>
                  <a:latin typeface="Arial" panose="020B0604020202020204" pitchFamily="34" charset="0"/>
                  <a:cs typeface="Arial" panose="020B0604020202020204" pitchFamily="34" charset="0"/>
                </a:rPr>
                <a:t>Bei Financial Futures nur begrenzt gegeben</a:t>
              </a:r>
            </a:p>
          </p:txBody>
        </p:sp>
      </p:grpSp>
    </p:spTree>
    <p:extLst>
      <p:ext uri="{BB962C8B-B14F-4D97-AF65-F5344CB8AC3E}">
        <p14:creationId xmlns:p14="http://schemas.microsoft.com/office/powerpoint/2010/main" val="2656614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6F170BD-2533-4475-8F03-DC7F73DF8CDA}"/>
              </a:ext>
            </a:extLst>
          </p:cNvPr>
          <p:cNvSpPr>
            <a:spLocks noGrp="1"/>
          </p:cNvSpPr>
          <p:nvPr>
            <p:ph type="sldNum" sz="quarter" idx="10"/>
          </p:nvPr>
        </p:nvSpPr>
        <p:spPr/>
        <p:txBody>
          <a:bodyPr/>
          <a:lstStyle/>
          <a:p>
            <a:fld id="{F966D7FF-EADB-4E92-9989-4DE4533DAC48}" type="slidenum">
              <a:rPr lang="de-DE" smtClean="0"/>
              <a:pPr/>
              <a:t>21</a:t>
            </a:fld>
            <a:endParaRPr lang="de-DE" dirty="0"/>
          </a:p>
        </p:txBody>
      </p:sp>
      <p:sp>
        <p:nvSpPr>
          <p:cNvPr id="3" name="Inhaltsplatzhalter 2">
            <a:extLst>
              <a:ext uri="{FF2B5EF4-FFF2-40B4-BE49-F238E27FC236}">
                <a16:creationId xmlns:a16="http://schemas.microsoft.com/office/drawing/2014/main" id="{34BFA6D6-2C10-41ED-8167-6500BE7A50A6}"/>
              </a:ext>
            </a:extLst>
          </p:cNvPr>
          <p:cNvSpPr>
            <a:spLocks noGrp="1"/>
          </p:cNvSpPr>
          <p:nvPr>
            <p:ph idx="11"/>
          </p:nvPr>
        </p:nvSpPr>
        <p:spPr/>
        <p:txBody>
          <a:bodyPr/>
          <a:lstStyle/>
          <a:p>
            <a:r>
              <a:rPr lang="de-DE" dirty="0"/>
              <a:t>Terminkurven für Futures</a:t>
            </a:r>
          </a:p>
        </p:txBody>
      </p:sp>
      <p:sp>
        <p:nvSpPr>
          <p:cNvPr id="5" name="Inhaltsplatzhalter 4">
            <a:extLst>
              <a:ext uri="{FF2B5EF4-FFF2-40B4-BE49-F238E27FC236}">
                <a16:creationId xmlns:a16="http://schemas.microsoft.com/office/drawing/2014/main" id="{744DCF75-0A85-4493-8759-B6476809A3E4}"/>
              </a:ext>
            </a:extLst>
          </p:cNvPr>
          <p:cNvSpPr>
            <a:spLocks noGrp="1"/>
          </p:cNvSpPr>
          <p:nvPr>
            <p:ph idx="12"/>
          </p:nvPr>
        </p:nvSpPr>
        <p:spPr/>
        <p:txBody>
          <a:bodyPr/>
          <a:lstStyle/>
          <a:p>
            <a:r>
              <a:rPr lang="de-DE" dirty="0"/>
              <a:t>Wenn Vorteil aus physischem Besitz des Underlyings bestehen, gibt es eine </a:t>
            </a:r>
            <a:r>
              <a:rPr lang="de-DE" dirty="0" err="1"/>
              <a:t>Backwardation</a:t>
            </a:r>
            <a:r>
              <a:rPr lang="de-DE" dirty="0"/>
              <a:t>-Situation</a:t>
            </a:r>
          </a:p>
        </p:txBody>
      </p:sp>
      <p:pic>
        <p:nvPicPr>
          <p:cNvPr id="7" name="Picture 2">
            <a:extLst>
              <a:ext uri="{FF2B5EF4-FFF2-40B4-BE49-F238E27FC236}">
                <a16:creationId xmlns:a16="http://schemas.microsoft.com/office/drawing/2014/main" id="{66F47970-90B8-45E0-81C7-66F23E9166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37" t="707" r="1345" b="1941"/>
          <a:stretch/>
        </p:blipFill>
        <p:spPr bwMode="auto">
          <a:xfrm>
            <a:off x="714112" y="1496227"/>
            <a:ext cx="4772598" cy="4590000"/>
          </a:xfrm>
          <a:prstGeom prst="rect">
            <a:avLst/>
          </a:prstGeom>
          <a:noFill/>
          <a:extLst>
            <a:ext uri="{909E8E84-426E-40DD-AFC4-6F175D3DCCD1}">
              <a14:hiddenFill xmlns:a14="http://schemas.microsoft.com/office/drawing/2010/main">
                <a:solidFill>
                  <a:srgbClr val="FFFFFF"/>
                </a:solidFill>
              </a14:hiddenFill>
            </a:ext>
          </a:extLst>
        </p:spPr>
      </p:pic>
      <p:pic>
        <p:nvPicPr>
          <p:cNvPr id="9" name="Grafik 8">
            <a:extLst>
              <a:ext uri="{FF2B5EF4-FFF2-40B4-BE49-F238E27FC236}">
                <a16:creationId xmlns:a16="http://schemas.microsoft.com/office/drawing/2014/main" id="{152A122D-EAF7-4CDA-97AA-38DF3BF784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8406" y="1496227"/>
            <a:ext cx="4772598" cy="4601516"/>
          </a:xfrm>
          <a:prstGeom prst="rect">
            <a:avLst/>
          </a:prstGeom>
        </p:spPr>
      </p:pic>
    </p:spTree>
    <p:extLst>
      <p:ext uri="{BB962C8B-B14F-4D97-AF65-F5344CB8AC3E}">
        <p14:creationId xmlns:p14="http://schemas.microsoft.com/office/powerpoint/2010/main" val="2410173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20CF5CD-E410-47BF-A043-CFD7721E935E}"/>
              </a:ext>
            </a:extLst>
          </p:cNvPr>
          <p:cNvSpPr>
            <a:spLocks noGrp="1"/>
          </p:cNvSpPr>
          <p:nvPr>
            <p:ph type="sldNum" sz="quarter" idx="10"/>
          </p:nvPr>
        </p:nvSpPr>
        <p:spPr/>
        <p:txBody>
          <a:bodyPr/>
          <a:lstStyle/>
          <a:p>
            <a:fld id="{F966D7FF-EADB-4E92-9989-4DE4533DAC48}" type="slidenum">
              <a:rPr lang="de-DE" smtClean="0"/>
              <a:pPr/>
              <a:t>22</a:t>
            </a:fld>
            <a:endParaRPr lang="de-DE" dirty="0"/>
          </a:p>
        </p:txBody>
      </p:sp>
      <p:sp>
        <p:nvSpPr>
          <p:cNvPr id="3" name="Inhaltsplatzhalter 2">
            <a:extLst>
              <a:ext uri="{FF2B5EF4-FFF2-40B4-BE49-F238E27FC236}">
                <a16:creationId xmlns:a16="http://schemas.microsoft.com/office/drawing/2014/main" id="{3281143D-01EC-45D8-AD5B-88DD92B4185B}"/>
              </a:ext>
            </a:extLst>
          </p:cNvPr>
          <p:cNvSpPr>
            <a:spLocks noGrp="1"/>
          </p:cNvSpPr>
          <p:nvPr>
            <p:ph idx="11"/>
          </p:nvPr>
        </p:nvSpPr>
        <p:spPr/>
        <p:txBody>
          <a:bodyPr/>
          <a:lstStyle/>
          <a:p>
            <a:r>
              <a:rPr lang="de-DE" sz="1200" dirty="0" err="1">
                <a:ea typeface="Verdana"/>
                <a:cs typeface="Arial"/>
              </a:rPr>
              <a:t>Futurepreisentwicklung</a:t>
            </a:r>
            <a:endParaRPr lang="de-DE" sz="1200" dirty="0"/>
          </a:p>
        </p:txBody>
      </p:sp>
      <p:sp>
        <p:nvSpPr>
          <p:cNvPr id="5" name="Inhaltsplatzhalter 4">
            <a:extLst>
              <a:ext uri="{FF2B5EF4-FFF2-40B4-BE49-F238E27FC236}">
                <a16:creationId xmlns:a16="http://schemas.microsoft.com/office/drawing/2014/main" id="{D0A06EA1-EB43-45C1-81D8-2E851173EA24}"/>
              </a:ext>
            </a:extLst>
          </p:cNvPr>
          <p:cNvSpPr>
            <a:spLocks noGrp="1"/>
          </p:cNvSpPr>
          <p:nvPr>
            <p:ph idx="12"/>
          </p:nvPr>
        </p:nvSpPr>
        <p:spPr/>
        <p:txBody>
          <a:bodyPr/>
          <a:lstStyle/>
          <a:p>
            <a:r>
              <a:rPr lang="de-DE" dirty="0"/>
              <a:t>Bei physischen Futures gibt es u.a. aufgrund der Lagerungskosten in der Regel eine </a:t>
            </a:r>
            <a:r>
              <a:rPr lang="de-DE" dirty="0" err="1"/>
              <a:t>Contango</a:t>
            </a:r>
            <a:r>
              <a:rPr lang="de-DE" dirty="0"/>
              <a:t>-Situation</a:t>
            </a:r>
          </a:p>
        </p:txBody>
      </p:sp>
      <p:sp>
        <p:nvSpPr>
          <p:cNvPr id="7" name="CustomShape 4">
            <a:extLst>
              <a:ext uri="{FF2B5EF4-FFF2-40B4-BE49-F238E27FC236}">
                <a16:creationId xmlns:a16="http://schemas.microsoft.com/office/drawing/2014/main" id="{02449CE1-B1F9-440D-A236-10F102E02A58}"/>
              </a:ext>
            </a:extLst>
          </p:cNvPr>
          <p:cNvSpPr/>
          <p:nvPr/>
        </p:nvSpPr>
        <p:spPr>
          <a:xfrm>
            <a:off x="4981796" y="5708182"/>
            <a:ext cx="2228408" cy="521766"/>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800" b="1" strike="noStrike" spc="-1" dirty="0">
                <a:latin typeface="Arial" panose="020B0604020202020204" pitchFamily="34" charset="0"/>
                <a:cs typeface="Arial" panose="020B0604020202020204" pitchFamily="34" charset="0"/>
              </a:rPr>
              <a:t>L a u f z e i t</a:t>
            </a:r>
          </a:p>
        </p:txBody>
      </p:sp>
      <p:pic>
        <p:nvPicPr>
          <p:cNvPr id="9" name="Grafik 8">
            <a:extLst>
              <a:ext uri="{FF2B5EF4-FFF2-40B4-BE49-F238E27FC236}">
                <a16:creationId xmlns:a16="http://schemas.microsoft.com/office/drawing/2014/main" id="{6D2132E5-4F77-4DD7-B5D4-97380408D27B}"/>
              </a:ext>
            </a:extLst>
          </p:cNvPr>
          <p:cNvPicPr/>
          <p:nvPr/>
        </p:nvPicPr>
        <p:blipFill>
          <a:blip r:embed="rId3"/>
          <a:srcRect l="5653" t="9225" b="10734"/>
          <a:stretch/>
        </p:blipFill>
        <p:spPr>
          <a:xfrm>
            <a:off x="1096124" y="1464020"/>
            <a:ext cx="9999752" cy="4260160"/>
          </a:xfrm>
          <a:prstGeom prst="rect">
            <a:avLst/>
          </a:prstGeom>
          <a:ln>
            <a:noFill/>
          </a:ln>
        </p:spPr>
      </p:pic>
    </p:spTree>
    <p:extLst>
      <p:ext uri="{BB962C8B-B14F-4D97-AF65-F5344CB8AC3E}">
        <p14:creationId xmlns:p14="http://schemas.microsoft.com/office/powerpoint/2010/main" val="599664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FE29388-B4E9-42C6-98CC-3CC03A9351DF}"/>
              </a:ext>
            </a:extLst>
          </p:cNvPr>
          <p:cNvSpPr>
            <a:spLocks noGrp="1"/>
          </p:cNvSpPr>
          <p:nvPr>
            <p:ph type="sldNum" sz="quarter" idx="10"/>
          </p:nvPr>
        </p:nvSpPr>
        <p:spPr/>
        <p:txBody>
          <a:bodyPr/>
          <a:lstStyle/>
          <a:p>
            <a:fld id="{F966D7FF-EADB-4E92-9989-4DE4533DAC48}" type="slidenum">
              <a:rPr lang="de-DE" smtClean="0"/>
              <a:pPr/>
              <a:t>23</a:t>
            </a:fld>
            <a:endParaRPr lang="de-DE" dirty="0"/>
          </a:p>
        </p:txBody>
      </p:sp>
      <p:sp>
        <p:nvSpPr>
          <p:cNvPr id="3" name="Inhaltsplatzhalter 2">
            <a:extLst>
              <a:ext uri="{FF2B5EF4-FFF2-40B4-BE49-F238E27FC236}">
                <a16:creationId xmlns:a16="http://schemas.microsoft.com/office/drawing/2014/main" id="{6B8BB524-1F9A-4AEF-8D6D-950983068A8E}"/>
              </a:ext>
            </a:extLst>
          </p:cNvPr>
          <p:cNvSpPr>
            <a:spLocks noGrp="1"/>
          </p:cNvSpPr>
          <p:nvPr>
            <p:ph idx="11"/>
          </p:nvPr>
        </p:nvSpPr>
        <p:spPr/>
        <p:txBody>
          <a:bodyPr/>
          <a:lstStyle/>
          <a:p>
            <a:r>
              <a:rPr lang="de-DE" dirty="0"/>
              <a:t>Fragen zum Teilbereich Futures</a:t>
            </a:r>
          </a:p>
        </p:txBody>
      </p:sp>
      <p:sp>
        <p:nvSpPr>
          <p:cNvPr id="4" name="Inhaltsplatzhalter 3">
            <a:extLst>
              <a:ext uri="{FF2B5EF4-FFF2-40B4-BE49-F238E27FC236}">
                <a16:creationId xmlns:a16="http://schemas.microsoft.com/office/drawing/2014/main" id="{CE41E480-CBE9-4BAF-9E8A-49655FA6C7AA}"/>
              </a:ext>
            </a:extLst>
          </p:cNvPr>
          <p:cNvSpPr>
            <a:spLocks noGrp="1"/>
          </p:cNvSpPr>
          <p:nvPr>
            <p:ph idx="1"/>
          </p:nvPr>
        </p:nvSpPr>
        <p:spPr/>
        <p:txBody>
          <a:bodyPr/>
          <a:lstStyle/>
          <a:p>
            <a:pPr>
              <a:lnSpc>
                <a:spcPct val="100000"/>
              </a:lnSpc>
            </a:pPr>
            <a:r>
              <a:rPr lang="de-DE" sz="2000" b="1" strike="noStrike" spc="-1" dirty="0">
                <a:solidFill>
                  <a:schemeClr val="tx1"/>
                </a:solidFill>
                <a:latin typeface="Arial" panose="020B0604020202020204" pitchFamily="34" charset="0"/>
                <a:cs typeface="Arial" panose="020B0604020202020204" pitchFamily="34" charset="0"/>
              </a:rPr>
              <a:t>Ein Future</a:t>
            </a:r>
            <a:endParaRPr lang="de-DE" sz="2000" b="1" spc="-1" dirty="0">
              <a:solidFill>
                <a:schemeClr val="tx1"/>
              </a:solidFill>
              <a:latin typeface="Arial" panose="020B0604020202020204" pitchFamily="34" charset="0"/>
              <a:cs typeface="Arial" panose="020B0604020202020204" pitchFamily="34" charset="0"/>
            </a:endParaRP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wird von einem Unternehmen zu Finanzierungszwecken ausgegeben</a:t>
            </a:r>
            <a:endParaRPr lang="de-DE" sz="2000" spc="-1" dirty="0">
              <a:solidFill>
                <a:schemeClr val="tx1"/>
              </a:solidFill>
              <a:latin typeface="Arial" panose="020B0604020202020204" pitchFamily="34" charset="0"/>
              <a:cs typeface="Arial" panose="020B0604020202020204" pitchFamily="34" charset="0"/>
            </a:endParaRP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ist ein unbedingtes Termingeschäft</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beinhaltet ein Emittenten Risiko</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kann einen negativen Wert annehmen</a:t>
            </a:r>
          </a:p>
          <a:p>
            <a:pPr>
              <a:lnSpc>
                <a:spcPct val="100000"/>
              </a:lnSpc>
            </a:pPr>
            <a:endParaRPr lang="de-DE" sz="2000" b="0" strike="noStrike" spc="-1" dirty="0">
              <a:solidFill>
                <a:schemeClr val="tx1"/>
              </a:solidFill>
              <a:latin typeface="Arial" panose="020B0604020202020204" pitchFamily="34" charset="0"/>
              <a:cs typeface="Arial" panose="020B0604020202020204" pitchFamily="34" charset="0"/>
            </a:endParaRPr>
          </a:p>
          <a:p>
            <a:pPr>
              <a:lnSpc>
                <a:spcPct val="100000"/>
              </a:lnSpc>
            </a:pPr>
            <a:r>
              <a:rPr lang="de-DE" sz="2000" b="1" strike="noStrike" spc="-1" dirty="0">
                <a:solidFill>
                  <a:schemeClr val="tx1"/>
                </a:solidFill>
                <a:latin typeface="Arial" panose="020B0604020202020204" pitchFamily="34" charset="0"/>
                <a:cs typeface="Arial" panose="020B0604020202020204" pitchFamily="34" charset="0"/>
              </a:rPr>
              <a:t>Notiert ein Future in </a:t>
            </a:r>
            <a:r>
              <a:rPr lang="de-DE" sz="2000" b="1" strike="noStrike" spc="-1" dirty="0" err="1">
                <a:solidFill>
                  <a:schemeClr val="tx1"/>
                </a:solidFill>
                <a:latin typeface="Arial" panose="020B0604020202020204" pitchFamily="34" charset="0"/>
                <a:cs typeface="Arial" panose="020B0604020202020204" pitchFamily="34" charset="0"/>
              </a:rPr>
              <a:t>Contango</a:t>
            </a:r>
            <a:r>
              <a:rPr lang="de-DE" sz="2000" b="1" strike="noStrike" spc="-1" dirty="0">
                <a:solidFill>
                  <a:schemeClr val="tx1"/>
                </a:solidFill>
                <a:latin typeface="Arial" panose="020B0604020202020204" pitchFamily="34" charset="0"/>
                <a:cs typeface="Arial" panose="020B0604020202020204" pitchFamily="34" charset="0"/>
              </a:rPr>
              <a:t>, dann liegt sein aktueller Preis</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unter dem Kassakurs</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über dem Kassakurs</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genau auf Höhe des Kassakurses</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weit abseits des Kassakurses (darüber oder darunter)</a:t>
            </a:r>
          </a:p>
        </p:txBody>
      </p:sp>
      <p:sp>
        <p:nvSpPr>
          <p:cNvPr id="5" name="Inhaltsplatzhalter 4">
            <a:extLst>
              <a:ext uri="{FF2B5EF4-FFF2-40B4-BE49-F238E27FC236}">
                <a16:creationId xmlns:a16="http://schemas.microsoft.com/office/drawing/2014/main" id="{2D4D168B-FCA6-4F95-8794-AC048CF9DC02}"/>
              </a:ext>
            </a:extLst>
          </p:cNvPr>
          <p:cNvSpPr>
            <a:spLocks noGrp="1"/>
          </p:cNvSpPr>
          <p:nvPr>
            <p:ph idx="12"/>
          </p:nvPr>
        </p:nvSpPr>
        <p:spPr/>
        <p:txBody>
          <a:bodyPr/>
          <a:lstStyle/>
          <a:p>
            <a:r>
              <a:rPr lang="de-DE" dirty="0"/>
              <a:t>Ein paar Testfragen zur Vorbereitung auf die Prüfung</a:t>
            </a:r>
          </a:p>
        </p:txBody>
      </p:sp>
    </p:spTree>
    <p:extLst>
      <p:ext uri="{BB962C8B-B14F-4D97-AF65-F5344CB8AC3E}">
        <p14:creationId xmlns:p14="http://schemas.microsoft.com/office/powerpoint/2010/main" val="3482465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a:extLst>
              <a:ext uri="{FF2B5EF4-FFF2-40B4-BE49-F238E27FC236}">
                <a16:creationId xmlns:a16="http://schemas.microsoft.com/office/drawing/2014/main" id="{D8DE1245-0547-481C-B02B-A35BC3D462F7}"/>
              </a:ext>
            </a:extLst>
          </p:cNvPr>
          <p:cNvSpPr>
            <a:spLocks noChangeArrowheads="1"/>
          </p:cNvSpPr>
          <p:nvPr/>
        </p:nvSpPr>
        <p:spPr bwMode="auto">
          <a:xfrm>
            <a:off x="299864" y="3029168"/>
            <a:ext cx="3384001" cy="5739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Optionen</a:t>
            </a:r>
          </a:p>
        </p:txBody>
      </p:sp>
      <p:sp>
        <p:nvSpPr>
          <p:cNvPr id="5" name="Rechteck 4">
            <a:extLst>
              <a:ext uri="{FF2B5EF4-FFF2-40B4-BE49-F238E27FC236}">
                <a16:creationId xmlns:a16="http://schemas.microsoft.com/office/drawing/2014/main" id="{15C9A07B-94EB-4F12-ACDA-1C08F950AF6B}"/>
              </a:ext>
            </a:extLst>
          </p:cNvPr>
          <p:cNvSpPr/>
          <p:nvPr/>
        </p:nvSpPr>
        <p:spPr>
          <a:xfrm>
            <a:off x="299864" y="1752818"/>
            <a:ext cx="3384001" cy="573917"/>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6" name="Rechteck 5">
            <a:extLst>
              <a:ext uri="{FF2B5EF4-FFF2-40B4-BE49-F238E27FC236}">
                <a16:creationId xmlns:a16="http://schemas.microsoft.com/office/drawing/2014/main" id="{5DC778D2-6FDE-4F56-8428-89167E2CE9B1}"/>
              </a:ext>
            </a:extLst>
          </p:cNvPr>
          <p:cNvSpPr/>
          <p:nvPr/>
        </p:nvSpPr>
        <p:spPr>
          <a:xfrm>
            <a:off x="299864" y="4278001"/>
            <a:ext cx="3384001" cy="573918"/>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7" name="Rectangle 12">
            <a:extLst>
              <a:ext uri="{FF2B5EF4-FFF2-40B4-BE49-F238E27FC236}">
                <a16:creationId xmlns:a16="http://schemas.microsoft.com/office/drawing/2014/main" id="{C6F8892F-4113-4E3C-86E3-7D4342F37326}"/>
              </a:ext>
            </a:extLst>
          </p:cNvPr>
          <p:cNvSpPr>
            <a:spLocks noChangeArrowheads="1"/>
          </p:cNvSpPr>
          <p:nvPr/>
        </p:nvSpPr>
        <p:spPr bwMode="auto">
          <a:xfrm>
            <a:off x="299864" y="1752817"/>
            <a:ext cx="3384001" cy="586617"/>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Futures</a:t>
            </a:r>
          </a:p>
        </p:txBody>
      </p:sp>
      <p:sp>
        <p:nvSpPr>
          <p:cNvPr id="8" name="Rectangle 12">
            <a:extLst>
              <a:ext uri="{FF2B5EF4-FFF2-40B4-BE49-F238E27FC236}">
                <a16:creationId xmlns:a16="http://schemas.microsoft.com/office/drawing/2014/main" id="{6DE87A68-80C4-477D-A028-2FB81E1D08A5}"/>
              </a:ext>
            </a:extLst>
          </p:cNvPr>
          <p:cNvSpPr>
            <a:spLocks noChangeArrowheads="1"/>
          </p:cNvSpPr>
          <p:nvPr/>
        </p:nvSpPr>
        <p:spPr bwMode="auto">
          <a:xfrm>
            <a:off x="299864" y="4278001"/>
            <a:ext cx="3384001" cy="5866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Zertifikate</a:t>
            </a:r>
          </a:p>
        </p:txBody>
      </p:sp>
      <p:sp>
        <p:nvSpPr>
          <p:cNvPr id="9" name="Rechteck 8">
            <a:extLst>
              <a:ext uri="{FF2B5EF4-FFF2-40B4-BE49-F238E27FC236}">
                <a16:creationId xmlns:a16="http://schemas.microsoft.com/office/drawing/2014/main" id="{303E7D32-8E99-40A3-8BC2-CB297BA209D5}"/>
              </a:ext>
            </a:extLst>
          </p:cNvPr>
          <p:cNvSpPr/>
          <p:nvPr/>
        </p:nvSpPr>
        <p:spPr>
          <a:xfrm>
            <a:off x="299864" y="3041659"/>
            <a:ext cx="3384001" cy="573919"/>
          </a:xfrm>
          <a:prstGeom prst="rect">
            <a:avLst/>
          </a:prstGeom>
          <a:noFill/>
          <a:ln w="44450">
            <a:solidFill>
              <a:srgbClr val="F5F6F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Tree>
    <p:extLst>
      <p:ext uri="{BB962C8B-B14F-4D97-AF65-F5344CB8AC3E}">
        <p14:creationId xmlns:p14="http://schemas.microsoft.com/office/powerpoint/2010/main" val="679200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CB881A7-67D8-49AE-88FC-7736FD27F7AB}"/>
              </a:ext>
            </a:extLst>
          </p:cNvPr>
          <p:cNvSpPr>
            <a:spLocks noGrp="1"/>
          </p:cNvSpPr>
          <p:nvPr>
            <p:ph type="sldNum" sz="quarter" idx="10"/>
          </p:nvPr>
        </p:nvSpPr>
        <p:spPr/>
        <p:txBody>
          <a:bodyPr/>
          <a:lstStyle/>
          <a:p>
            <a:fld id="{F966D7FF-EADB-4E92-9989-4DE4533DAC48}" type="slidenum">
              <a:rPr lang="de-DE" smtClean="0"/>
              <a:pPr/>
              <a:t>25</a:t>
            </a:fld>
            <a:endParaRPr lang="de-DE" dirty="0"/>
          </a:p>
        </p:txBody>
      </p:sp>
      <p:sp>
        <p:nvSpPr>
          <p:cNvPr id="7" name="CustomShape 1">
            <a:extLst>
              <a:ext uri="{FF2B5EF4-FFF2-40B4-BE49-F238E27FC236}">
                <a16:creationId xmlns:a16="http://schemas.microsoft.com/office/drawing/2014/main" id="{69223CBA-C872-4C91-89F5-564CE413EF70}"/>
              </a:ext>
            </a:extLst>
          </p:cNvPr>
          <p:cNvSpPr/>
          <p:nvPr/>
        </p:nvSpPr>
        <p:spPr>
          <a:xfrm>
            <a:off x="1636200" y="2730600"/>
            <a:ext cx="8876880" cy="139680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5870" b="1" strike="noStrike" spc="-1">
                <a:solidFill>
                  <a:srgbClr val="FFFFFF"/>
                </a:solidFill>
                <a:latin typeface="Century Gothic"/>
              </a:rPr>
              <a:t>Wozu gibt es Optionen?</a:t>
            </a:r>
            <a:endParaRPr lang="de-DE" sz="5870" b="0" strike="noStrike" spc="-1">
              <a:latin typeface="Arial"/>
            </a:endParaRPr>
          </a:p>
        </p:txBody>
      </p:sp>
    </p:spTree>
    <p:extLst>
      <p:ext uri="{BB962C8B-B14F-4D97-AF65-F5344CB8AC3E}">
        <p14:creationId xmlns:p14="http://schemas.microsoft.com/office/powerpoint/2010/main" val="2433671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EE6F80D-0F84-4270-A23C-C6CCBD7E129A}"/>
              </a:ext>
            </a:extLst>
          </p:cNvPr>
          <p:cNvSpPr>
            <a:spLocks noGrp="1"/>
          </p:cNvSpPr>
          <p:nvPr>
            <p:ph type="sldNum" sz="quarter" idx="10"/>
          </p:nvPr>
        </p:nvSpPr>
        <p:spPr/>
        <p:txBody>
          <a:bodyPr/>
          <a:lstStyle/>
          <a:p>
            <a:fld id="{F966D7FF-EADB-4E92-9989-4DE4533DAC48}" type="slidenum">
              <a:rPr lang="de-DE" smtClean="0"/>
              <a:pPr/>
              <a:t>26</a:t>
            </a:fld>
            <a:endParaRPr lang="de-DE" dirty="0"/>
          </a:p>
        </p:txBody>
      </p:sp>
      <p:sp>
        <p:nvSpPr>
          <p:cNvPr id="3" name="Inhaltsplatzhalter 2">
            <a:extLst>
              <a:ext uri="{FF2B5EF4-FFF2-40B4-BE49-F238E27FC236}">
                <a16:creationId xmlns:a16="http://schemas.microsoft.com/office/drawing/2014/main" id="{3BE3FFED-D55C-42F7-9DCB-76ECC6DA055E}"/>
              </a:ext>
            </a:extLst>
          </p:cNvPr>
          <p:cNvSpPr>
            <a:spLocks noGrp="1"/>
          </p:cNvSpPr>
          <p:nvPr>
            <p:ph idx="11"/>
          </p:nvPr>
        </p:nvSpPr>
        <p:spPr/>
        <p:txBody>
          <a:bodyPr/>
          <a:lstStyle/>
          <a:p>
            <a:r>
              <a:rPr lang="de-DE" dirty="0"/>
              <a:t>Forwards vs. Futures vs. Optionen</a:t>
            </a:r>
          </a:p>
        </p:txBody>
      </p:sp>
      <p:sp>
        <p:nvSpPr>
          <p:cNvPr id="5" name="Inhaltsplatzhalter 4">
            <a:extLst>
              <a:ext uri="{FF2B5EF4-FFF2-40B4-BE49-F238E27FC236}">
                <a16:creationId xmlns:a16="http://schemas.microsoft.com/office/drawing/2014/main" id="{4F9253B0-E12A-426C-B023-53ECF411B903}"/>
              </a:ext>
            </a:extLst>
          </p:cNvPr>
          <p:cNvSpPr>
            <a:spLocks noGrp="1"/>
          </p:cNvSpPr>
          <p:nvPr>
            <p:ph idx="12"/>
          </p:nvPr>
        </p:nvSpPr>
        <p:spPr/>
        <p:txBody>
          <a:bodyPr/>
          <a:lstStyle/>
          <a:p>
            <a:r>
              <a:rPr lang="de-DE" dirty="0"/>
              <a:t>Optionen sind im Gegensatz zu Forwards und Futures kein unbedingtes Termingeschäft</a:t>
            </a:r>
          </a:p>
        </p:txBody>
      </p:sp>
      <p:graphicFrame>
        <p:nvGraphicFramePr>
          <p:cNvPr id="7" name="Table 2">
            <a:extLst>
              <a:ext uri="{FF2B5EF4-FFF2-40B4-BE49-F238E27FC236}">
                <a16:creationId xmlns:a16="http://schemas.microsoft.com/office/drawing/2014/main" id="{A734E283-0DCC-47D9-B52C-A7DACDB90E38}"/>
              </a:ext>
            </a:extLst>
          </p:cNvPr>
          <p:cNvGraphicFramePr/>
          <p:nvPr>
            <p:extLst>
              <p:ext uri="{D42A27DB-BD31-4B8C-83A1-F6EECF244321}">
                <p14:modId xmlns:p14="http://schemas.microsoft.com/office/powerpoint/2010/main" val="611544121"/>
              </p:ext>
            </p:extLst>
          </p:nvPr>
        </p:nvGraphicFramePr>
        <p:xfrm>
          <a:off x="1395660" y="1665405"/>
          <a:ext cx="9400680" cy="3850560"/>
        </p:xfrm>
        <a:graphic>
          <a:graphicData uri="http://schemas.openxmlformats.org/drawingml/2006/table">
            <a:tbl>
              <a:tblPr/>
              <a:tblGrid>
                <a:gridCol w="2983680">
                  <a:extLst>
                    <a:ext uri="{9D8B030D-6E8A-4147-A177-3AD203B41FA5}">
                      <a16:colId xmlns:a16="http://schemas.microsoft.com/office/drawing/2014/main" val="20000"/>
                    </a:ext>
                  </a:extLst>
                </a:gridCol>
                <a:gridCol w="2138760">
                  <a:extLst>
                    <a:ext uri="{9D8B030D-6E8A-4147-A177-3AD203B41FA5}">
                      <a16:colId xmlns:a16="http://schemas.microsoft.com/office/drawing/2014/main" val="20001"/>
                    </a:ext>
                  </a:extLst>
                </a:gridCol>
                <a:gridCol w="2138760">
                  <a:extLst>
                    <a:ext uri="{9D8B030D-6E8A-4147-A177-3AD203B41FA5}">
                      <a16:colId xmlns:a16="http://schemas.microsoft.com/office/drawing/2014/main" val="20002"/>
                    </a:ext>
                  </a:extLst>
                </a:gridCol>
                <a:gridCol w="2139480">
                  <a:extLst>
                    <a:ext uri="{9D8B030D-6E8A-4147-A177-3AD203B41FA5}">
                      <a16:colId xmlns:a16="http://schemas.microsoft.com/office/drawing/2014/main" val="20003"/>
                    </a:ext>
                  </a:extLst>
                </a:gridCol>
              </a:tblGrid>
              <a:tr h="634680">
                <a:tc>
                  <a:txBody>
                    <a:bodyPr/>
                    <a:lstStyle/>
                    <a:p>
                      <a:endParaRPr lang="de-DE" dirty="0"/>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800" b="1" strike="noStrike" spc="-1" dirty="0">
                          <a:solidFill>
                            <a:srgbClr val="FFFFFF"/>
                          </a:solidFill>
                          <a:latin typeface="Calibri"/>
                        </a:rPr>
                        <a:t>Forward</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800" b="1" strike="noStrike" spc="-1" dirty="0">
                          <a:solidFill>
                            <a:srgbClr val="FFFFFF"/>
                          </a:solidFill>
                          <a:latin typeface="Calibri"/>
                        </a:rPr>
                        <a:t>Future</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800" b="1" strike="noStrike" spc="-1" dirty="0">
                          <a:solidFill>
                            <a:srgbClr val="FFFFFF"/>
                          </a:solidFill>
                          <a:latin typeface="Calibri"/>
                        </a:rPr>
                        <a:t>Option</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extLst>
                  <a:ext uri="{0D108BD9-81ED-4DB2-BD59-A6C34878D82A}">
                    <a16:rowId xmlns:a16="http://schemas.microsoft.com/office/drawing/2014/main" val="10000"/>
                  </a:ext>
                </a:extLst>
              </a:tr>
              <a:tr h="864000">
                <a:tc>
                  <a:txBody>
                    <a:bodyPr/>
                    <a:lstStyle/>
                    <a:p>
                      <a:pPr>
                        <a:lnSpc>
                          <a:spcPct val="100000"/>
                        </a:lnSpc>
                      </a:pPr>
                      <a:r>
                        <a:rPr lang="de-DE" sz="1800" b="0" strike="noStrike" spc="-1" dirty="0">
                          <a:solidFill>
                            <a:srgbClr val="000000"/>
                          </a:solidFill>
                          <a:latin typeface="Calibri"/>
                        </a:rPr>
                        <a:t>Unbedingtes Termingeschäft</a:t>
                      </a:r>
                      <a:endParaRPr lang="de-DE" sz="1800" b="0" strike="noStrike" spc="-1" dirty="0">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2400" b="0" strike="noStrike" spc="-1" dirty="0">
                          <a:solidFill>
                            <a:srgbClr val="000000"/>
                          </a:solidFill>
                          <a:latin typeface="Calibri"/>
                        </a:rPr>
                        <a:t>✔</a:t>
                      </a:r>
                      <a:endParaRPr lang="de-DE" sz="2400" b="0" strike="noStrike" spc="-1" dirty="0">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2400" b="0" strike="noStrike" spc="-1" dirty="0">
                          <a:solidFill>
                            <a:srgbClr val="000000"/>
                          </a:solidFill>
                          <a:latin typeface="Calibri"/>
                        </a:rPr>
                        <a:t>✔</a:t>
                      </a:r>
                      <a:endParaRPr lang="de-DE" sz="2400" b="0" strike="noStrike" spc="-1" dirty="0">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1800" b="0"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extLst>
                  <a:ext uri="{0D108BD9-81ED-4DB2-BD59-A6C34878D82A}">
                    <a16:rowId xmlns:a16="http://schemas.microsoft.com/office/drawing/2014/main" val="10001"/>
                  </a:ext>
                </a:extLst>
              </a:tr>
              <a:tr h="864000">
                <a:tc>
                  <a:txBody>
                    <a:bodyPr/>
                    <a:lstStyle/>
                    <a:p>
                      <a:pPr>
                        <a:lnSpc>
                          <a:spcPct val="100000"/>
                        </a:lnSpc>
                      </a:pPr>
                      <a:r>
                        <a:rPr lang="de-DE" sz="1800" b="0" strike="noStrike" spc="-1">
                          <a:solidFill>
                            <a:srgbClr val="000000"/>
                          </a:solidFill>
                          <a:latin typeface="Calibri"/>
                        </a:rPr>
                        <a:t>Hohe Individualisierbarkei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1800" b="0"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1800" b="0"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extLst>
                  <a:ext uri="{0D108BD9-81ED-4DB2-BD59-A6C34878D82A}">
                    <a16:rowId xmlns:a16="http://schemas.microsoft.com/office/drawing/2014/main" val="10002"/>
                  </a:ext>
                </a:extLst>
              </a:tr>
              <a:tr h="623880">
                <a:tc>
                  <a:txBody>
                    <a:bodyPr/>
                    <a:lstStyle/>
                    <a:p>
                      <a:pPr>
                        <a:lnSpc>
                          <a:spcPct val="100000"/>
                        </a:lnSpc>
                      </a:pPr>
                      <a:r>
                        <a:rPr lang="de-DE" sz="1800" b="0" strike="noStrike" spc="-1">
                          <a:solidFill>
                            <a:srgbClr val="000000"/>
                          </a:solidFill>
                          <a:latin typeface="Calibri"/>
                        </a:rPr>
                        <a:t>Börsengehandel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1800" b="1" strike="noStrike" spc="-1">
                          <a:solidFill>
                            <a:srgbClr val="000000"/>
                          </a:solidFill>
                          <a:latin typeface="Calibri"/>
                        </a:rPr>
                        <a:t>-</a:t>
                      </a:r>
                      <a:endParaRPr lang="de-DE" sz="18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extLst>
                  <a:ext uri="{0D108BD9-81ED-4DB2-BD59-A6C34878D82A}">
                    <a16:rowId xmlns:a16="http://schemas.microsoft.com/office/drawing/2014/main" val="10003"/>
                  </a:ext>
                </a:extLst>
              </a:tr>
              <a:tr h="864000">
                <a:tc>
                  <a:txBody>
                    <a:bodyPr/>
                    <a:lstStyle/>
                    <a:p>
                      <a:pPr>
                        <a:lnSpc>
                          <a:spcPct val="100000"/>
                        </a:lnSpc>
                      </a:pPr>
                      <a:r>
                        <a:rPr lang="de-DE" sz="1800" b="0" strike="noStrike" spc="-1" dirty="0">
                          <a:solidFill>
                            <a:srgbClr val="000000"/>
                          </a:solidFill>
                          <a:latin typeface="Calibri"/>
                        </a:rPr>
                        <a:t>Für Investoren interessant</a:t>
                      </a:r>
                      <a:endParaRPr lang="de-DE" sz="18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3200" b="1" strike="noStrike" spc="-1">
                          <a:solidFill>
                            <a:srgbClr val="000000"/>
                          </a:solidFill>
                          <a:latin typeface="Calibri"/>
                        </a:rPr>
                        <a:t>~</a:t>
                      </a:r>
                      <a:endParaRPr lang="de-DE" sz="32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400" b="0" strike="noStrike" spc="-1">
                          <a:solidFill>
                            <a:srgbClr val="000000"/>
                          </a:solidFill>
                          <a:latin typeface="Calibri"/>
                        </a:rPr>
                        <a:t>✔</a:t>
                      </a:r>
                      <a:endParaRPr lang="de-DE" sz="2400" b="0" strike="noStrike" spc="-1">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400" b="0" strike="noStrike" spc="-1" dirty="0">
                          <a:solidFill>
                            <a:srgbClr val="000000"/>
                          </a:solidFill>
                          <a:latin typeface="Calibri"/>
                        </a:rPr>
                        <a:t>✔</a:t>
                      </a:r>
                      <a:endParaRPr lang="de-DE" sz="2400" b="0" strike="noStrike" spc="-1" dirty="0">
                        <a:latin typeface="Arial"/>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207508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D8E7497-15E1-4E0A-9B4F-77982D8983D9}"/>
              </a:ext>
            </a:extLst>
          </p:cNvPr>
          <p:cNvSpPr>
            <a:spLocks noGrp="1"/>
          </p:cNvSpPr>
          <p:nvPr>
            <p:ph type="sldNum" sz="quarter" idx="10"/>
          </p:nvPr>
        </p:nvSpPr>
        <p:spPr/>
        <p:txBody>
          <a:bodyPr/>
          <a:lstStyle/>
          <a:p>
            <a:fld id="{F966D7FF-EADB-4E92-9989-4DE4533DAC48}" type="slidenum">
              <a:rPr lang="de-DE" smtClean="0"/>
              <a:pPr/>
              <a:t>27</a:t>
            </a:fld>
            <a:endParaRPr lang="de-DE" dirty="0"/>
          </a:p>
        </p:txBody>
      </p:sp>
      <p:sp>
        <p:nvSpPr>
          <p:cNvPr id="3" name="Inhaltsplatzhalter 2">
            <a:extLst>
              <a:ext uri="{FF2B5EF4-FFF2-40B4-BE49-F238E27FC236}">
                <a16:creationId xmlns:a16="http://schemas.microsoft.com/office/drawing/2014/main" id="{87127E4E-015D-43D6-A3E8-453B11FD8E4B}"/>
              </a:ext>
            </a:extLst>
          </p:cNvPr>
          <p:cNvSpPr>
            <a:spLocks noGrp="1"/>
          </p:cNvSpPr>
          <p:nvPr>
            <p:ph idx="11"/>
          </p:nvPr>
        </p:nvSpPr>
        <p:spPr/>
        <p:txBody>
          <a:bodyPr/>
          <a:lstStyle/>
          <a:p>
            <a:r>
              <a:rPr lang="de-DE" sz="1200" dirty="0">
                <a:ea typeface="Verdana"/>
                <a:cs typeface="Arial"/>
              </a:rPr>
              <a:t>Was sind Optionen?</a:t>
            </a:r>
            <a:endParaRPr lang="de-DE" sz="1200" dirty="0"/>
          </a:p>
        </p:txBody>
      </p:sp>
      <p:sp>
        <p:nvSpPr>
          <p:cNvPr id="5" name="Inhaltsplatzhalter 4">
            <a:extLst>
              <a:ext uri="{FF2B5EF4-FFF2-40B4-BE49-F238E27FC236}">
                <a16:creationId xmlns:a16="http://schemas.microsoft.com/office/drawing/2014/main" id="{C03B80C2-B125-4713-A786-3FC53F0CE771}"/>
              </a:ext>
            </a:extLst>
          </p:cNvPr>
          <p:cNvSpPr>
            <a:spLocks noGrp="1"/>
          </p:cNvSpPr>
          <p:nvPr>
            <p:ph idx="12"/>
          </p:nvPr>
        </p:nvSpPr>
        <p:spPr/>
        <p:txBody>
          <a:bodyPr/>
          <a:lstStyle/>
          <a:p>
            <a:r>
              <a:rPr lang="de-DE" dirty="0"/>
              <a:t>Optionen verbriefen das Recht – nicht aber die Pflicht – den Basiswert in der Zukunft zu kaufen oder zu verkaufen </a:t>
            </a:r>
          </a:p>
        </p:txBody>
      </p:sp>
      <p:grpSp>
        <p:nvGrpSpPr>
          <p:cNvPr id="10" name="Gruppieren 9">
            <a:extLst>
              <a:ext uri="{FF2B5EF4-FFF2-40B4-BE49-F238E27FC236}">
                <a16:creationId xmlns:a16="http://schemas.microsoft.com/office/drawing/2014/main" id="{E9A0064C-28AA-4AF7-A95E-CEB96E14236D}"/>
              </a:ext>
            </a:extLst>
          </p:cNvPr>
          <p:cNvGrpSpPr/>
          <p:nvPr/>
        </p:nvGrpSpPr>
        <p:grpSpPr>
          <a:xfrm>
            <a:off x="912240" y="1372685"/>
            <a:ext cx="10919407" cy="4884480"/>
            <a:chOff x="912240" y="1129614"/>
            <a:chExt cx="10919407" cy="4884480"/>
          </a:xfrm>
        </p:grpSpPr>
        <p:sp>
          <p:nvSpPr>
            <p:cNvPr id="7" name="CustomShape 2">
              <a:extLst>
                <a:ext uri="{FF2B5EF4-FFF2-40B4-BE49-F238E27FC236}">
                  <a16:creationId xmlns:a16="http://schemas.microsoft.com/office/drawing/2014/main" id="{74DFB67F-7A37-45AF-99A5-CA4174E08B03}"/>
                </a:ext>
              </a:extLst>
            </p:cNvPr>
            <p:cNvSpPr/>
            <p:nvPr/>
          </p:nvSpPr>
          <p:spPr>
            <a:xfrm>
              <a:off x="984127" y="1129614"/>
              <a:ext cx="10847520" cy="48844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Optionen beinhalten (für den Käufer) das </a:t>
              </a:r>
              <a:r>
                <a:rPr lang="de-DE" sz="3200" b="1" u="sng" strike="noStrike" spc="-1">
                  <a:solidFill>
                    <a:srgbClr val="000000"/>
                  </a:solidFill>
                  <a:uFillTx/>
                  <a:latin typeface="Calibri"/>
                </a:rPr>
                <a:t>Recht</a:t>
              </a:r>
              <a:r>
                <a:rPr lang="de-DE" sz="3200" b="1" strike="noStrike" spc="-1">
                  <a:solidFill>
                    <a:srgbClr val="000000"/>
                  </a:solidFill>
                  <a:latin typeface="Calibri"/>
                </a:rPr>
                <a:t>, den    </a:t>
              </a:r>
              <a:r>
                <a:rPr lang="de-DE" sz="3740" b="1" strike="noStrike" spc="-1">
                  <a:solidFill>
                    <a:srgbClr val="44546A"/>
                  </a:solidFill>
                  <a:latin typeface="Century Gothic"/>
                </a:rPr>
                <a:t>	</a:t>
              </a:r>
              <a:endParaRPr lang="de-DE" sz="3740" b="0" strike="noStrike" spc="-1">
                <a:latin typeface="Arial"/>
              </a:endParaRPr>
            </a:p>
            <a:p>
              <a:pPr>
                <a:lnSpc>
                  <a:spcPct val="100000"/>
                </a:lnSpc>
              </a:pPr>
              <a:r>
                <a:rPr lang="de-DE" sz="4800" b="1" strike="noStrike" spc="-1">
                  <a:solidFill>
                    <a:srgbClr val="FFC000"/>
                  </a:solidFill>
                  <a:latin typeface="Calibri"/>
                </a:rPr>
                <a:t>	Basiswert (Underlying)</a:t>
              </a:r>
              <a:r>
                <a:rPr lang="de-DE" sz="4800" b="1" strike="noStrike" spc="-1">
                  <a:solidFill>
                    <a:srgbClr val="44546A"/>
                  </a:solidFill>
                  <a:latin typeface="Calibri"/>
                </a:rPr>
                <a:t> </a:t>
              </a:r>
              <a:endParaRPr lang="de-DE" sz="4800" b="0" strike="noStrike" spc="-1">
                <a:latin typeface="Arial"/>
              </a:endParaRPr>
            </a:p>
            <a:p>
              <a:pPr>
                <a:lnSpc>
                  <a:spcPct val="100000"/>
                </a:lnSpc>
              </a:pPr>
              <a:r>
                <a:rPr lang="de-DE" sz="4800" b="1" strike="noStrike" spc="-1">
                  <a:solidFill>
                    <a:srgbClr val="44546A"/>
                  </a:solidFill>
                  <a:latin typeface="Century Gothic"/>
                </a:rPr>
                <a:t>	  </a:t>
              </a:r>
              <a:r>
                <a:rPr lang="de-DE" sz="3200" b="1" strike="noStrike" spc="-1">
                  <a:solidFill>
                    <a:srgbClr val="000000"/>
                  </a:solidFill>
                  <a:latin typeface="Calibri"/>
                </a:rPr>
                <a:t>zum</a:t>
              </a:r>
              <a:r>
                <a:rPr lang="de-DE" sz="3200" b="1" strike="noStrike" spc="-1">
                  <a:solidFill>
                    <a:srgbClr val="44546A"/>
                  </a:solidFill>
                  <a:latin typeface="Century Gothic"/>
                </a:rPr>
                <a:t> </a:t>
              </a:r>
              <a:endParaRPr lang="de-DE" sz="3200" b="0" strike="noStrike" spc="-1">
                <a:latin typeface="Arial"/>
              </a:endParaRPr>
            </a:p>
            <a:p>
              <a:pPr>
                <a:lnSpc>
                  <a:spcPct val="100000"/>
                </a:lnSpc>
              </a:pPr>
              <a:r>
                <a:rPr lang="de-DE" sz="4800" b="1" strike="noStrike" spc="-1">
                  <a:solidFill>
                    <a:srgbClr val="FFC000"/>
                  </a:solidFill>
                  <a:latin typeface="Century Gothic"/>
                </a:rPr>
                <a:t>		</a:t>
              </a:r>
              <a:r>
                <a:rPr lang="de-DE" sz="4800" b="1" strike="noStrike" spc="-1">
                  <a:solidFill>
                    <a:srgbClr val="FFC000"/>
                  </a:solidFill>
                  <a:latin typeface="Calibri"/>
                </a:rPr>
                <a:t>Basispreis (Strike)</a:t>
              </a:r>
              <a:endParaRPr lang="de-DE" sz="4800" b="0" strike="noStrike" spc="-1">
                <a:latin typeface="Arial"/>
              </a:endParaRPr>
            </a:p>
            <a:p>
              <a:pPr>
                <a:lnSpc>
                  <a:spcPct val="100000"/>
                </a:lnSpc>
              </a:pPr>
              <a:r>
                <a:rPr lang="de-DE" sz="4800" b="1" strike="noStrike" spc="-1">
                  <a:solidFill>
                    <a:srgbClr val="44546A"/>
                  </a:solidFill>
                  <a:latin typeface="Century Gothic"/>
                </a:rPr>
                <a:t>		  </a:t>
              </a:r>
              <a:r>
                <a:rPr lang="de-DE" sz="3200" b="1" strike="noStrike" spc="-1">
                  <a:solidFill>
                    <a:srgbClr val="000000"/>
                  </a:solidFill>
                  <a:latin typeface="Calibri"/>
                </a:rPr>
                <a:t>während oder am Ende der</a:t>
              </a:r>
              <a:endParaRPr lang="de-DE" sz="3200" b="0" strike="noStrike" spc="-1">
                <a:latin typeface="Arial"/>
              </a:endParaRPr>
            </a:p>
            <a:p>
              <a:pPr>
                <a:lnSpc>
                  <a:spcPct val="100000"/>
                </a:lnSpc>
              </a:pPr>
              <a:r>
                <a:rPr lang="de-DE" sz="4800" b="1" strike="noStrike" spc="-1">
                  <a:solidFill>
                    <a:srgbClr val="FFC000"/>
                  </a:solidFill>
                  <a:latin typeface="Century Gothic"/>
                </a:rPr>
                <a:t>		     </a:t>
              </a:r>
              <a:r>
                <a:rPr lang="de-DE" sz="4800" b="1" strike="noStrike" spc="-1">
                  <a:solidFill>
                    <a:srgbClr val="FFC000"/>
                  </a:solidFill>
                  <a:latin typeface="Calibri"/>
                </a:rPr>
                <a:t>Optionsfrist (Fälligkeit)</a:t>
              </a:r>
              <a:endParaRPr lang="de-DE" sz="4800" b="0" strike="noStrike" spc="-1">
                <a:latin typeface="Arial"/>
              </a:endParaRPr>
            </a:p>
            <a:p>
              <a:pPr>
                <a:lnSpc>
                  <a:spcPct val="100000"/>
                </a:lnSpc>
              </a:pPr>
              <a:r>
                <a:rPr lang="de-DE" sz="3740" b="1" strike="noStrike" spc="-1">
                  <a:solidFill>
                    <a:srgbClr val="44546A"/>
                  </a:solidFill>
                  <a:latin typeface="Century Gothic"/>
                </a:rPr>
                <a:t>		          </a:t>
              </a:r>
              <a:r>
                <a:rPr lang="de-DE" sz="3200" b="1" strike="noStrike" spc="-1">
                  <a:solidFill>
                    <a:srgbClr val="000000"/>
                  </a:solidFill>
                  <a:latin typeface="Calibri"/>
                </a:rPr>
                <a:t>zu erwerben, bzw. zu verkaufen. </a:t>
              </a:r>
              <a:endParaRPr lang="de-DE" sz="3200" b="0" strike="noStrike" spc="-1">
                <a:latin typeface="Arial"/>
              </a:endParaRPr>
            </a:p>
          </p:txBody>
        </p:sp>
        <p:sp>
          <p:nvSpPr>
            <p:cNvPr id="9" name="Line 3">
              <a:extLst>
                <a:ext uri="{FF2B5EF4-FFF2-40B4-BE49-F238E27FC236}">
                  <a16:creationId xmlns:a16="http://schemas.microsoft.com/office/drawing/2014/main" id="{1DA203A3-8A3C-4311-99B1-3CE9211D8F61}"/>
                </a:ext>
              </a:extLst>
            </p:cNvPr>
            <p:cNvSpPr/>
            <p:nvPr/>
          </p:nvSpPr>
          <p:spPr>
            <a:xfrm>
              <a:off x="912240" y="1316520"/>
              <a:ext cx="360" cy="451260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grpSp>
    </p:spTree>
    <p:extLst>
      <p:ext uri="{BB962C8B-B14F-4D97-AF65-F5344CB8AC3E}">
        <p14:creationId xmlns:p14="http://schemas.microsoft.com/office/powerpoint/2010/main" val="19940130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641C230-2BFF-473B-88A5-7B393480F845}"/>
              </a:ext>
            </a:extLst>
          </p:cNvPr>
          <p:cNvSpPr>
            <a:spLocks noGrp="1"/>
          </p:cNvSpPr>
          <p:nvPr>
            <p:ph type="sldNum" sz="quarter" idx="10"/>
          </p:nvPr>
        </p:nvSpPr>
        <p:spPr/>
        <p:txBody>
          <a:bodyPr/>
          <a:lstStyle/>
          <a:p>
            <a:fld id="{F966D7FF-EADB-4E92-9989-4DE4533DAC48}" type="slidenum">
              <a:rPr lang="de-DE" smtClean="0"/>
              <a:pPr/>
              <a:t>28</a:t>
            </a:fld>
            <a:endParaRPr lang="de-DE" dirty="0"/>
          </a:p>
        </p:txBody>
      </p:sp>
      <p:sp>
        <p:nvSpPr>
          <p:cNvPr id="3" name="Inhaltsplatzhalter 2">
            <a:extLst>
              <a:ext uri="{FF2B5EF4-FFF2-40B4-BE49-F238E27FC236}">
                <a16:creationId xmlns:a16="http://schemas.microsoft.com/office/drawing/2014/main" id="{A53433E1-4DC7-4DF3-AACC-768C4516B41C}"/>
              </a:ext>
            </a:extLst>
          </p:cNvPr>
          <p:cNvSpPr>
            <a:spLocks noGrp="1"/>
          </p:cNvSpPr>
          <p:nvPr>
            <p:ph idx="11"/>
          </p:nvPr>
        </p:nvSpPr>
        <p:spPr/>
        <p:txBody>
          <a:bodyPr/>
          <a:lstStyle/>
          <a:p>
            <a:r>
              <a:rPr lang="de-DE" dirty="0">
                <a:ea typeface="Verdana"/>
                <a:cs typeface="Arial"/>
              </a:rPr>
              <a:t>Verschiedene Arten von Optionen</a:t>
            </a:r>
            <a:endParaRPr lang="de-DE" dirty="0"/>
          </a:p>
        </p:txBody>
      </p:sp>
      <p:sp>
        <p:nvSpPr>
          <p:cNvPr id="5" name="Inhaltsplatzhalter 4">
            <a:extLst>
              <a:ext uri="{FF2B5EF4-FFF2-40B4-BE49-F238E27FC236}">
                <a16:creationId xmlns:a16="http://schemas.microsoft.com/office/drawing/2014/main" id="{13F01411-F294-423B-B12B-F308DED6094F}"/>
              </a:ext>
            </a:extLst>
          </p:cNvPr>
          <p:cNvSpPr>
            <a:spLocks noGrp="1"/>
          </p:cNvSpPr>
          <p:nvPr>
            <p:ph idx="12"/>
          </p:nvPr>
        </p:nvSpPr>
        <p:spPr/>
        <p:txBody>
          <a:bodyPr/>
          <a:lstStyle/>
          <a:p>
            <a:r>
              <a:rPr lang="de-DE" dirty="0"/>
              <a:t>Optionen können auf viele verschiedene Basiswerte (Underlyings) ausgegeben werden</a:t>
            </a:r>
          </a:p>
        </p:txBody>
      </p:sp>
      <p:grpSp>
        <p:nvGrpSpPr>
          <p:cNvPr id="50" name="Gruppieren 49">
            <a:extLst>
              <a:ext uri="{FF2B5EF4-FFF2-40B4-BE49-F238E27FC236}">
                <a16:creationId xmlns:a16="http://schemas.microsoft.com/office/drawing/2014/main" id="{60340F97-80E7-479A-B569-7578519D8E05}"/>
              </a:ext>
            </a:extLst>
          </p:cNvPr>
          <p:cNvGrpSpPr/>
          <p:nvPr/>
        </p:nvGrpSpPr>
        <p:grpSpPr>
          <a:xfrm>
            <a:off x="444004" y="1328870"/>
            <a:ext cx="11336040" cy="5160240"/>
            <a:chOff x="189360" y="1305720"/>
            <a:chExt cx="11336040" cy="5160240"/>
          </a:xfrm>
        </p:grpSpPr>
        <p:sp>
          <p:nvSpPr>
            <p:cNvPr id="7" name="Line 2">
              <a:extLst>
                <a:ext uri="{FF2B5EF4-FFF2-40B4-BE49-F238E27FC236}">
                  <a16:creationId xmlns:a16="http://schemas.microsoft.com/office/drawing/2014/main" id="{5BF59ACA-D628-41BC-ABF0-D2BC44DC47A4}"/>
                </a:ext>
              </a:extLst>
            </p:cNvPr>
            <p:cNvSpPr/>
            <p:nvPr/>
          </p:nvSpPr>
          <p:spPr>
            <a:xfrm flipV="1">
              <a:off x="3903120" y="1305720"/>
              <a:ext cx="61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9" name="CustomShape 3">
              <a:extLst>
                <a:ext uri="{FF2B5EF4-FFF2-40B4-BE49-F238E27FC236}">
                  <a16:creationId xmlns:a16="http://schemas.microsoft.com/office/drawing/2014/main" id="{84E4C0E2-9A1B-4195-966F-351CEE1D2B0B}"/>
                </a:ext>
              </a:extLst>
            </p:cNvPr>
            <p:cNvSpPr/>
            <p:nvPr/>
          </p:nvSpPr>
          <p:spPr>
            <a:xfrm>
              <a:off x="3888360" y="150912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Optionen</a:t>
              </a:r>
              <a:endParaRPr lang="de-DE" sz="3200" b="0" strike="noStrike" spc="-1">
                <a:latin typeface="Arial"/>
              </a:endParaRPr>
            </a:p>
          </p:txBody>
        </p:sp>
        <p:sp>
          <p:nvSpPr>
            <p:cNvPr id="11" name="Line 4">
              <a:extLst>
                <a:ext uri="{FF2B5EF4-FFF2-40B4-BE49-F238E27FC236}">
                  <a16:creationId xmlns:a16="http://schemas.microsoft.com/office/drawing/2014/main" id="{1C4E46BF-BE3F-4BE0-AAB4-47784F011708}"/>
                </a:ext>
              </a:extLst>
            </p:cNvPr>
            <p:cNvSpPr/>
            <p:nvPr/>
          </p:nvSpPr>
          <p:spPr>
            <a:xfrm flipV="1">
              <a:off x="734400" y="2455200"/>
              <a:ext cx="61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3" name="CustomShape 5">
              <a:extLst>
                <a:ext uri="{FF2B5EF4-FFF2-40B4-BE49-F238E27FC236}">
                  <a16:creationId xmlns:a16="http://schemas.microsoft.com/office/drawing/2014/main" id="{7ADFEE1E-9343-4337-976D-25138DECAE0D}"/>
                </a:ext>
              </a:extLst>
            </p:cNvPr>
            <p:cNvSpPr/>
            <p:nvPr/>
          </p:nvSpPr>
          <p:spPr>
            <a:xfrm>
              <a:off x="719640" y="265644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Aktienoptionen</a:t>
              </a:r>
              <a:endParaRPr lang="de-DE" sz="3200" b="0" strike="noStrike" spc="-1">
                <a:latin typeface="Arial"/>
              </a:endParaRPr>
            </a:p>
          </p:txBody>
        </p:sp>
        <p:sp>
          <p:nvSpPr>
            <p:cNvPr id="15" name="Line 6">
              <a:extLst>
                <a:ext uri="{FF2B5EF4-FFF2-40B4-BE49-F238E27FC236}">
                  <a16:creationId xmlns:a16="http://schemas.microsoft.com/office/drawing/2014/main" id="{7C51827C-A709-4E6F-818A-318BE74A1583}"/>
                </a:ext>
              </a:extLst>
            </p:cNvPr>
            <p:cNvSpPr/>
            <p:nvPr/>
          </p:nvSpPr>
          <p:spPr>
            <a:xfrm flipV="1">
              <a:off x="2510280" y="3801240"/>
              <a:ext cx="6120" cy="8575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7" name="CustomShape 7">
              <a:extLst>
                <a:ext uri="{FF2B5EF4-FFF2-40B4-BE49-F238E27FC236}">
                  <a16:creationId xmlns:a16="http://schemas.microsoft.com/office/drawing/2014/main" id="{BA436ECC-F19A-45BB-A986-003B22F3C114}"/>
                </a:ext>
              </a:extLst>
            </p:cNvPr>
            <p:cNvSpPr/>
            <p:nvPr/>
          </p:nvSpPr>
          <p:spPr>
            <a:xfrm>
              <a:off x="2495520" y="400248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Indexoptionen</a:t>
              </a:r>
              <a:endParaRPr lang="de-DE" sz="3200" b="0" strike="noStrike" spc="-1">
                <a:latin typeface="Arial"/>
              </a:endParaRPr>
            </a:p>
          </p:txBody>
        </p:sp>
        <p:sp>
          <p:nvSpPr>
            <p:cNvPr id="19" name="Line 8">
              <a:extLst>
                <a:ext uri="{FF2B5EF4-FFF2-40B4-BE49-F238E27FC236}">
                  <a16:creationId xmlns:a16="http://schemas.microsoft.com/office/drawing/2014/main" id="{72BB03D4-840D-4546-9FF4-6AF294F46E57}"/>
                </a:ext>
              </a:extLst>
            </p:cNvPr>
            <p:cNvSpPr/>
            <p:nvPr/>
          </p:nvSpPr>
          <p:spPr>
            <a:xfrm flipV="1">
              <a:off x="5073480" y="5160240"/>
              <a:ext cx="648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9">
              <a:extLst>
                <a:ext uri="{FF2B5EF4-FFF2-40B4-BE49-F238E27FC236}">
                  <a16:creationId xmlns:a16="http://schemas.microsoft.com/office/drawing/2014/main" id="{C70BFE6C-033F-43FC-BC30-FD81697895E8}"/>
                </a:ext>
              </a:extLst>
            </p:cNvPr>
            <p:cNvSpPr/>
            <p:nvPr/>
          </p:nvSpPr>
          <p:spPr>
            <a:xfrm>
              <a:off x="5058720" y="536364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Zinsoptionen</a:t>
              </a:r>
              <a:endParaRPr lang="de-DE" sz="3200" b="0" strike="noStrike" spc="-1">
                <a:latin typeface="Arial"/>
              </a:endParaRPr>
            </a:p>
          </p:txBody>
        </p:sp>
        <p:sp>
          <p:nvSpPr>
            <p:cNvPr id="23" name="Line 10">
              <a:extLst>
                <a:ext uri="{FF2B5EF4-FFF2-40B4-BE49-F238E27FC236}">
                  <a16:creationId xmlns:a16="http://schemas.microsoft.com/office/drawing/2014/main" id="{8F5A3DAA-45A6-4A3F-BE68-481737526F04}"/>
                </a:ext>
              </a:extLst>
            </p:cNvPr>
            <p:cNvSpPr/>
            <p:nvPr/>
          </p:nvSpPr>
          <p:spPr>
            <a:xfrm flipV="1">
              <a:off x="7935120" y="4478760"/>
              <a:ext cx="648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5" name="CustomShape 11">
              <a:extLst>
                <a:ext uri="{FF2B5EF4-FFF2-40B4-BE49-F238E27FC236}">
                  <a16:creationId xmlns:a16="http://schemas.microsoft.com/office/drawing/2014/main" id="{86061BF1-83BB-48E9-91B0-C6153CEC6EA4}"/>
                </a:ext>
              </a:extLst>
            </p:cNvPr>
            <p:cNvSpPr/>
            <p:nvPr/>
          </p:nvSpPr>
          <p:spPr>
            <a:xfrm>
              <a:off x="7920720" y="468000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Devisenoptionen</a:t>
              </a:r>
              <a:endParaRPr lang="de-DE" sz="3200" b="0" strike="noStrike" spc="-1">
                <a:latin typeface="Arial"/>
              </a:endParaRPr>
            </a:p>
          </p:txBody>
        </p:sp>
        <p:sp>
          <p:nvSpPr>
            <p:cNvPr id="27" name="Line 12">
              <a:extLst>
                <a:ext uri="{FF2B5EF4-FFF2-40B4-BE49-F238E27FC236}">
                  <a16:creationId xmlns:a16="http://schemas.microsoft.com/office/drawing/2014/main" id="{B50CD83B-6F05-45EC-8E5A-95805CF92A96}"/>
                </a:ext>
              </a:extLst>
            </p:cNvPr>
            <p:cNvSpPr/>
            <p:nvPr/>
          </p:nvSpPr>
          <p:spPr>
            <a:xfrm flipV="1">
              <a:off x="7450560" y="2859480"/>
              <a:ext cx="61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9" name="CustomShape 13">
              <a:extLst>
                <a:ext uri="{FF2B5EF4-FFF2-40B4-BE49-F238E27FC236}">
                  <a16:creationId xmlns:a16="http://schemas.microsoft.com/office/drawing/2014/main" id="{A94780F0-0B57-4F77-BF50-24BAC5909C9F}"/>
                </a:ext>
              </a:extLst>
            </p:cNvPr>
            <p:cNvSpPr/>
            <p:nvPr/>
          </p:nvSpPr>
          <p:spPr>
            <a:xfrm>
              <a:off x="7435800" y="306288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Derivateoptionen</a:t>
              </a:r>
              <a:endParaRPr lang="de-DE" sz="3200" b="0" strike="noStrike" spc="-1">
                <a:latin typeface="Arial"/>
              </a:endParaRPr>
            </a:p>
          </p:txBody>
        </p:sp>
        <p:sp>
          <p:nvSpPr>
            <p:cNvPr id="31" name="Line 14">
              <a:extLst>
                <a:ext uri="{FF2B5EF4-FFF2-40B4-BE49-F238E27FC236}">
                  <a16:creationId xmlns:a16="http://schemas.microsoft.com/office/drawing/2014/main" id="{0FB6749D-C68F-4E01-A472-FAE89496A252}"/>
                </a:ext>
              </a:extLst>
            </p:cNvPr>
            <p:cNvSpPr/>
            <p:nvPr/>
          </p:nvSpPr>
          <p:spPr>
            <a:xfrm flipH="1">
              <a:off x="2495520" y="2125080"/>
              <a:ext cx="2256120" cy="53100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33" name="Line 15">
              <a:extLst>
                <a:ext uri="{FF2B5EF4-FFF2-40B4-BE49-F238E27FC236}">
                  <a16:creationId xmlns:a16="http://schemas.microsoft.com/office/drawing/2014/main" id="{31F5E840-ECBA-4CEB-A255-5651A5B2F6AD}"/>
                </a:ext>
              </a:extLst>
            </p:cNvPr>
            <p:cNvSpPr/>
            <p:nvPr/>
          </p:nvSpPr>
          <p:spPr>
            <a:xfrm flipH="1">
              <a:off x="3695400" y="2125080"/>
              <a:ext cx="1056240" cy="187740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35" name="Line 16">
              <a:extLst>
                <a:ext uri="{FF2B5EF4-FFF2-40B4-BE49-F238E27FC236}">
                  <a16:creationId xmlns:a16="http://schemas.microsoft.com/office/drawing/2014/main" id="{1A78EF41-4082-49FB-97AB-3D5352C92C3B}"/>
                </a:ext>
              </a:extLst>
            </p:cNvPr>
            <p:cNvSpPr/>
            <p:nvPr/>
          </p:nvSpPr>
          <p:spPr>
            <a:xfrm>
              <a:off x="4751640" y="2125080"/>
              <a:ext cx="1513440" cy="31705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37" name="Line 17">
              <a:extLst>
                <a:ext uri="{FF2B5EF4-FFF2-40B4-BE49-F238E27FC236}">
                  <a16:creationId xmlns:a16="http://schemas.microsoft.com/office/drawing/2014/main" id="{F63356A3-D732-4982-B163-48C1603DEFE7}"/>
                </a:ext>
              </a:extLst>
            </p:cNvPr>
            <p:cNvSpPr/>
            <p:nvPr/>
          </p:nvSpPr>
          <p:spPr>
            <a:xfrm>
              <a:off x="4766400" y="2150280"/>
              <a:ext cx="2865960" cy="25293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39" name="Line 18">
              <a:extLst>
                <a:ext uri="{FF2B5EF4-FFF2-40B4-BE49-F238E27FC236}">
                  <a16:creationId xmlns:a16="http://schemas.microsoft.com/office/drawing/2014/main" id="{941E8582-0303-4BB0-99B8-F32BB47CBC20}"/>
                </a:ext>
              </a:extLst>
            </p:cNvPr>
            <p:cNvSpPr/>
            <p:nvPr/>
          </p:nvSpPr>
          <p:spPr>
            <a:xfrm>
              <a:off x="4751640" y="2125080"/>
              <a:ext cx="4460040" cy="93744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pic>
          <p:nvPicPr>
            <p:cNvPr id="41" name="Picture 2">
              <a:extLst>
                <a:ext uri="{FF2B5EF4-FFF2-40B4-BE49-F238E27FC236}">
                  <a16:creationId xmlns:a16="http://schemas.microsoft.com/office/drawing/2014/main" id="{DBF44012-B00A-4375-8E90-2D7C2D749BBF}"/>
                </a:ext>
              </a:extLst>
            </p:cNvPr>
            <p:cNvPicPr/>
            <p:nvPr/>
          </p:nvPicPr>
          <p:blipFill>
            <a:blip r:embed="rId3"/>
            <a:stretch/>
          </p:blipFill>
          <p:spPr>
            <a:xfrm>
              <a:off x="2959920" y="4806360"/>
              <a:ext cx="1055880" cy="1061640"/>
            </a:xfrm>
            <a:prstGeom prst="rect">
              <a:avLst/>
            </a:prstGeom>
            <a:ln w="9360">
              <a:noFill/>
            </a:ln>
          </p:spPr>
        </p:pic>
        <p:pic>
          <p:nvPicPr>
            <p:cNvPr id="43" name="Picture 21">
              <a:extLst>
                <a:ext uri="{FF2B5EF4-FFF2-40B4-BE49-F238E27FC236}">
                  <a16:creationId xmlns:a16="http://schemas.microsoft.com/office/drawing/2014/main" id="{C4BB259A-12AD-4017-B629-2C16B02773BA}"/>
                </a:ext>
              </a:extLst>
            </p:cNvPr>
            <p:cNvPicPr/>
            <p:nvPr/>
          </p:nvPicPr>
          <p:blipFill>
            <a:blip r:embed="rId4"/>
            <a:stretch/>
          </p:blipFill>
          <p:spPr>
            <a:xfrm>
              <a:off x="189360" y="3415680"/>
              <a:ext cx="1879200" cy="1070640"/>
            </a:xfrm>
            <a:prstGeom prst="rect">
              <a:avLst/>
            </a:prstGeom>
            <a:ln>
              <a:noFill/>
            </a:ln>
          </p:spPr>
        </p:pic>
        <p:pic>
          <p:nvPicPr>
            <p:cNvPr id="45" name="Picture 3">
              <a:extLst>
                <a:ext uri="{FF2B5EF4-FFF2-40B4-BE49-F238E27FC236}">
                  <a16:creationId xmlns:a16="http://schemas.microsoft.com/office/drawing/2014/main" id="{15449DFF-E188-4AA7-ACCA-5F0024D3F1FA}"/>
                </a:ext>
              </a:extLst>
            </p:cNvPr>
            <p:cNvPicPr/>
            <p:nvPr/>
          </p:nvPicPr>
          <p:blipFill>
            <a:blip r:embed="rId5"/>
            <a:stretch/>
          </p:blipFill>
          <p:spPr>
            <a:xfrm>
              <a:off x="9989640" y="3570120"/>
              <a:ext cx="1535760" cy="1164240"/>
            </a:xfrm>
            <a:prstGeom prst="rect">
              <a:avLst/>
            </a:prstGeom>
            <a:ln w="9360">
              <a:noFill/>
            </a:ln>
          </p:spPr>
        </p:pic>
        <p:sp>
          <p:nvSpPr>
            <p:cNvPr id="47" name="CustomShape 19">
              <a:extLst>
                <a:ext uri="{FF2B5EF4-FFF2-40B4-BE49-F238E27FC236}">
                  <a16:creationId xmlns:a16="http://schemas.microsoft.com/office/drawing/2014/main" id="{AE5F8A69-8DFA-4D87-A08C-B8FE507D6822}"/>
                </a:ext>
              </a:extLst>
            </p:cNvPr>
            <p:cNvSpPr/>
            <p:nvPr/>
          </p:nvSpPr>
          <p:spPr>
            <a:xfrm>
              <a:off x="9752760" y="5158440"/>
              <a:ext cx="559080" cy="9838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5870" b="1" strike="noStrike" spc="-1">
                  <a:solidFill>
                    <a:srgbClr val="70AD47"/>
                  </a:solidFill>
                  <a:latin typeface="Calibri"/>
                </a:rPr>
                <a:t>$</a:t>
              </a:r>
              <a:endParaRPr lang="de-DE" sz="5870" b="0" strike="noStrike" spc="-1">
                <a:latin typeface="Arial"/>
              </a:endParaRPr>
            </a:p>
          </p:txBody>
        </p:sp>
        <p:sp>
          <p:nvSpPr>
            <p:cNvPr id="49" name="CustomShape 20">
              <a:extLst>
                <a:ext uri="{FF2B5EF4-FFF2-40B4-BE49-F238E27FC236}">
                  <a16:creationId xmlns:a16="http://schemas.microsoft.com/office/drawing/2014/main" id="{8FF7E5C8-C6FF-4284-AED3-962C87029C3F}"/>
                </a:ext>
              </a:extLst>
            </p:cNvPr>
            <p:cNvSpPr/>
            <p:nvPr/>
          </p:nvSpPr>
          <p:spPr>
            <a:xfrm>
              <a:off x="7454880" y="5482080"/>
              <a:ext cx="723600" cy="9838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5870" b="1" strike="noStrike" spc="-1">
                  <a:solidFill>
                    <a:srgbClr val="FFC000"/>
                  </a:solidFill>
                  <a:latin typeface="Calibri"/>
                </a:rPr>
                <a:t>%</a:t>
              </a:r>
              <a:endParaRPr lang="de-DE" sz="5870" b="0" strike="noStrike" spc="-1">
                <a:latin typeface="Arial"/>
              </a:endParaRPr>
            </a:p>
          </p:txBody>
        </p:sp>
      </p:grpSp>
    </p:spTree>
    <p:extLst>
      <p:ext uri="{BB962C8B-B14F-4D97-AF65-F5344CB8AC3E}">
        <p14:creationId xmlns:p14="http://schemas.microsoft.com/office/powerpoint/2010/main" val="19920001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B2847A9-BD81-4687-9C0C-14E9C4420523}"/>
              </a:ext>
            </a:extLst>
          </p:cNvPr>
          <p:cNvSpPr>
            <a:spLocks noGrp="1"/>
          </p:cNvSpPr>
          <p:nvPr>
            <p:ph type="sldNum" sz="quarter" idx="10"/>
          </p:nvPr>
        </p:nvSpPr>
        <p:spPr/>
        <p:txBody>
          <a:bodyPr/>
          <a:lstStyle/>
          <a:p>
            <a:fld id="{F966D7FF-EADB-4E92-9989-4DE4533DAC48}" type="slidenum">
              <a:rPr lang="de-DE" smtClean="0"/>
              <a:pPr/>
              <a:t>29</a:t>
            </a:fld>
            <a:endParaRPr lang="de-DE" dirty="0"/>
          </a:p>
        </p:txBody>
      </p:sp>
      <p:sp>
        <p:nvSpPr>
          <p:cNvPr id="3" name="Inhaltsplatzhalter 2">
            <a:extLst>
              <a:ext uri="{FF2B5EF4-FFF2-40B4-BE49-F238E27FC236}">
                <a16:creationId xmlns:a16="http://schemas.microsoft.com/office/drawing/2014/main" id="{BD0A4EFF-6B04-4BA6-87B2-1D2C754E42AC}"/>
              </a:ext>
            </a:extLst>
          </p:cNvPr>
          <p:cNvSpPr>
            <a:spLocks noGrp="1"/>
          </p:cNvSpPr>
          <p:nvPr>
            <p:ph idx="11"/>
          </p:nvPr>
        </p:nvSpPr>
        <p:spPr/>
        <p:txBody>
          <a:bodyPr/>
          <a:lstStyle/>
          <a:p>
            <a:r>
              <a:rPr lang="de-DE" sz="1200" dirty="0">
                <a:ea typeface="Verdana"/>
                <a:cs typeface="Arial"/>
              </a:rPr>
              <a:t>Optionspositionen</a:t>
            </a:r>
            <a:endParaRPr lang="de-DE" sz="1200" dirty="0"/>
          </a:p>
        </p:txBody>
      </p:sp>
      <p:sp>
        <p:nvSpPr>
          <p:cNvPr id="5" name="Inhaltsplatzhalter 4">
            <a:extLst>
              <a:ext uri="{FF2B5EF4-FFF2-40B4-BE49-F238E27FC236}">
                <a16:creationId xmlns:a16="http://schemas.microsoft.com/office/drawing/2014/main" id="{A1136D5D-B0B5-467B-ACBC-62B1B07DCFBE}"/>
              </a:ext>
            </a:extLst>
          </p:cNvPr>
          <p:cNvSpPr>
            <a:spLocks noGrp="1"/>
          </p:cNvSpPr>
          <p:nvPr>
            <p:ph idx="12"/>
          </p:nvPr>
        </p:nvSpPr>
        <p:spPr/>
        <p:txBody>
          <a:bodyPr/>
          <a:lstStyle/>
          <a:p>
            <a:r>
              <a:rPr lang="de-DE" dirty="0"/>
              <a:t>Auch mit dem Verkauf einer Option kann eine Call-Position auf den Basiswert eingenommen werden</a:t>
            </a:r>
          </a:p>
        </p:txBody>
      </p:sp>
      <p:grpSp>
        <p:nvGrpSpPr>
          <p:cNvPr id="38" name="Gruppieren 37">
            <a:extLst>
              <a:ext uri="{FF2B5EF4-FFF2-40B4-BE49-F238E27FC236}">
                <a16:creationId xmlns:a16="http://schemas.microsoft.com/office/drawing/2014/main" id="{8A2B120E-594F-45E4-B2B6-8776429F3DA1}"/>
              </a:ext>
            </a:extLst>
          </p:cNvPr>
          <p:cNvGrpSpPr/>
          <p:nvPr/>
        </p:nvGrpSpPr>
        <p:grpSpPr>
          <a:xfrm>
            <a:off x="512665" y="1690920"/>
            <a:ext cx="11328480" cy="3901857"/>
            <a:chOff x="431640" y="1690920"/>
            <a:chExt cx="11328480" cy="3901857"/>
          </a:xfrm>
        </p:grpSpPr>
        <p:sp>
          <p:nvSpPr>
            <p:cNvPr id="7" name="Line 3">
              <a:extLst>
                <a:ext uri="{FF2B5EF4-FFF2-40B4-BE49-F238E27FC236}">
                  <a16:creationId xmlns:a16="http://schemas.microsoft.com/office/drawing/2014/main" id="{3C3193F7-6C56-4CCB-AE0F-A911D9EAD50C}"/>
                </a:ext>
              </a:extLst>
            </p:cNvPr>
            <p:cNvSpPr/>
            <p:nvPr/>
          </p:nvSpPr>
          <p:spPr>
            <a:xfrm flipV="1">
              <a:off x="1407240" y="1690920"/>
              <a:ext cx="4320" cy="85752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9" name="CustomShape 4">
              <a:extLst>
                <a:ext uri="{FF2B5EF4-FFF2-40B4-BE49-F238E27FC236}">
                  <a16:creationId xmlns:a16="http://schemas.microsoft.com/office/drawing/2014/main" id="{E3A489CC-43A4-4DAE-BE10-8CF378A2425B}"/>
                </a:ext>
              </a:extLst>
            </p:cNvPr>
            <p:cNvSpPr/>
            <p:nvPr/>
          </p:nvSpPr>
          <p:spPr>
            <a:xfrm>
              <a:off x="1390680" y="1892160"/>
              <a:ext cx="3553560" cy="52176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800" b="1" strike="noStrike" spc="-1">
                  <a:latin typeface="Arial" panose="020B0604020202020204" pitchFamily="34" charset="0"/>
                  <a:cs typeface="Arial" panose="020B0604020202020204" pitchFamily="34" charset="0"/>
                </a:rPr>
                <a:t>Kaufoption </a:t>
              </a:r>
              <a:r>
                <a:rPr lang="de-DE" sz="2800" b="1" i="1" strike="noStrike" spc="-1">
                  <a:latin typeface="Arial" panose="020B0604020202020204" pitchFamily="34" charset="0"/>
                  <a:cs typeface="Arial" panose="020B0604020202020204" pitchFamily="34" charset="0"/>
                </a:rPr>
                <a:t>(Call)</a:t>
              </a:r>
              <a:endParaRPr lang="de-DE" sz="2800" b="0" strike="noStrike" spc="-1">
                <a:latin typeface="Arial" panose="020B0604020202020204" pitchFamily="34" charset="0"/>
                <a:cs typeface="Arial" panose="020B0604020202020204" pitchFamily="34" charset="0"/>
              </a:endParaRPr>
            </a:p>
          </p:txBody>
        </p:sp>
        <p:sp>
          <p:nvSpPr>
            <p:cNvPr id="11" name="Line 5">
              <a:extLst>
                <a:ext uri="{FF2B5EF4-FFF2-40B4-BE49-F238E27FC236}">
                  <a16:creationId xmlns:a16="http://schemas.microsoft.com/office/drawing/2014/main" id="{2D7E4ACB-80B9-455C-9308-CB0B32C49738}"/>
                </a:ext>
              </a:extLst>
            </p:cNvPr>
            <p:cNvSpPr/>
            <p:nvPr/>
          </p:nvSpPr>
          <p:spPr>
            <a:xfrm flipV="1">
              <a:off x="6512760" y="1690920"/>
              <a:ext cx="6480" cy="85752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13" name="CustomShape 6">
              <a:extLst>
                <a:ext uri="{FF2B5EF4-FFF2-40B4-BE49-F238E27FC236}">
                  <a16:creationId xmlns:a16="http://schemas.microsoft.com/office/drawing/2014/main" id="{8541272F-8140-4654-8262-0092D1C3D01C}"/>
                </a:ext>
              </a:extLst>
            </p:cNvPr>
            <p:cNvSpPr/>
            <p:nvPr/>
          </p:nvSpPr>
          <p:spPr>
            <a:xfrm>
              <a:off x="6498000" y="1892160"/>
              <a:ext cx="4781160" cy="52176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800" b="1" strike="noStrike" spc="-1">
                  <a:latin typeface="Arial" panose="020B0604020202020204" pitchFamily="34" charset="0"/>
                  <a:cs typeface="Arial" panose="020B0604020202020204" pitchFamily="34" charset="0"/>
                </a:rPr>
                <a:t>Verkaufsoption </a:t>
              </a:r>
              <a:r>
                <a:rPr lang="de-DE" sz="2800" b="1" i="1" strike="noStrike" spc="-1">
                  <a:latin typeface="Arial" panose="020B0604020202020204" pitchFamily="34" charset="0"/>
                  <a:cs typeface="Arial" panose="020B0604020202020204" pitchFamily="34" charset="0"/>
                </a:rPr>
                <a:t>(Put)</a:t>
              </a:r>
              <a:endParaRPr lang="de-DE" sz="2800" b="0" strike="noStrike" spc="-1">
                <a:latin typeface="Arial" panose="020B0604020202020204" pitchFamily="34" charset="0"/>
                <a:cs typeface="Arial" panose="020B0604020202020204" pitchFamily="34" charset="0"/>
              </a:endParaRPr>
            </a:p>
          </p:txBody>
        </p:sp>
        <p:sp>
          <p:nvSpPr>
            <p:cNvPr id="15" name="CustomShape 7">
              <a:extLst>
                <a:ext uri="{FF2B5EF4-FFF2-40B4-BE49-F238E27FC236}">
                  <a16:creationId xmlns:a16="http://schemas.microsoft.com/office/drawing/2014/main" id="{8E056051-9E8D-47C0-8CCB-39EEA4A298D3}"/>
                </a:ext>
              </a:extLst>
            </p:cNvPr>
            <p:cNvSpPr/>
            <p:nvPr/>
          </p:nvSpPr>
          <p:spPr>
            <a:xfrm>
              <a:off x="431640" y="3378240"/>
              <a:ext cx="2400120" cy="221453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dirty="0">
                  <a:latin typeface="Arial" panose="020B0604020202020204" pitchFamily="34" charset="0"/>
                  <a:cs typeface="Arial" panose="020B0604020202020204" pitchFamily="34" charset="0"/>
                </a:rPr>
                <a:t>Long Call</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Optionsinhaber</a:t>
              </a:r>
            </a:p>
            <a:p>
              <a:pPr>
                <a:lnSpc>
                  <a:spcPct val="100000"/>
                </a:lnSpc>
              </a:pPr>
              <a:r>
                <a:rPr lang="de-DE" b="0" strike="noStrike" spc="-1" dirty="0">
                  <a:latin typeface="Arial" panose="020B0604020202020204" pitchFamily="34" charset="0"/>
                  <a:cs typeface="Arial" panose="020B0604020202020204" pitchFamily="34" charset="0"/>
                </a:rPr>
                <a:t>hat Recht auf Ausübung der</a:t>
              </a:r>
            </a:p>
            <a:p>
              <a:pPr>
                <a:lnSpc>
                  <a:spcPct val="100000"/>
                </a:lnSpc>
              </a:pPr>
              <a:r>
                <a:rPr lang="de-DE" b="0" strike="noStrike" spc="-1" dirty="0">
                  <a:latin typeface="Arial" panose="020B0604020202020204" pitchFamily="34" charset="0"/>
                  <a:cs typeface="Arial" panose="020B0604020202020204" pitchFamily="34" charset="0"/>
                </a:rPr>
                <a:t>Option, kann zum Basispreis kaufen</a:t>
              </a:r>
            </a:p>
          </p:txBody>
        </p:sp>
        <p:sp>
          <p:nvSpPr>
            <p:cNvPr id="17" name="Line 8">
              <a:extLst>
                <a:ext uri="{FF2B5EF4-FFF2-40B4-BE49-F238E27FC236}">
                  <a16:creationId xmlns:a16="http://schemas.microsoft.com/office/drawing/2014/main" id="{48A21646-2DC4-4558-837D-239B0427A793}"/>
                </a:ext>
              </a:extLst>
            </p:cNvPr>
            <p:cNvSpPr/>
            <p:nvPr/>
          </p:nvSpPr>
          <p:spPr>
            <a:xfrm flipV="1">
              <a:off x="431640" y="3045600"/>
              <a:ext cx="360" cy="168480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19" name="CustomShape 9">
              <a:extLst>
                <a:ext uri="{FF2B5EF4-FFF2-40B4-BE49-F238E27FC236}">
                  <a16:creationId xmlns:a16="http://schemas.microsoft.com/office/drawing/2014/main" id="{ABF0F7AA-37CC-4658-97F8-7F2B5EEE6BD9}"/>
                </a:ext>
              </a:extLst>
            </p:cNvPr>
            <p:cNvSpPr/>
            <p:nvPr/>
          </p:nvSpPr>
          <p:spPr>
            <a:xfrm>
              <a:off x="3312720" y="3378240"/>
              <a:ext cx="2400120" cy="198062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dirty="0">
                  <a:latin typeface="Arial" panose="020B0604020202020204" pitchFamily="34" charset="0"/>
                  <a:cs typeface="Arial" panose="020B0604020202020204" pitchFamily="34" charset="0"/>
                </a:rPr>
                <a:t>Short Call</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Stillhalter hat Pflicht zum Basispreis zu verkaufen, wenn ausgeübt wird</a:t>
              </a:r>
            </a:p>
          </p:txBody>
        </p:sp>
        <p:sp>
          <p:nvSpPr>
            <p:cNvPr id="21" name="Line 10">
              <a:extLst>
                <a:ext uri="{FF2B5EF4-FFF2-40B4-BE49-F238E27FC236}">
                  <a16:creationId xmlns:a16="http://schemas.microsoft.com/office/drawing/2014/main" id="{AD6191CD-7F12-489A-B31E-943C172CBE1F}"/>
                </a:ext>
              </a:extLst>
            </p:cNvPr>
            <p:cNvSpPr/>
            <p:nvPr/>
          </p:nvSpPr>
          <p:spPr>
            <a:xfrm flipV="1">
              <a:off x="3312360" y="3045600"/>
              <a:ext cx="360" cy="168480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23" name="CustomShape 11">
              <a:extLst>
                <a:ext uri="{FF2B5EF4-FFF2-40B4-BE49-F238E27FC236}">
                  <a16:creationId xmlns:a16="http://schemas.microsoft.com/office/drawing/2014/main" id="{F48B6757-FCED-49BC-A35A-621E9328B7AB}"/>
                </a:ext>
              </a:extLst>
            </p:cNvPr>
            <p:cNvSpPr/>
            <p:nvPr/>
          </p:nvSpPr>
          <p:spPr>
            <a:xfrm>
              <a:off x="6479280" y="3378240"/>
              <a:ext cx="2400120" cy="221453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a:latin typeface="Arial" panose="020B0604020202020204" pitchFamily="34" charset="0"/>
                  <a:cs typeface="Arial" panose="020B0604020202020204" pitchFamily="34" charset="0"/>
                </a:rPr>
                <a:t>Long Put</a:t>
              </a:r>
              <a:endParaRPr lang="de-DE" sz="2400" b="0" strike="noStrike" spc="-1">
                <a:latin typeface="Arial" panose="020B0604020202020204" pitchFamily="34" charset="0"/>
                <a:cs typeface="Arial" panose="020B0604020202020204" pitchFamily="34" charset="0"/>
              </a:endParaRPr>
            </a:p>
            <a:p>
              <a:pPr>
                <a:lnSpc>
                  <a:spcPct val="100000"/>
                </a:lnSpc>
              </a:pPr>
              <a:endParaRPr lang="de-DE" sz="2400" b="0" strike="noStrike" spc="-1">
                <a:latin typeface="Arial" panose="020B0604020202020204" pitchFamily="34" charset="0"/>
                <a:cs typeface="Arial" panose="020B0604020202020204" pitchFamily="34" charset="0"/>
              </a:endParaRPr>
            </a:p>
            <a:p>
              <a:pPr>
                <a:lnSpc>
                  <a:spcPct val="100000"/>
                </a:lnSpc>
              </a:pPr>
              <a:r>
                <a:rPr lang="de-DE" b="0" strike="noStrike" spc="-1">
                  <a:latin typeface="Arial" panose="020B0604020202020204" pitchFamily="34" charset="0"/>
                  <a:cs typeface="Arial" panose="020B0604020202020204" pitchFamily="34" charset="0"/>
                </a:rPr>
                <a:t>Optionsinhaber</a:t>
              </a:r>
            </a:p>
            <a:p>
              <a:pPr>
                <a:lnSpc>
                  <a:spcPct val="100000"/>
                </a:lnSpc>
              </a:pPr>
              <a:r>
                <a:rPr lang="de-DE" b="0" strike="noStrike" spc="-1">
                  <a:latin typeface="Arial" panose="020B0604020202020204" pitchFamily="34" charset="0"/>
                  <a:cs typeface="Arial" panose="020B0604020202020204" pitchFamily="34" charset="0"/>
                </a:rPr>
                <a:t>hat Recht auf Ausübung der Option, kann zum Basispreis verkaufen</a:t>
              </a:r>
            </a:p>
          </p:txBody>
        </p:sp>
        <p:sp>
          <p:nvSpPr>
            <p:cNvPr id="25" name="Line 12">
              <a:extLst>
                <a:ext uri="{FF2B5EF4-FFF2-40B4-BE49-F238E27FC236}">
                  <a16:creationId xmlns:a16="http://schemas.microsoft.com/office/drawing/2014/main" id="{ED16FAAF-381E-4631-8CB7-75DDD5FC2C42}"/>
                </a:ext>
              </a:extLst>
            </p:cNvPr>
            <p:cNvSpPr/>
            <p:nvPr/>
          </p:nvSpPr>
          <p:spPr>
            <a:xfrm flipV="1">
              <a:off x="6478920" y="3045600"/>
              <a:ext cx="360" cy="168480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27" name="CustomShape 13">
              <a:extLst>
                <a:ext uri="{FF2B5EF4-FFF2-40B4-BE49-F238E27FC236}">
                  <a16:creationId xmlns:a16="http://schemas.microsoft.com/office/drawing/2014/main" id="{0FE82D7E-2506-4296-89D6-16D2768A4FE2}"/>
                </a:ext>
              </a:extLst>
            </p:cNvPr>
            <p:cNvSpPr/>
            <p:nvPr/>
          </p:nvSpPr>
          <p:spPr>
            <a:xfrm>
              <a:off x="9360000" y="3378240"/>
              <a:ext cx="2400120" cy="193753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a:latin typeface="Arial" panose="020B0604020202020204" pitchFamily="34" charset="0"/>
                  <a:cs typeface="Arial" panose="020B0604020202020204" pitchFamily="34" charset="0"/>
                </a:rPr>
                <a:t>Short Put</a:t>
              </a:r>
              <a:endParaRPr lang="de-DE" sz="2400" b="0" strike="noStrike" spc="-1">
                <a:latin typeface="Arial" panose="020B0604020202020204" pitchFamily="34" charset="0"/>
                <a:cs typeface="Arial" panose="020B0604020202020204" pitchFamily="34" charset="0"/>
              </a:endParaRPr>
            </a:p>
            <a:p>
              <a:pPr>
                <a:lnSpc>
                  <a:spcPct val="100000"/>
                </a:lnSpc>
              </a:pPr>
              <a:endParaRPr lang="de-DE" sz="2400" b="0" strike="noStrike" spc="-1">
                <a:latin typeface="Arial" panose="020B0604020202020204" pitchFamily="34" charset="0"/>
                <a:cs typeface="Arial" panose="020B0604020202020204" pitchFamily="34" charset="0"/>
              </a:endParaRPr>
            </a:p>
            <a:p>
              <a:pPr>
                <a:lnSpc>
                  <a:spcPct val="100000"/>
                </a:lnSpc>
              </a:pPr>
              <a:r>
                <a:rPr lang="de-DE" b="0" strike="noStrike" spc="-1">
                  <a:latin typeface="Arial" panose="020B0604020202020204" pitchFamily="34" charset="0"/>
                  <a:cs typeface="Arial" panose="020B0604020202020204" pitchFamily="34" charset="0"/>
                </a:rPr>
                <a:t>Stillhalter</a:t>
              </a:r>
            </a:p>
            <a:p>
              <a:pPr>
                <a:lnSpc>
                  <a:spcPct val="100000"/>
                </a:lnSpc>
              </a:pPr>
              <a:r>
                <a:rPr lang="de-DE" b="0" strike="noStrike" spc="-1">
                  <a:latin typeface="Arial" panose="020B0604020202020204" pitchFamily="34" charset="0"/>
                  <a:cs typeface="Arial" panose="020B0604020202020204" pitchFamily="34" charset="0"/>
                </a:rPr>
                <a:t>hat Pflicht zum Basispreis zu kaufen, wenn ausgeübt wird</a:t>
              </a:r>
            </a:p>
          </p:txBody>
        </p:sp>
        <p:sp>
          <p:nvSpPr>
            <p:cNvPr id="29" name="Line 14">
              <a:extLst>
                <a:ext uri="{FF2B5EF4-FFF2-40B4-BE49-F238E27FC236}">
                  <a16:creationId xmlns:a16="http://schemas.microsoft.com/office/drawing/2014/main" id="{4BDBAA09-F83C-47C2-938B-ACE25A4B98BA}"/>
                </a:ext>
              </a:extLst>
            </p:cNvPr>
            <p:cNvSpPr/>
            <p:nvPr/>
          </p:nvSpPr>
          <p:spPr>
            <a:xfrm flipV="1">
              <a:off x="9359640" y="3045600"/>
              <a:ext cx="360" cy="168480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31" name="CustomShape 15">
              <a:extLst>
                <a:ext uri="{FF2B5EF4-FFF2-40B4-BE49-F238E27FC236}">
                  <a16:creationId xmlns:a16="http://schemas.microsoft.com/office/drawing/2014/main" id="{8140C7F2-A029-4C9E-8D57-5D5E1FCA4E80}"/>
                </a:ext>
              </a:extLst>
            </p:cNvPr>
            <p:cNvSpPr/>
            <p:nvPr/>
          </p:nvSpPr>
          <p:spPr>
            <a:xfrm rot="5400000">
              <a:off x="1949400" y="2159640"/>
              <a:ext cx="900720" cy="1535400"/>
            </a:xfrm>
            <a:prstGeom prst="bentConnector3">
              <a:avLst>
                <a:gd name="adj1" fmla="val 50000"/>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33" name="CustomShape 16">
              <a:extLst>
                <a:ext uri="{FF2B5EF4-FFF2-40B4-BE49-F238E27FC236}">
                  <a16:creationId xmlns:a16="http://schemas.microsoft.com/office/drawing/2014/main" id="{072C3AD8-0E49-4348-BA6E-40909CFBDF3A}"/>
                </a:ext>
              </a:extLst>
            </p:cNvPr>
            <p:cNvSpPr/>
            <p:nvPr/>
          </p:nvSpPr>
          <p:spPr>
            <a:xfrm>
              <a:off x="3183480" y="2944440"/>
              <a:ext cx="1328760" cy="433440"/>
            </a:xfrm>
            <a:prstGeom prst="bentConnector2">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35" name="CustomShape 17">
              <a:extLst>
                <a:ext uri="{FF2B5EF4-FFF2-40B4-BE49-F238E27FC236}">
                  <a16:creationId xmlns:a16="http://schemas.microsoft.com/office/drawing/2014/main" id="{CDE7CBCD-AB50-47F8-9191-6180B0449183}"/>
                </a:ext>
              </a:extLst>
            </p:cNvPr>
            <p:cNvSpPr/>
            <p:nvPr/>
          </p:nvSpPr>
          <p:spPr>
            <a:xfrm rot="5400000">
              <a:off x="7833960" y="2322720"/>
              <a:ext cx="900720" cy="1209240"/>
            </a:xfrm>
            <a:prstGeom prst="bentConnector3">
              <a:avLst>
                <a:gd name="adj1" fmla="val 50000"/>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37" name="CustomShape 18">
              <a:extLst>
                <a:ext uri="{FF2B5EF4-FFF2-40B4-BE49-F238E27FC236}">
                  <a16:creationId xmlns:a16="http://schemas.microsoft.com/office/drawing/2014/main" id="{0CB98245-BE27-4511-A23B-A64E3548AF7B}"/>
                </a:ext>
              </a:extLst>
            </p:cNvPr>
            <p:cNvSpPr/>
            <p:nvPr/>
          </p:nvSpPr>
          <p:spPr>
            <a:xfrm>
              <a:off x="8648640" y="2944440"/>
              <a:ext cx="1910880" cy="433440"/>
            </a:xfrm>
            <a:prstGeom prst="bentConnector2">
              <a:avLst/>
            </a:prstGeom>
            <a:noFill/>
            <a:ln>
              <a:tailEnd type="triangle" w="med" len="med"/>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09798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8391A7-3AE6-4B92-A4C0-039C64524D11}"/>
              </a:ext>
            </a:extLst>
          </p:cNvPr>
          <p:cNvSpPr>
            <a:spLocks noGrp="1"/>
          </p:cNvSpPr>
          <p:nvPr>
            <p:ph type="ctrTitle"/>
          </p:nvPr>
        </p:nvSpPr>
        <p:spPr>
          <a:xfrm>
            <a:off x="5486400" y="4386805"/>
            <a:ext cx="6504972" cy="710691"/>
          </a:xfrm>
        </p:spPr>
        <p:txBody>
          <a:bodyPr/>
          <a:lstStyle/>
          <a:p>
            <a:r>
              <a:rPr lang="de-DE" b="1">
                <a:latin typeface="Arial"/>
                <a:cs typeface="Arial"/>
              </a:rPr>
              <a:t>Futures, Optionen und Zertifikate</a:t>
            </a:r>
            <a:endParaRPr lang="de-DE" b="1" dirty="0"/>
          </a:p>
        </p:txBody>
      </p:sp>
      <p:sp>
        <p:nvSpPr>
          <p:cNvPr id="3" name="Untertitel 2">
            <a:extLst>
              <a:ext uri="{FF2B5EF4-FFF2-40B4-BE49-F238E27FC236}">
                <a16:creationId xmlns:a16="http://schemas.microsoft.com/office/drawing/2014/main" id="{9C96FC17-4679-49EF-BA23-599297F11138}"/>
              </a:ext>
            </a:extLst>
          </p:cNvPr>
          <p:cNvSpPr>
            <a:spLocks noGrp="1"/>
          </p:cNvSpPr>
          <p:nvPr>
            <p:ph type="subTitle" idx="1"/>
          </p:nvPr>
        </p:nvSpPr>
        <p:spPr>
          <a:xfrm>
            <a:off x="5486403" y="5544998"/>
            <a:ext cx="5181599" cy="710691"/>
          </a:xfrm>
        </p:spPr>
        <p:txBody>
          <a:bodyPr/>
          <a:lstStyle/>
          <a:p>
            <a:r>
              <a:rPr lang="de-DE" dirty="0"/>
              <a:t>Bundesverband der Börsenvereine an deutschen Hochschulen e.V.</a:t>
            </a:r>
          </a:p>
        </p:txBody>
      </p:sp>
      <p:sp>
        <p:nvSpPr>
          <p:cNvPr id="4" name="Textfeld 3">
            <a:extLst>
              <a:ext uri="{FF2B5EF4-FFF2-40B4-BE49-F238E27FC236}">
                <a16:creationId xmlns:a16="http://schemas.microsoft.com/office/drawing/2014/main" id="{9EDDA327-C479-4EF1-BEE4-62C6A4B60F02}"/>
              </a:ext>
            </a:extLst>
          </p:cNvPr>
          <p:cNvSpPr txBox="1"/>
          <p:nvPr/>
        </p:nvSpPr>
        <p:spPr>
          <a:xfrm>
            <a:off x="5511800" y="5036743"/>
            <a:ext cx="914400" cy="914400"/>
          </a:xfrm>
          <a:prstGeom prst="rect">
            <a:avLst/>
          </a:prstGeom>
        </p:spPr>
        <p:txBody>
          <a:bodyPr wrap="none" rtlCol="0" anchor="t">
            <a:noAutofit/>
          </a:bodyPr>
          <a:lstStyle/>
          <a:p>
            <a:r>
              <a:rPr lang="de-DE" b="1" dirty="0">
                <a:solidFill>
                  <a:schemeClr val="bg1"/>
                </a:solidFill>
              </a:rPr>
              <a:t>BVH Börsenführerschein - Teil III</a:t>
            </a:r>
            <a:endParaRPr lang="de-DE" sz="1800" b="1" kern="1200" baseline="0" dirty="0">
              <a:solidFill>
                <a:schemeClr val="bg1"/>
              </a:solidFill>
              <a:latin typeface="Arial (Überschriften)"/>
              <a:ea typeface="Verdana" panose="020B0604030504040204" pitchFamily="34" charset="0"/>
            </a:endParaRPr>
          </a:p>
        </p:txBody>
      </p:sp>
    </p:spTree>
    <p:extLst>
      <p:ext uri="{BB962C8B-B14F-4D97-AF65-F5344CB8AC3E}">
        <p14:creationId xmlns:p14="http://schemas.microsoft.com/office/powerpoint/2010/main" val="3129503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0921F99D-89AA-40CE-809D-9D9ACFA7F0B0}"/>
              </a:ext>
            </a:extLst>
          </p:cNvPr>
          <p:cNvSpPr>
            <a:spLocks noGrp="1"/>
          </p:cNvSpPr>
          <p:nvPr>
            <p:ph type="sldNum" sz="quarter" idx="10"/>
          </p:nvPr>
        </p:nvSpPr>
        <p:spPr/>
        <p:txBody>
          <a:bodyPr/>
          <a:lstStyle/>
          <a:p>
            <a:fld id="{F966D7FF-EADB-4E92-9989-4DE4533DAC48}" type="slidenum">
              <a:rPr lang="de-DE" smtClean="0"/>
              <a:pPr/>
              <a:t>30</a:t>
            </a:fld>
            <a:endParaRPr lang="de-DE" dirty="0"/>
          </a:p>
        </p:txBody>
      </p:sp>
      <p:sp>
        <p:nvSpPr>
          <p:cNvPr id="3" name="Inhaltsplatzhalter 2">
            <a:extLst>
              <a:ext uri="{FF2B5EF4-FFF2-40B4-BE49-F238E27FC236}">
                <a16:creationId xmlns:a16="http://schemas.microsoft.com/office/drawing/2014/main" id="{B9912196-9B63-4BF3-BC2B-9F6A769A1EFE}"/>
              </a:ext>
            </a:extLst>
          </p:cNvPr>
          <p:cNvSpPr>
            <a:spLocks noGrp="1"/>
          </p:cNvSpPr>
          <p:nvPr>
            <p:ph idx="11"/>
          </p:nvPr>
        </p:nvSpPr>
        <p:spPr/>
        <p:txBody>
          <a:bodyPr/>
          <a:lstStyle/>
          <a:p>
            <a:r>
              <a:rPr lang="de-DE" sz="1200" dirty="0">
                <a:ea typeface="Verdana"/>
                <a:cs typeface="Arial"/>
              </a:rPr>
              <a:t>Darstellung in der Handelsplattform</a:t>
            </a:r>
            <a:endParaRPr lang="de-DE" sz="1200" dirty="0"/>
          </a:p>
        </p:txBody>
      </p:sp>
      <p:sp>
        <p:nvSpPr>
          <p:cNvPr id="5" name="Inhaltsplatzhalter 4">
            <a:extLst>
              <a:ext uri="{FF2B5EF4-FFF2-40B4-BE49-F238E27FC236}">
                <a16:creationId xmlns:a16="http://schemas.microsoft.com/office/drawing/2014/main" id="{9BD31B76-32BB-47C1-A6C6-8BDF8E31B788}"/>
              </a:ext>
            </a:extLst>
          </p:cNvPr>
          <p:cNvSpPr>
            <a:spLocks noGrp="1"/>
          </p:cNvSpPr>
          <p:nvPr>
            <p:ph idx="12"/>
          </p:nvPr>
        </p:nvSpPr>
        <p:spPr/>
        <p:txBody>
          <a:bodyPr/>
          <a:lstStyle/>
          <a:p>
            <a:r>
              <a:rPr lang="de-DE" dirty="0"/>
              <a:t>Beim Optionshandel ist eine gute Übersicht über viele gleichzeitig laufende Faktoren wichtig</a:t>
            </a:r>
          </a:p>
        </p:txBody>
      </p:sp>
      <p:pic>
        <p:nvPicPr>
          <p:cNvPr id="7" name="Grafik 6">
            <a:extLst>
              <a:ext uri="{FF2B5EF4-FFF2-40B4-BE49-F238E27FC236}">
                <a16:creationId xmlns:a16="http://schemas.microsoft.com/office/drawing/2014/main" id="{8420F230-B2D2-4DA4-9A8F-453A7E1E23D1}"/>
              </a:ext>
            </a:extLst>
          </p:cNvPr>
          <p:cNvPicPr/>
          <p:nvPr/>
        </p:nvPicPr>
        <p:blipFill>
          <a:blip r:embed="rId2"/>
          <a:srcRect l="388" t="4564" r="388"/>
          <a:stretch/>
        </p:blipFill>
        <p:spPr>
          <a:xfrm>
            <a:off x="1294641" y="1445613"/>
            <a:ext cx="9602717" cy="4644351"/>
          </a:xfrm>
          <a:prstGeom prst="rect">
            <a:avLst/>
          </a:prstGeom>
          <a:ln>
            <a:noFill/>
          </a:ln>
        </p:spPr>
      </p:pic>
    </p:spTree>
    <p:extLst>
      <p:ext uri="{BB962C8B-B14F-4D97-AF65-F5344CB8AC3E}">
        <p14:creationId xmlns:p14="http://schemas.microsoft.com/office/powerpoint/2010/main" val="26024892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9A0325C3-23B9-4EC0-8961-CEC13C1B6722}"/>
              </a:ext>
            </a:extLst>
          </p:cNvPr>
          <p:cNvSpPr>
            <a:spLocks noGrp="1"/>
          </p:cNvSpPr>
          <p:nvPr>
            <p:ph type="sldNum" sz="quarter" idx="10"/>
          </p:nvPr>
        </p:nvSpPr>
        <p:spPr/>
        <p:txBody>
          <a:bodyPr/>
          <a:lstStyle/>
          <a:p>
            <a:fld id="{F966D7FF-EADB-4E92-9989-4DE4533DAC48}" type="slidenum">
              <a:rPr lang="de-DE" smtClean="0"/>
              <a:pPr/>
              <a:t>31</a:t>
            </a:fld>
            <a:endParaRPr lang="de-DE" dirty="0"/>
          </a:p>
        </p:txBody>
      </p:sp>
      <p:sp>
        <p:nvSpPr>
          <p:cNvPr id="3" name="Inhaltsplatzhalter 2">
            <a:extLst>
              <a:ext uri="{FF2B5EF4-FFF2-40B4-BE49-F238E27FC236}">
                <a16:creationId xmlns:a16="http://schemas.microsoft.com/office/drawing/2014/main" id="{32C5E01A-AE92-41C5-B178-9DB95753CC4C}"/>
              </a:ext>
            </a:extLst>
          </p:cNvPr>
          <p:cNvSpPr>
            <a:spLocks noGrp="1"/>
          </p:cNvSpPr>
          <p:nvPr>
            <p:ph idx="11"/>
          </p:nvPr>
        </p:nvSpPr>
        <p:spPr/>
        <p:txBody>
          <a:bodyPr/>
          <a:lstStyle/>
          <a:p>
            <a:r>
              <a:rPr lang="de-DE" sz="1200" dirty="0">
                <a:ea typeface="Verdana"/>
                <a:cs typeface="Arial"/>
              </a:rPr>
              <a:t>Optionen nach Art der Ausübung</a:t>
            </a:r>
            <a:endParaRPr lang="de-DE" sz="1200" dirty="0"/>
          </a:p>
        </p:txBody>
      </p:sp>
      <p:sp>
        <p:nvSpPr>
          <p:cNvPr id="5" name="Inhaltsplatzhalter 4">
            <a:extLst>
              <a:ext uri="{FF2B5EF4-FFF2-40B4-BE49-F238E27FC236}">
                <a16:creationId xmlns:a16="http://schemas.microsoft.com/office/drawing/2014/main" id="{BBE805DD-EE70-4E05-A2C0-171D1B51B2EC}"/>
              </a:ext>
            </a:extLst>
          </p:cNvPr>
          <p:cNvSpPr>
            <a:spLocks noGrp="1"/>
          </p:cNvSpPr>
          <p:nvPr>
            <p:ph idx="12"/>
          </p:nvPr>
        </p:nvSpPr>
        <p:spPr/>
        <p:txBody>
          <a:bodyPr/>
          <a:lstStyle/>
          <a:p>
            <a:r>
              <a:rPr lang="de-DE" dirty="0"/>
              <a:t>Es gibt drei Optionstypen, die sich nach ihrer Ausübungsart unterschieden</a:t>
            </a:r>
          </a:p>
        </p:txBody>
      </p:sp>
      <p:grpSp>
        <p:nvGrpSpPr>
          <p:cNvPr id="66" name="Gruppieren 65">
            <a:extLst>
              <a:ext uri="{FF2B5EF4-FFF2-40B4-BE49-F238E27FC236}">
                <a16:creationId xmlns:a16="http://schemas.microsoft.com/office/drawing/2014/main" id="{3524E4F6-1356-47F6-A877-832A9AFCFF8E}"/>
              </a:ext>
            </a:extLst>
          </p:cNvPr>
          <p:cNvGrpSpPr/>
          <p:nvPr/>
        </p:nvGrpSpPr>
        <p:grpSpPr>
          <a:xfrm>
            <a:off x="-422663" y="99317"/>
            <a:ext cx="20341800" cy="9909720"/>
            <a:chOff x="-422663" y="99317"/>
            <a:chExt cx="20341800" cy="9909720"/>
          </a:xfrm>
        </p:grpSpPr>
        <p:sp>
          <p:nvSpPr>
            <p:cNvPr id="7" name="CustomShape 1">
              <a:extLst>
                <a:ext uri="{FF2B5EF4-FFF2-40B4-BE49-F238E27FC236}">
                  <a16:creationId xmlns:a16="http://schemas.microsoft.com/office/drawing/2014/main" id="{B75E7374-24C5-4FD1-AA79-3699C5757922}"/>
                </a:ext>
              </a:extLst>
            </p:cNvPr>
            <p:cNvSpPr/>
            <p:nvPr/>
          </p:nvSpPr>
          <p:spPr>
            <a:xfrm>
              <a:off x="7647097" y="99317"/>
              <a:ext cx="12272040" cy="9909720"/>
            </a:xfrm>
            <a:custGeom>
              <a:avLst/>
              <a:gdLst/>
              <a:ahLst/>
              <a:cxnLst/>
              <a:rect l="l" t="t" r="r" b="b"/>
              <a:pathLst>
                <a:path w="6938" h="5808">
                  <a:moveTo>
                    <a:pt x="6831" y="986"/>
                  </a:moveTo>
                  <a:lnTo>
                    <a:pt x="6832" y="963"/>
                  </a:lnTo>
                  <a:lnTo>
                    <a:pt x="6855" y="942"/>
                  </a:lnTo>
                  <a:lnTo>
                    <a:pt x="6843" y="926"/>
                  </a:lnTo>
                  <a:lnTo>
                    <a:pt x="6850" y="918"/>
                  </a:lnTo>
                  <a:lnTo>
                    <a:pt x="6855" y="905"/>
                  </a:lnTo>
                  <a:lnTo>
                    <a:pt x="6898" y="894"/>
                  </a:lnTo>
                  <a:lnTo>
                    <a:pt x="6909" y="879"/>
                  </a:lnTo>
                  <a:lnTo>
                    <a:pt x="6913" y="859"/>
                  </a:lnTo>
                  <a:lnTo>
                    <a:pt x="6934" y="855"/>
                  </a:lnTo>
                  <a:lnTo>
                    <a:pt x="6938" y="836"/>
                  </a:lnTo>
                  <a:lnTo>
                    <a:pt x="6898" y="811"/>
                  </a:lnTo>
                  <a:lnTo>
                    <a:pt x="6858" y="777"/>
                  </a:lnTo>
                  <a:lnTo>
                    <a:pt x="6839" y="780"/>
                  </a:lnTo>
                  <a:lnTo>
                    <a:pt x="6820" y="774"/>
                  </a:lnTo>
                  <a:lnTo>
                    <a:pt x="6786" y="774"/>
                  </a:lnTo>
                  <a:lnTo>
                    <a:pt x="6793" y="792"/>
                  </a:lnTo>
                  <a:lnTo>
                    <a:pt x="6791" y="803"/>
                  </a:lnTo>
                  <a:lnTo>
                    <a:pt x="6801" y="812"/>
                  </a:lnTo>
                  <a:lnTo>
                    <a:pt x="6793" y="822"/>
                  </a:lnTo>
                  <a:lnTo>
                    <a:pt x="6762" y="798"/>
                  </a:lnTo>
                  <a:lnTo>
                    <a:pt x="6777" y="785"/>
                  </a:lnTo>
                  <a:lnTo>
                    <a:pt x="6772" y="762"/>
                  </a:lnTo>
                  <a:lnTo>
                    <a:pt x="6741" y="737"/>
                  </a:lnTo>
                  <a:lnTo>
                    <a:pt x="6724" y="739"/>
                  </a:lnTo>
                  <a:lnTo>
                    <a:pt x="6724" y="727"/>
                  </a:lnTo>
                  <a:lnTo>
                    <a:pt x="6708" y="723"/>
                  </a:lnTo>
                  <a:lnTo>
                    <a:pt x="6708" y="714"/>
                  </a:lnTo>
                  <a:lnTo>
                    <a:pt x="6686" y="709"/>
                  </a:lnTo>
                  <a:lnTo>
                    <a:pt x="6639" y="683"/>
                  </a:lnTo>
                  <a:lnTo>
                    <a:pt x="6639" y="674"/>
                  </a:lnTo>
                  <a:lnTo>
                    <a:pt x="6621" y="662"/>
                  </a:lnTo>
                  <a:lnTo>
                    <a:pt x="6599" y="662"/>
                  </a:lnTo>
                  <a:lnTo>
                    <a:pt x="6598" y="652"/>
                  </a:lnTo>
                  <a:lnTo>
                    <a:pt x="6567" y="631"/>
                  </a:lnTo>
                  <a:lnTo>
                    <a:pt x="6545" y="627"/>
                  </a:lnTo>
                  <a:lnTo>
                    <a:pt x="6521" y="613"/>
                  </a:lnTo>
                  <a:lnTo>
                    <a:pt x="6505" y="613"/>
                  </a:lnTo>
                  <a:lnTo>
                    <a:pt x="6463" y="598"/>
                  </a:lnTo>
                  <a:lnTo>
                    <a:pt x="6455" y="602"/>
                  </a:lnTo>
                  <a:lnTo>
                    <a:pt x="6440" y="597"/>
                  </a:lnTo>
                  <a:lnTo>
                    <a:pt x="6418" y="594"/>
                  </a:lnTo>
                  <a:lnTo>
                    <a:pt x="6393" y="592"/>
                  </a:lnTo>
                  <a:lnTo>
                    <a:pt x="6378" y="597"/>
                  </a:lnTo>
                  <a:lnTo>
                    <a:pt x="6359" y="593"/>
                  </a:lnTo>
                  <a:lnTo>
                    <a:pt x="6285" y="577"/>
                  </a:lnTo>
                  <a:lnTo>
                    <a:pt x="6276" y="588"/>
                  </a:lnTo>
                  <a:lnTo>
                    <a:pt x="6287" y="597"/>
                  </a:lnTo>
                  <a:lnTo>
                    <a:pt x="6281" y="603"/>
                  </a:lnTo>
                  <a:lnTo>
                    <a:pt x="6271" y="604"/>
                  </a:lnTo>
                  <a:lnTo>
                    <a:pt x="6266" y="613"/>
                  </a:lnTo>
                  <a:lnTo>
                    <a:pt x="6303" y="638"/>
                  </a:lnTo>
                  <a:lnTo>
                    <a:pt x="6297" y="662"/>
                  </a:lnTo>
                  <a:lnTo>
                    <a:pt x="6249" y="661"/>
                  </a:lnTo>
                  <a:lnTo>
                    <a:pt x="6244" y="642"/>
                  </a:lnTo>
                  <a:lnTo>
                    <a:pt x="6213" y="641"/>
                  </a:lnTo>
                  <a:lnTo>
                    <a:pt x="6199" y="613"/>
                  </a:lnTo>
                  <a:lnTo>
                    <a:pt x="6188" y="604"/>
                  </a:lnTo>
                  <a:lnTo>
                    <a:pt x="6166" y="623"/>
                  </a:lnTo>
                  <a:lnTo>
                    <a:pt x="6097" y="618"/>
                  </a:lnTo>
                  <a:lnTo>
                    <a:pt x="6065" y="603"/>
                  </a:lnTo>
                  <a:lnTo>
                    <a:pt x="6049" y="609"/>
                  </a:lnTo>
                  <a:lnTo>
                    <a:pt x="6028" y="604"/>
                  </a:lnTo>
                  <a:lnTo>
                    <a:pt x="6006" y="615"/>
                  </a:lnTo>
                  <a:lnTo>
                    <a:pt x="5994" y="613"/>
                  </a:lnTo>
                  <a:lnTo>
                    <a:pt x="5987" y="617"/>
                  </a:lnTo>
                  <a:lnTo>
                    <a:pt x="5975" y="615"/>
                  </a:lnTo>
                  <a:lnTo>
                    <a:pt x="5967" y="618"/>
                  </a:lnTo>
                  <a:lnTo>
                    <a:pt x="5961" y="612"/>
                  </a:lnTo>
                  <a:lnTo>
                    <a:pt x="5948" y="613"/>
                  </a:lnTo>
                  <a:lnTo>
                    <a:pt x="5927" y="603"/>
                  </a:lnTo>
                  <a:lnTo>
                    <a:pt x="5922" y="583"/>
                  </a:lnTo>
                  <a:lnTo>
                    <a:pt x="5937" y="568"/>
                  </a:lnTo>
                  <a:lnTo>
                    <a:pt x="5929" y="544"/>
                  </a:lnTo>
                  <a:lnTo>
                    <a:pt x="5889" y="518"/>
                  </a:lnTo>
                  <a:lnTo>
                    <a:pt x="5860" y="514"/>
                  </a:lnTo>
                  <a:lnTo>
                    <a:pt x="5829" y="506"/>
                  </a:lnTo>
                  <a:lnTo>
                    <a:pt x="5791" y="507"/>
                  </a:lnTo>
                  <a:lnTo>
                    <a:pt x="5734" y="528"/>
                  </a:lnTo>
                  <a:lnTo>
                    <a:pt x="5691" y="533"/>
                  </a:lnTo>
                  <a:lnTo>
                    <a:pt x="5667" y="523"/>
                  </a:lnTo>
                  <a:lnTo>
                    <a:pt x="5665" y="509"/>
                  </a:lnTo>
                  <a:lnTo>
                    <a:pt x="5638" y="491"/>
                  </a:lnTo>
                  <a:lnTo>
                    <a:pt x="5603" y="473"/>
                  </a:lnTo>
                  <a:lnTo>
                    <a:pt x="5572" y="467"/>
                  </a:lnTo>
                  <a:lnTo>
                    <a:pt x="5569" y="455"/>
                  </a:lnTo>
                  <a:lnTo>
                    <a:pt x="5583" y="457"/>
                  </a:lnTo>
                  <a:lnTo>
                    <a:pt x="5598" y="461"/>
                  </a:lnTo>
                  <a:lnTo>
                    <a:pt x="5601" y="438"/>
                  </a:lnTo>
                  <a:lnTo>
                    <a:pt x="5586" y="437"/>
                  </a:lnTo>
                  <a:lnTo>
                    <a:pt x="5559" y="423"/>
                  </a:lnTo>
                  <a:lnTo>
                    <a:pt x="5508" y="423"/>
                  </a:lnTo>
                  <a:lnTo>
                    <a:pt x="5490" y="448"/>
                  </a:lnTo>
                  <a:lnTo>
                    <a:pt x="5462" y="463"/>
                  </a:lnTo>
                  <a:lnTo>
                    <a:pt x="5426" y="472"/>
                  </a:lnTo>
                  <a:lnTo>
                    <a:pt x="5422" y="450"/>
                  </a:lnTo>
                  <a:lnTo>
                    <a:pt x="5445" y="450"/>
                  </a:lnTo>
                  <a:lnTo>
                    <a:pt x="5450" y="432"/>
                  </a:lnTo>
                  <a:lnTo>
                    <a:pt x="5409" y="434"/>
                  </a:lnTo>
                  <a:lnTo>
                    <a:pt x="5399" y="427"/>
                  </a:lnTo>
                  <a:lnTo>
                    <a:pt x="5414" y="413"/>
                  </a:lnTo>
                  <a:lnTo>
                    <a:pt x="5445" y="413"/>
                  </a:lnTo>
                  <a:lnTo>
                    <a:pt x="5476" y="418"/>
                  </a:lnTo>
                  <a:lnTo>
                    <a:pt x="5414" y="397"/>
                  </a:lnTo>
                  <a:lnTo>
                    <a:pt x="5380" y="393"/>
                  </a:lnTo>
                  <a:lnTo>
                    <a:pt x="5337" y="387"/>
                  </a:lnTo>
                  <a:lnTo>
                    <a:pt x="5311" y="388"/>
                  </a:lnTo>
                  <a:lnTo>
                    <a:pt x="5307" y="379"/>
                  </a:lnTo>
                  <a:lnTo>
                    <a:pt x="5297" y="377"/>
                  </a:lnTo>
                  <a:lnTo>
                    <a:pt x="5292" y="384"/>
                  </a:lnTo>
                  <a:lnTo>
                    <a:pt x="5300" y="393"/>
                  </a:lnTo>
                  <a:lnTo>
                    <a:pt x="5273" y="408"/>
                  </a:lnTo>
                  <a:lnTo>
                    <a:pt x="5254" y="409"/>
                  </a:lnTo>
                  <a:lnTo>
                    <a:pt x="5241" y="407"/>
                  </a:lnTo>
                  <a:lnTo>
                    <a:pt x="5235" y="424"/>
                  </a:lnTo>
                  <a:lnTo>
                    <a:pt x="5266" y="423"/>
                  </a:lnTo>
                  <a:lnTo>
                    <a:pt x="5257" y="433"/>
                  </a:lnTo>
                  <a:lnTo>
                    <a:pt x="5254" y="458"/>
                  </a:lnTo>
                  <a:lnTo>
                    <a:pt x="5266" y="479"/>
                  </a:lnTo>
                  <a:lnTo>
                    <a:pt x="5235" y="486"/>
                  </a:lnTo>
                  <a:lnTo>
                    <a:pt x="5233" y="473"/>
                  </a:lnTo>
                  <a:lnTo>
                    <a:pt x="5217" y="468"/>
                  </a:lnTo>
                  <a:lnTo>
                    <a:pt x="5204" y="481"/>
                  </a:lnTo>
                  <a:lnTo>
                    <a:pt x="5199" y="499"/>
                  </a:lnTo>
                  <a:lnTo>
                    <a:pt x="5183" y="501"/>
                  </a:lnTo>
                  <a:lnTo>
                    <a:pt x="5154" y="479"/>
                  </a:lnTo>
                  <a:lnTo>
                    <a:pt x="5113" y="473"/>
                  </a:lnTo>
                  <a:lnTo>
                    <a:pt x="5081" y="489"/>
                  </a:lnTo>
                  <a:lnTo>
                    <a:pt x="5054" y="487"/>
                  </a:lnTo>
                  <a:lnTo>
                    <a:pt x="5025" y="466"/>
                  </a:lnTo>
                  <a:lnTo>
                    <a:pt x="5015" y="452"/>
                  </a:lnTo>
                  <a:lnTo>
                    <a:pt x="4996" y="479"/>
                  </a:lnTo>
                  <a:lnTo>
                    <a:pt x="4985" y="519"/>
                  </a:lnTo>
                  <a:lnTo>
                    <a:pt x="4970" y="534"/>
                  </a:lnTo>
                  <a:lnTo>
                    <a:pt x="4899" y="487"/>
                  </a:lnTo>
                  <a:lnTo>
                    <a:pt x="4894" y="472"/>
                  </a:lnTo>
                  <a:lnTo>
                    <a:pt x="4903" y="466"/>
                  </a:lnTo>
                  <a:lnTo>
                    <a:pt x="4892" y="452"/>
                  </a:lnTo>
                  <a:lnTo>
                    <a:pt x="4882" y="458"/>
                  </a:lnTo>
                  <a:lnTo>
                    <a:pt x="4868" y="447"/>
                  </a:lnTo>
                  <a:lnTo>
                    <a:pt x="4865" y="429"/>
                  </a:lnTo>
                  <a:lnTo>
                    <a:pt x="4889" y="438"/>
                  </a:lnTo>
                  <a:lnTo>
                    <a:pt x="4903" y="439"/>
                  </a:lnTo>
                  <a:lnTo>
                    <a:pt x="4905" y="418"/>
                  </a:lnTo>
                  <a:lnTo>
                    <a:pt x="4879" y="413"/>
                  </a:lnTo>
                  <a:lnTo>
                    <a:pt x="4870" y="408"/>
                  </a:lnTo>
                  <a:lnTo>
                    <a:pt x="4870" y="399"/>
                  </a:lnTo>
                  <a:lnTo>
                    <a:pt x="4894" y="404"/>
                  </a:lnTo>
                  <a:lnTo>
                    <a:pt x="4908" y="392"/>
                  </a:lnTo>
                  <a:lnTo>
                    <a:pt x="4889" y="383"/>
                  </a:lnTo>
                  <a:lnTo>
                    <a:pt x="4889" y="369"/>
                  </a:lnTo>
                  <a:lnTo>
                    <a:pt x="4856" y="332"/>
                  </a:lnTo>
                  <a:lnTo>
                    <a:pt x="4839" y="329"/>
                  </a:lnTo>
                  <a:lnTo>
                    <a:pt x="4817" y="343"/>
                  </a:lnTo>
                  <a:lnTo>
                    <a:pt x="4796" y="326"/>
                  </a:lnTo>
                  <a:lnTo>
                    <a:pt x="4777" y="334"/>
                  </a:lnTo>
                  <a:lnTo>
                    <a:pt x="4761" y="324"/>
                  </a:lnTo>
                  <a:lnTo>
                    <a:pt x="4763" y="314"/>
                  </a:lnTo>
                  <a:lnTo>
                    <a:pt x="4729" y="307"/>
                  </a:lnTo>
                  <a:lnTo>
                    <a:pt x="4720" y="312"/>
                  </a:lnTo>
                  <a:lnTo>
                    <a:pt x="4708" y="309"/>
                  </a:lnTo>
                  <a:lnTo>
                    <a:pt x="4700" y="316"/>
                  </a:lnTo>
                  <a:lnTo>
                    <a:pt x="4703" y="329"/>
                  </a:lnTo>
                  <a:lnTo>
                    <a:pt x="4710" y="337"/>
                  </a:lnTo>
                  <a:lnTo>
                    <a:pt x="4710" y="359"/>
                  </a:lnTo>
                  <a:lnTo>
                    <a:pt x="4694" y="363"/>
                  </a:lnTo>
                  <a:lnTo>
                    <a:pt x="4681" y="363"/>
                  </a:lnTo>
                  <a:lnTo>
                    <a:pt x="4670" y="374"/>
                  </a:lnTo>
                  <a:lnTo>
                    <a:pt x="4649" y="374"/>
                  </a:lnTo>
                  <a:lnTo>
                    <a:pt x="4620" y="366"/>
                  </a:lnTo>
                  <a:lnTo>
                    <a:pt x="4601" y="364"/>
                  </a:lnTo>
                  <a:lnTo>
                    <a:pt x="4591" y="369"/>
                  </a:lnTo>
                  <a:lnTo>
                    <a:pt x="4524" y="349"/>
                  </a:lnTo>
                  <a:lnTo>
                    <a:pt x="4526" y="334"/>
                  </a:lnTo>
                  <a:lnTo>
                    <a:pt x="4536" y="331"/>
                  </a:lnTo>
                  <a:lnTo>
                    <a:pt x="4555" y="329"/>
                  </a:lnTo>
                  <a:lnTo>
                    <a:pt x="4550" y="321"/>
                  </a:lnTo>
                  <a:lnTo>
                    <a:pt x="4519" y="317"/>
                  </a:lnTo>
                  <a:lnTo>
                    <a:pt x="4465" y="314"/>
                  </a:lnTo>
                  <a:lnTo>
                    <a:pt x="4438" y="309"/>
                  </a:lnTo>
                  <a:lnTo>
                    <a:pt x="4382" y="322"/>
                  </a:lnTo>
                  <a:lnTo>
                    <a:pt x="4379" y="336"/>
                  </a:lnTo>
                  <a:lnTo>
                    <a:pt x="4359" y="339"/>
                  </a:lnTo>
                  <a:lnTo>
                    <a:pt x="4355" y="327"/>
                  </a:lnTo>
                  <a:lnTo>
                    <a:pt x="4366" y="319"/>
                  </a:lnTo>
                  <a:lnTo>
                    <a:pt x="4374" y="306"/>
                  </a:lnTo>
                  <a:lnTo>
                    <a:pt x="4364" y="296"/>
                  </a:lnTo>
                  <a:lnTo>
                    <a:pt x="4348" y="291"/>
                  </a:lnTo>
                  <a:lnTo>
                    <a:pt x="4348" y="309"/>
                  </a:lnTo>
                  <a:lnTo>
                    <a:pt x="4326" y="311"/>
                  </a:lnTo>
                  <a:lnTo>
                    <a:pt x="4295" y="303"/>
                  </a:lnTo>
                  <a:lnTo>
                    <a:pt x="4297" y="285"/>
                  </a:lnTo>
                  <a:lnTo>
                    <a:pt x="4271" y="288"/>
                  </a:lnTo>
                  <a:lnTo>
                    <a:pt x="4254" y="285"/>
                  </a:lnTo>
                  <a:lnTo>
                    <a:pt x="4235" y="301"/>
                  </a:lnTo>
                  <a:lnTo>
                    <a:pt x="4240" y="311"/>
                  </a:lnTo>
                  <a:lnTo>
                    <a:pt x="4257" y="311"/>
                  </a:lnTo>
                  <a:lnTo>
                    <a:pt x="4273" y="307"/>
                  </a:lnTo>
                  <a:lnTo>
                    <a:pt x="4247" y="334"/>
                  </a:lnTo>
                  <a:lnTo>
                    <a:pt x="4225" y="332"/>
                  </a:lnTo>
                  <a:lnTo>
                    <a:pt x="4217" y="339"/>
                  </a:lnTo>
                  <a:lnTo>
                    <a:pt x="4200" y="339"/>
                  </a:lnTo>
                  <a:lnTo>
                    <a:pt x="4183" y="349"/>
                  </a:lnTo>
                  <a:lnTo>
                    <a:pt x="4179" y="358"/>
                  </a:lnTo>
                  <a:lnTo>
                    <a:pt x="4140" y="359"/>
                  </a:lnTo>
                  <a:lnTo>
                    <a:pt x="4135" y="374"/>
                  </a:lnTo>
                  <a:lnTo>
                    <a:pt x="4104" y="389"/>
                  </a:lnTo>
                  <a:lnTo>
                    <a:pt x="4083" y="392"/>
                  </a:lnTo>
                  <a:lnTo>
                    <a:pt x="4111" y="371"/>
                  </a:lnTo>
                  <a:lnTo>
                    <a:pt x="4111" y="349"/>
                  </a:lnTo>
                  <a:lnTo>
                    <a:pt x="4126" y="341"/>
                  </a:lnTo>
                  <a:lnTo>
                    <a:pt x="4140" y="341"/>
                  </a:lnTo>
                  <a:lnTo>
                    <a:pt x="4142" y="322"/>
                  </a:lnTo>
                  <a:lnTo>
                    <a:pt x="4159" y="316"/>
                  </a:lnTo>
                  <a:lnTo>
                    <a:pt x="4179" y="316"/>
                  </a:lnTo>
                  <a:lnTo>
                    <a:pt x="4200" y="291"/>
                  </a:lnTo>
                  <a:lnTo>
                    <a:pt x="4230" y="273"/>
                  </a:lnTo>
                  <a:lnTo>
                    <a:pt x="4246" y="272"/>
                  </a:lnTo>
                  <a:lnTo>
                    <a:pt x="4247" y="258"/>
                  </a:lnTo>
                  <a:lnTo>
                    <a:pt x="4292" y="228"/>
                  </a:lnTo>
                  <a:lnTo>
                    <a:pt x="4319" y="228"/>
                  </a:lnTo>
                  <a:lnTo>
                    <a:pt x="4321" y="212"/>
                  </a:lnTo>
                  <a:lnTo>
                    <a:pt x="4355" y="189"/>
                  </a:lnTo>
                  <a:lnTo>
                    <a:pt x="4369" y="167"/>
                  </a:lnTo>
                  <a:lnTo>
                    <a:pt x="4336" y="152"/>
                  </a:lnTo>
                  <a:lnTo>
                    <a:pt x="4329" y="142"/>
                  </a:lnTo>
                  <a:lnTo>
                    <a:pt x="4331" y="137"/>
                  </a:lnTo>
                  <a:lnTo>
                    <a:pt x="4337" y="137"/>
                  </a:lnTo>
                  <a:lnTo>
                    <a:pt x="4353" y="149"/>
                  </a:lnTo>
                  <a:lnTo>
                    <a:pt x="4379" y="156"/>
                  </a:lnTo>
                  <a:lnTo>
                    <a:pt x="4379" y="132"/>
                  </a:lnTo>
                  <a:lnTo>
                    <a:pt x="4366" y="130"/>
                  </a:lnTo>
                  <a:lnTo>
                    <a:pt x="4369" y="108"/>
                  </a:lnTo>
                  <a:lnTo>
                    <a:pt x="4358" y="106"/>
                  </a:lnTo>
                  <a:lnTo>
                    <a:pt x="4337" y="121"/>
                  </a:lnTo>
                  <a:lnTo>
                    <a:pt x="4331" y="118"/>
                  </a:lnTo>
                  <a:lnTo>
                    <a:pt x="4337" y="104"/>
                  </a:lnTo>
                  <a:lnTo>
                    <a:pt x="4302" y="84"/>
                  </a:lnTo>
                  <a:lnTo>
                    <a:pt x="4286" y="82"/>
                  </a:lnTo>
                  <a:lnTo>
                    <a:pt x="4276" y="76"/>
                  </a:lnTo>
                  <a:lnTo>
                    <a:pt x="4179" y="81"/>
                  </a:lnTo>
                  <a:lnTo>
                    <a:pt x="4171" y="89"/>
                  </a:lnTo>
                  <a:lnTo>
                    <a:pt x="4140" y="93"/>
                  </a:lnTo>
                  <a:lnTo>
                    <a:pt x="4121" y="87"/>
                  </a:lnTo>
                  <a:lnTo>
                    <a:pt x="4147" y="74"/>
                  </a:lnTo>
                  <a:lnTo>
                    <a:pt x="4152" y="57"/>
                  </a:lnTo>
                  <a:lnTo>
                    <a:pt x="4128" y="53"/>
                  </a:lnTo>
                  <a:lnTo>
                    <a:pt x="4111" y="60"/>
                  </a:lnTo>
                  <a:lnTo>
                    <a:pt x="4097" y="59"/>
                  </a:lnTo>
                  <a:lnTo>
                    <a:pt x="4097" y="49"/>
                  </a:lnTo>
                  <a:lnTo>
                    <a:pt x="4062" y="48"/>
                  </a:lnTo>
                  <a:lnTo>
                    <a:pt x="4062" y="42"/>
                  </a:lnTo>
                  <a:lnTo>
                    <a:pt x="4102" y="38"/>
                  </a:lnTo>
                  <a:lnTo>
                    <a:pt x="4118" y="21"/>
                  </a:lnTo>
                  <a:lnTo>
                    <a:pt x="4107" y="10"/>
                  </a:lnTo>
                  <a:lnTo>
                    <a:pt x="4086" y="11"/>
                  </a:lnTo>
                  <a:lnTo>
                    <a:pt x="4049" y="0"/>
                  </a:lnTo>
                  <a:lnTo>
                    <a:pt x="4004" y="14"/>
                  </a:lnTo>
                  <a:lnTo>
                    <a:pt x="3995" y="21"/>
                  </a:lnTo>
                  <a:lnTo>
                    <a:pt x="3963" y="39"/>
                  </a:lnTo>
                  <a:lnTo>
                    <a:pt x="3961" y="52"/>
                  </a:lnTo>
                  <a:lnTo>
                    <a:pt x="3942" y="60"/>
                  </a:lnTo>
                  <a:lnTo>
                    <a:pt x="3950" y="73"/>
                  </a:lnTo>
                  <a:lnTo>
                    <a:pt x="3961" y="78"/>
                  </a:lnTo>
                  <a:lnTo>
                    <a:pt x="3952" y="81"/>
                  </a:lnTo>
                  <a:lnTo>
                    <a:pt x="3961" y="91"/>
                  </a:lnTo>
                  <a:lnTo>
                    <a:pt x="3980" y="92"/>
                  </a:lnTo>
                  <a:lnTo>
                    <a:pt x="3997" y="98"/>
                  </a:lnTo>
                  <a:lnTo>
                    <a:pt x="4035" y="94"/>
                  </a:lnTo>
                  <a:lnTo>
                    <a:pt x="4040" y="99"/>
                  </a:lnTo>
                  <a:lnTo>
                    <a:pt x="4006" y="106"/>
                  </a:lnTo>
                  <a:lnTo>
                    <a:pt x="3975" y="101"/>
                  </a:lnTo>
                  <a:lnTo>
                    <a:pt x="3958" y="98"/>
                  </a:lnTo>
                  <a:lnTo>
                    <a:pt x="3937" y="93"/>
                  </a:lnTo>
                  <a:lnTo>
                    <a:pt x="3907" y="97"/>
                  </a:lnTo>
                  <a:lnTo>
                    <a:pt x="3883" y="89"/>
                  </a:lnTo>
                  <a:lnTo>
                    <a:pt x="3875" y="94"/>
                  </a:lnTo>
                  <a:lnTo>
                    <a:pt x="3884" y="101"/>
                  </a:lnTo>
                  <a:lnTo>
                    <a:pt x="3918" y="116"/>
                  </a:lnTo>
                  <a:lnTo>
                    <a:pt x="3926" y="125"/>
                  </a:lnTo>
                  <a:lnTo>
                    <a:pt x="3921" y="142"/>
                  </a:lnTo>
                  <a:lnTo>
                    <a:pt x="3894" y="149"/>
                  </a:lnTo>
                  <a:lnTo>
                    <a:pt x="3887" y="135"/>
                  </a:lnTo>
                  <a:lnTo>
                    <a:pt x="3902" y="125"/>
                  </a:lnTo>
                  <a:lnTo>
                    <a:pt x="3868" y="111"/>
                  </a:lnTo>
                  <a:lnTo>
                    <a:pt x="3851" y="118"/>
                  </a:lnTo>
                  <a:lnTo>
                    <a:pt x="3837" y="128"/>
                  </a:lnTo>
                  <a:lnTo>
                    <a:pt x="3801" y="142"/>
                  </a:lnTo>
                  <a:lnTo>
                    <a:pt x="3801" y="132"/>
                  </a:lnTo>
                  <a:lnTo>
                    <a:pt x="3785" y="133"/>
                  </a:lnTo>
                  <a:lnTo>
                    <a:pt x="3771" y="142"/>
                  </a:lnTo>
                  <a:lnTo>
                    <a:pt x="3761" y="140"/>
                  </a:lnTo>
                  <a:lnTo>
                    <a:pt x="3782" y="125"/>
                  </a:lnTo>
                  <a:lnTo>
                    <a:pt x="3747" y="118"/>
                  </a:lnTo>
                  <a:lnTo>
                    <a:pt x="3725" y="122"/>
                  </a:lnTo>
                  <a:lnTo>
                    <a:pt x="3686" y="123"/>
                  </a:lnTo>
                  <a:lnTo>
                    <a:pt x="3670" y="127"/>
                  </a:lnTo>
                  <a:lnTo>
                    <a:pt x="3677" y="135"/>
                  </a:lnTo>
                  <a:lnTo>
                    <a:pt x="3691" y="137"/>
                  </a:lnTo>
                  <a:lnTo>
                    <a:pt x="3710" y="136"/>
                  </a:lnTo>
                  <a:lnTo>
                    <a:pt x="3705" y="142"/>
                  </a:lnTo>
                  <a:lnTo>
                    <a:pt x="3675" y="146"/>
                  </a:lnTo>
                  <a:lnTo>
                    <a:pt x="3627" y="149"/>
                  </a:lnTo>
                  <a:lnTo>
                    <a:pt x="3615" y="157"/>
                  </a:lnTo>
                  <a:lnTo>
                    <a:pt x="3596" y="155"/>
                  </a:lnTo>
                  <a:lnTo>
                    <a:pt x="3569" y="161"/>
                  </a:lnTo>
                  <a:lnTo>
                    <a:pt x="3536" y="165"/>
                  </a:lnTo>
                  <a:lnTo>
                    <a:pt x="3510" y="184"/>
                  </a:lnTo>
                  <a:lnTo>
                    <a:pt x="3491" y="185"/>
                  </a:lnTo>
                  <a:lnTo>
                    <a:pt x="3475" y="184"/>
                  </a:lnTo>
                  <a:lnTo>
                    <a:pt x="3467" y="191"/>
                  </a:lnTo>
                  <a:lnTo>
                    <a:pt x="3479" y="193"/>
                  </a:lnTo>
                  <a:lnTo>
                    <a:pt x="3496" y="194"/>
                  </a:lnTo>
                  <a:lnTo>
                    <a:pt x="3491" y="203"/>
                  </a:lnTo>
                  <a:lnTo>
                    <a:pt x="3477" y="213"/>
                  </a:lnTo>
                  <a:lnTo>
                    <a:pt x="3465" y="227"/>
                  </a:lnTo>
                  <a:lnTo>
                    <a:pt x="3443" y="217"/>
                  </a:lnTo>
                  <a:lnTo>
                    <a:pt x="3432" y="228"/>
                  </a:lnTo>
                  <a:lnTo>
                    <a:pt x="3438" y="239"/>
                  </a:lnTo>
                  <a:lnTo>
                    <a:pt x="3455" y="238"/>
                  </a:lnTo>
                  <a:lnTo>
                    <a:pt x="3472" y="244"/>
                  </a:lnTo>
                  <a:lnTo>
                    <a:pt x="3470" y="252"/>
                  </a:lnTo>
                  <a:lnTo>
                    <a:pt x="3443" y="249"/>
                  </a:lnTo>
                  <a:lnTo>
                    <a:pt x="3438" y="262"/>
                  </a:lnTo>
                  <a:lnTo>
                    <a:pt x="3455" y="263"/>
                  </a:lnTo>
                  <a:lnTo>
                    <a:pt x="3470" y="273"/>
                  </a:lnTo>
                  <a:lnTo>
                    <a:pt x="3467" y="285"/>
                  </a:lnTo>
                  <a:lnTo>
                    <a:pt x="3479" y="297"/>
                  </a:lnTo>
                  <a:lnTo>
                    <a:pt x="3477" y="312"/>
                  </a:lnTo>
                  <a:lnTo>
                    <a:pt x="3462" y="301"/>
                  </a:lnTo>
                  <a:lnTo>
                    <a:pt x="3432" y="301"/>
                  </a:lnTo>
                  <a:lnTo>
                    <a:pt x="3417" y="311"/>
                  </a:lnTo>
                  <a:lnTo>
                    <a:pt x="3393" y="311"/>
                  </a:lnTo>
                  <a:lnTo>
                    <a:pt x="3379" y="307"/>
                  </a:lnTo>
                  <a:lnTo>
                    <a:pt x="3342" y="314"/>
                  </a:lnTo>
                  <a:lnTo>
                    <a:pt x="3288" y="322"/>
                  </a:lnTo>
                  <a:lnTo>
                    <a:pt x="3272" y="322"/>
                  </a:lnTo>
                  <a:lnTo>
                    <a:pt x="3252" y="346"/>
                  </a:lnTo>
                  <a:lnTo>
                    <a:pt x="3264" y="358"/>
                  </a:lnTo>
                  <a:lnTo>
                    <a:pt x="3262" y="389"/>
                  </a:lnTo>
                  <a:lnTo>
                    <a:pt x="3274" y="399"/>
                  </a:lnTo>
                  <a:lnTo>
                    <a:pt x="3272" y="414"/>
                  </a:lnTo>
                  <a:lnTo>
                    <a:pt x="3319" y="429"/>
                  </a:lnTo>
                  <a:lnTo>
                    <a:pt x="3319" y="448"/>
                  </a:lnTo>
                  <a:lnTo>
                    <a:pt x="3355" y="458"/>
                  </a:lnTo>
                  <a:lnTo>
                    <a:pt x="3363" y="481"/>
                  </a:lnTo>
                  <a:lnTo>
                    <a:pt x="3350" y="502"/>
                  </a:lnTo>
                  <a:lnTo>
                    <a:pt x="3350" y="523"/>
                  </a:lnTo>
                  <a:lnTo>
                    <a:pt x="3374" y="552"/>
                  </a:lnTo>
                  <a:lnTo>
                    <a:pt x="3369" y="568"/>
                  </a:lnTo>
                  <a:lnTo>
                    <a:pt x="3348" y="578"/>
                  </a:lnTo>
                  <a:lnTo>
                    <a:pt x="3390" y="612"/>
                  </a:lnTo>
                  <a:lnTo>
                    <a:pt x="3398" y="618"/>
                  </a:lnTo>
                  <a:lnTo>
                    <a:pt x="3387" y="625"/>
                  </a:lnTo>
                  <a:lnTo>
                    <a:pt x="3371" y="622"/>
                  </a:lnTo>
                  <a:lnTo>
                    <a:pt x="3360" y="604"/>
                  </a:lnTo>
                  <a:lnTo>
                    <a:pt x="3326" y="577"/>
                  </a:lnTo>
                  <a:lnTo>
                    <a:pt x="3350" y="557"/>
                  </a:lnTo>
                  <a:lnTo>
                    <a:pt x="3348" y="529"/>
                  </a:lnTo>
                  <a:lnTo>
                    <a:pt x="3319" y="538"/>
                  </a:lnTo>
                  <a:lnTo>
                    <a:pt x="3317" y="514"/>
                  </a:lnTo>
                  <a:lnTo>
                    <a:pt x="3305" y="507"/>
                  </a:lnTo>
                  <a:lnTo>
                    <a:pt x="3319" y="497"/>
                  </a:lnTo>
                  <a:lnTo>
                    <a:pt x="3334" y="496"/>
                  </a:lnTo>
                  <a:lnTo>
                    <a:pt x="3345" y="477"/>
                  </a:lnTo>
                  <a:lnTo>
                    <a:pt x="3341" y="471"/>
                  </a:lnTo>
                  <a:lnTo>
                    <a:pt x="3302" y="476"/>
                  </a:lnTo>
                  <a:lnTo>
                    <a:pt x="3259" y="447"/>
                  </a:lnTo>
                  <a:lnTo>
                    <a:pt x="3209" y="422"/>
                  </a:lnTo>
                  <a:lnTo>
                    <a:pt x="3179" y="422"/>
                  </a:lnTo>
                  <a:lnTo>
                    <a:pt x="3150" y="434"/>
                  </a:lnTo>
                  <a:lnTo>
                    <a:pt x="3150" y="443"/>
                  </a:lnTo>
                  <a:lnTo>
                    <a:pt x="3161" y="443"/>
                  </a:lnTo>
                  <a:lnTo>
                    <a:pt x="3176" y="439"/>
                  </a:lnTo>
                  <a:lnTo>
                    <a:pt x="3176" y="462"/>
                  </a:lnTo>
                  <a:lnTo>
                    <a:pt x="3157" y="462"/>
                  </a:lnTo>
                  <a:lnTo>
                    <a:pt x="3138" y="447"/>
                  </a:lnTo>
                  <a:lnTo>
                    <a:pt x="3118" y="450"/>
                  </a:lnTo>
                  <a:lnTo>
                    <a:pt x="3107" y="463"/>
                  </a:lnTo>
                  <a:lnTo>
                    <a:pt x="3123" y="484"/>
                  </a:lnTo>
                  <a:lnTo>
                    <a:pt x="3161" y="499"/>
                  </a:lnTo>
                  <a:lnTo>
                    <a:pt x="3179" y="497"/>
                  </a:lnTo>
                  <a:lnTo>
                    <a:pt x="3179" y="507"/>
                  </a:lnTo>
                  <a:lnTo>
                    <a:pt x="3193" y="519"/>
                  </a:lnTo>
                  <a:lnTo>
                    <a:pt x="3209" y="523"/>
                  </a:lnTo>
                  <a:lnTo>
                    <a:pt x="3206" y="533"/>
                  </a:lnTo>
                  <a:lnTo>
                    <a:pt x="3184" y="529"/>
                  </a:lnTo>
                  <a:lnTo>
                    <a:pt x="3164" y="516"/>
                  </a:lnTo>
                  <a:lnTo>
                    <a:pt x="3138" y="516"/>
                  </a:lnTo>
                  <a:lnTo>
                    <a:pt x="3086" y="499"/>
                  </a:lnTo>
                  <a:lnTo>
                    <a:pt x="3097" y="477"/>
                  </a:lnTo>
                  <a:lnTo>
                    <a:pt x="3083" y="468"/>
                  </a:lnTo>
                  <a:lnTo>
                    <a:pt x="3083" y="453"/>
                  </a:lnTo>
                  <a:lnTo>
                    <a:pt x="3099" y="434"/>
                  </a:lnTo>
                  <a:lnTo>
                    <a:pt x="3097" y="399"/>
                  </a:lnTo>
                  <a:lnTo>
                    <a:pt x="3075" y="379"/>
                  </a:lnTo>
                  <a:lnTo>
                    <a:pt x="3062" y="377"/>
                  </a:lnTo>
                  <a:lnTo>
                    <a:pt x="3054" y="379"/>
                  </a:lnTo>
                  <a:lnTo>
                    <a:pt x="3070" y="393"/>
                  </a:lnTo>
                  <a:lnTo>
                    <a:pt x="3075" y="409"/>
                  </a:lnTo>
                  <a:lnTo>
                    <a:pt x="3081" y="418"/>
                  </a:lnTo>
                  <a:lnTo>
                    <a:pt x="3078" y="439"/>
                  </a:lnTo>
                  <a:lnTo>
                    <a:pt x="3025" y="463"/>
                  </a:lnTo>
                  <a:lnTo>
                    <a:pt x="3011" y="496"/>
                  </a:lnTo>
                  <a:lnTo>
                    <a:pt x="3043" y="524"/>
                  </a:lnTo>
                  <a:lnTo>
                    <a:pt x="3052" y="554"/>
                  </a:lnTo>
                  <a:lnTo>
                    <a:pt x="3038" y="572"/>
                  </a:lnTo>
                  <a:lnTo>
                    <a:pt x="3021" y="588"/>
                  </a:lnTo>
                  <a:lnTo>
                    <a:pt x="3019" y="608"/>
                  </a:lnTo>
                  <a:lnTo>
                    <a:pt x="3028" y="630"/>
                  </a:lnTo>
                  <a:lnTo>
                    <a:pt x="3033" y="651"/>
                  </a:lnTo>
                  <a:lnTo>
                    <a:pt x="3069" y="659"/>
                  </a:lnTo>
                  <a:lnTo>
                    <a:pt x="3091" y="647"/>
                  </a:lnTo>
                  <a:lnTo>
                    <a:pt x="3131" y="656"/>
                  </a:lnTo>
                  <a:lnTo>
                    <a:pt x="3142" y="671"/>
                  </a:lnTo>
                  <a:lnTo>
                    <a:pt x="3160" y="677"/>
                  </a:lnTo>
                  <a:lnTo>
                    <a:pt x="3181" y="708"/>
                  </a:lnTo>
                  <a:lnTo>
                    <a:pt x="3157" y="724"/>
                  </a:lnTo>
                  <a:lnTo>
                    <a:pt x="3160" y="738"/>
                  </a:lnTo>
                  <a:lnTo>
                    <a:pt x="3176" y="753"/>
                  </a:lnTo>
                  <a:lnTo>
                    <a:pt x="3190" y="749"/>
                  </a:lnTo>
                  <a:lnTo>
                    <a:pt x="3205" y="757"/>
                  </a:lnTo>
                  <a:lnTo>
                    <a:pt x="3185" y="762"/>
                  </a:lnTo>
                  <a:lnTo>
                    <a:pt x="3155" y="757"/>
                  </a:lnTo>
                  <a:lnTo>
                    <a:pt x="3140" y="747"/>
                  </a:lnTo>
                  <a:lnTo>
                    <a:pt x="3150" y="703"/>
                  </a:lnTo>
                  <a:lnTo>
                    <a:pt x="3131" y="679"/>
                  </a:lnTo>
                  <a:lnTo>
                    <a:pt x="3123" y="667"/>
                  </a:lnTo>
                  <a:lnTo>
                    <a:pt x="3099" y="666"/>
                  </a:lnTo>
                  <a:lnTo>
                    <a:pt x="3040" y="691"/>
                  </a:lnTo>
                  <a:lnTo>
                    <a:pt x="3049" y="701"/>
                  </a:lnTo>
                  <a:lnTo>
                    <a:pt x="3069" y="737"/>
                  </a:lnTo>
                  <a:lnTo>
                    <a:pt x="3062" y="757"/>
                  </a:lnTo>
                  <a:lnTo>
                    <a:pt x="3043" y="768"/>
                  </a:lnTo>
                  <a:lnTo>
                    <a:pt x="3021" y="802"/>
                  </a:lnTo>
                  <a:lnTo>
                    <a:pt x="2990" y="822"/>
                  </a:lnTo>
                  <a:lnTo>
                    <a:pt x="2976" y="850"/>
                  </a:lnTo>
                  <a:lnTo>
                    <a:pt x="2963" y="839"/>
                  </a:lnTo>
                  <a:lnTo>
                    <a:pt x="2902" y="836"/>
                  </a:lnTo>
                  <a:lnTo>
                    <a:pt x="2878" y="814"/>
                  </a:lnTo>
                  <a:lnTo>
                    <a:pt x="2854" y="812"/>
                  </a:lnTo>
                  <a:lnTo>
                    <a:pt x="2846" y="803"/>
                  </a:lnTo>
                  <a:lnTo>
                    <a:pt x="2856" y="798"/>
                  </a:lnTo>
                  <a:lnTo>
                    <a:pt x="2880" y="798"/>
                  </a:lnTo>
                  <a:lnTo>
                    <a:pt x="2897" y="793"/>
                  </a:lnTo>
                  <a:lnTo>
                    <a:pt x="2912" y="800"/>
                  </a:lnTo>
                  <a:lnTo>
                    <a:pt x="2931" y="819"/>
                  </a:lnTo>
                  <a:lnTo>
                    <a:pt x="2957" y="805"/>
                  </a:lnTo>
                  <a:lnTo>
                    <a:pt x="2957" y="793"/>
                  </a:lnTo>
                  <a:lnTo>
                    <a:pt x="2971" y="783"/>
                  </a:lnTo>
                  <a:lnTo>
                    <a:pt x="2968" y="773"/>
                  </a:lnTo>
                  <a:lnTo>
                    <a:pt x="2997" y="753"/>
                  </a:lnTo>
                  <a:lnTo>
                    <a:pt x="3011" y="724"/>
                  </a:lnTo>
                  <a:lnTo>
                    <a:pt x="3004" y="713"/>
                  </a:lnTo>
                  <a:lnTo>
                    <a:pt x="3030" y="691"/>
                  </a:lnTo>
                  <a:lnTo>
                    <a:pt x="3006" y="686"/>
                  </a:lnTo>
                  <a:lnTo>
                    <a:pt x="2985" y="662"/>
                  </a:lnTo>
                  <a:lnTo>
                    <a:pt x="2997" y="640"/>
                  </a:lnTo>
                  <a:lnTo>
                    <a:pt x="2985" y="630"/>
                  </a:lnTo>
                  <a:lnTo>
                    <a:pt x="2985" y="579"/>
                  </a:lnTo>
                  <a:lnTo>
                    <a:pt x="3006" y="563"/>
                  </a:lnTo>
                  <a:lnTo>
                    <a:pt x="2990" y="554"/>
                  </a:lnTo>
                  <a:lnTo>
                    <a:pt x="2987" y="507"/>
                  </a:lnTo>
                  <a:lnTo>
                    <a:pt x="2958" y="502"/>
                  </a:lnTo>
                  <a:lnTo>
                    <a:pt x="2961" y="484"/>
                  </a:lnTo>
                  <a:lnTo>
                    <a:pt x="3000" y="450"/>
                  </a:lnTo>
                  <a:lnTo>
                    <a:pt x="3002" y="432"/>
                  </a:lnTo>
                  <a:lnTo>
                    <a:pt x="2995" y="428"/>
                  </a:lnTo>
                  <a:lnTo>
                    <a:pt x="3000" y="398"/>
                  </a:lnTo>
                  <a:lnTo>
                    <a:pt x="2966" y="378"/>
                  </a:lnTo>
                  <a:lnTo>
                    <a:pt x="2931" y="382"/>
                  </a:lnTo>
                  <a:lnTo>
                    <a:pt x="2909" y="373"/>
                  </a:lnTo>
                  <a:lnTo>
                    <a:pt x="2883" y="379"/>
                  </a:lnTo>
                  <a:lnTo>
                    <a:pt x="2866" y="447"/>
                  </a:lnTo>
                  <a:lnTo>
                    <a:pt x="2840" y="487"/>
                  </a:lnTo>
                  <a:lnTo>
                    <a:pt x="2808" y="519"/>
                  </a:lnTo>
                  <a:lnTo>
                    <a:pt x="2798" y="543"/>
                  </a:lnTo>
                  <a:lnTo>
                    <a:pt x="2806" y="548"/>
                  </a:lnTo>
                  <a:lnTo>
                    <a:pt x="2803" y="594"/>
                  </a:lnTo>
                  <a:lnTo>
                    <a:pt x="2797" y="598"/>
                  </a:lnTo>
                  <a:lnTo>
                    <a:pt x="2803" y="627"/>
                  </a:lnTo>
                  <a:lnTo>
                    <a:pt x="2816" y="620"/>
                  </a:lnTo>
                  <a:lnTo>
                    <a:pt x="2837" y="635"/>
                  </a:lnTo>
                  <a:lnTo>
                    <a:pt x="2832" y="649"/>
                  </a:lnTo>
                  <a:lnTo>
                    <a:pt x="2856" y="669"/>
                  </a:lnTo>
                  <a:lnTo>
                    <a:pt x="2875" y="671"/>
                  </a:lnTo>
                  <a:lnTo>
                    <a:pt x="2873" y="694"/>
                  </a:lnTo>
                  <a:lnTo>
                    <a:pt x="2842" y="717"/>
                  </a:lnTo>
                  <a:lnTo>
                    <a:pt x="2832" y="709"/>
                  </a:lnTo>
                  <a:lnTo>
                    <a:pt x="2830" y="693"/>
                  </a:lnTo>
                  <a:lnTo>
                    <a:pt x="2808" y="677"/>
                  </a:lnTo>
                  <a:lnTo>
                    <a:pt x="2792" y="677"/>
                  </a:lnTo>
                  <a:lnTo>
                    <a:pt x="2773" y="664"/>
                  </a:lnTo>
                  <a:lnTo>
                    <a:pt x="2752" y="659"/>
                  </a:lnTo>
                  <a:lnTo>
                    <a:pt x="2732" y="645"/>
                  </a:lnTo>
                  <a:lnTo>
                    <a:pt x="2694" y="625"/>
                  </a:lnTo>
                  <a:lnTo>
                    <a:pt x="2601" y="612"/>
                  </a:lnTo>
                  <a:lnTo>
                    <a:pt x="2577" y="630"/>
                  </a:lnTo>
                  <a:lnTo>
                    <a:pt x="2592" y="645"/>
                  </a:lnTo>
                  <a:lnTo>
                    <a:pt x="2589" y="676"/>
                  </a:lnTo>
                  <a:lnTo>
                    <a:pt x="2560" y="684"/>
                  </a:lnTo>
                  <a:lnTo>
                    <a:pt x="2563" y="696"/>
                  </a:lnTo>
                  <a:lnTo>
                    <a:pt x="2549" y="703"/>
                  </a:lnTo>
                  <a:lnTo>
                    <a:pt x="2534" y="694"/>
                  </a:lnTo>
                  <a:lnTo>
                    <a:pt x="2536" y="674"/>
                  </a:lnTo>
                  <a:lnTo>
                    <a:pt x="2518" y="666"/>
                  </a:lnTo>
                  <a:lnTo>
                    <a:pt x="2499" y="679"/>
                  </a:lnTo>
                  <a:lnTo>
                    <a:pt x="2480" y="681"/>
                  </a:lnTo>
                  <a:lnTo>
                    <a:pt x="2460" y="694"/>
                  </a:lnTo>
                  <a:lnTo>
                    <a:pt x="2434" y="694"/>
                  </a:lnTo>
                  <a:lnTo>
                    <a:pt x="2432" y="689"/>
                  </a:lnTo>
                  <a:lnTo>
                    <a:pt x="2413" y="689"/>
                  </a:lnTo>
                  <a:lnTo>
                    <a:pt x="2395" y="703"/>
                  </a:lnTo>
                  <a:lnTo>
                    <a:pt x="2398" y="714"/>
                  </a:lnTo>
                  <a:lnTo>
                    <a:pt x="2379" y="714"/>
                  </a:lnTo>
                  <a:lnTo>
                    <a:pt x="2371" y="709"/>
                  </a:lnTo>
                  <a:lnTo>
                    <a:pt x="2353" y="718"/>
                  </a:lnTo>
                  <a:lnTo>
                    <a:pt x="2344" y="708"/>
                  </a:lnTo>
                  <a:lnTo>
                    <a:pt x="2363" y="694"/>
                  </a:lnTo>
                  <a:lnTo>
                    <a:pt x="2355" y="681"/>
                  </a:lnTo>
                  <a:lnTo>
                    <a:pt x="2368" y="669"/>
                  </a:lnTo>
                  <a:lnTo>
                    <a:pt x="2344" y="671"/>
                  </a:lnTo>
                  <a:lnTo>
                    <a:pt x="2324" y="683"/>
                  </a:lnTo>
                  <a:lnTo>
                    <a:pt x="2310" y="688"/>
                  </a:lnTo>
                  <a:lnTo>
                    <a:pt x="2312" y="699"/>
                  </a:lnTo>
                  <a:lnTo>
                    <a:pt x="2298" y="706"/>
                  </a:lnTo>
                  <a:lnTo>
                    <a:pt x="2296" y="696"/>
                  </a:lnTo>
                  <a:lnTo>
                    <a:pt x="2283" y="693"/>
                  </a:lnTo>
                  <a:lnTo>
                    <a:pt x="2251" y="703"/>
                  </a:lnTo>
                  <a:lnTo>
                    <a:pt x="2232" y="722"/>
                  </a:lnTo>
                  <a:lnTo>
                    <a:pt x="2210" y="737"/>
                  </a:lnTo>
                  <a:lnTo>
                    <a:pt x="2184" y="737"/>
                  </a:lnTo>
                  <a:lnTo>
                    <a:pt x="2184" y="752"/>
                  </a:lnTo>
                  <a:lnTo>
                    <a:pt x="2174" y="753"/>
                  </a:lnTo>
                  <a:lnTo>
                    <a:pt x="2160" y="743"/>
                  </a:lnTo>
                  <a:lnTo>
                    <a:pt x="2150" y="747"/>
                  </a:lnTo>
                  <a:lnTo>
                    <a:pt x="2152" y="764"/>
                  </a:lnTo>
                  <a:lnTo>
                    <a:pt x="2150" y="787"/>
                  </a:lnTo>
                  <a:lnTo>
                    <a:pt x="2120" y="798"/>
                  </a:lnTo>
                  <a:lnTo>
                    <a:pt x="2078" y="787"/>
                  </a:lnTo>
                  <a:lnTo>
                    <a:pt x="2075" y="774"/>
                  </a:lnTo>
                  <a:lnTo>
                    <a:pt x="2057" y="759"/>
                  </a:lnTo>
                  <a:lnTo>
                    <a:pt x="2072" y="752"/>
                  </a:lnTo>
                  <a:lnTo>
                    <a:pt x="2074" y="743"/>
                  </a:lnTo>
                  <a:lnTo>
                    <a:pt x="2120" y="733"/>
                  </a:lnTo>
                  <a:lnTo>
                    <a:pt x="2098" y="704"/>
                  </a:lnTo>
                  <a:lnTo>
                    <a:pt x="2057" y="691"/>
                  </a:lnTo>
                  <a:lnTo>
                    <a:pt x="2014" y="684"/>
                  </a:lnTo>
                  <a:lnTo>
                    <a:pt x="2000" y="686"/>
                  </a:lnTo>
                  <a:lnTo>
                    <a:pt x="1997" y="696"/>
                  </a:lnTo>
                  <a:lnTo>
                    <a:pt x="2019" y="709"/>
                  </a:lnTo>
                  <a:lnTo>
                    <a:pt x="2030" y="719"/>
                  </a:lnTo>
                  <a:lnTo>
                    <a:pt x="2030" y="752"/>
                  </a:lnTo>
                  <a:lnTo>
                    <a:pt x="2019" y="762"/>
                  </a:lnTo>
                  <a:lnTo>
                    <a:pt x="2019" y="774"/>
                  </a:lnTo>
                  <a:lnTo>
                    <a:pt x="2043" y="788"/>
                  </a:lnTo>
                  <a:lnTo>
                    <a:pt x="2026" y="853"/>
                  </a:lnTo>
                  <a:lnTo>
                    <a:pt x="1985" y="820"/>
                  </a:lnTo>
                  <a:lnTo>
                    <a:pt x="1952" y="817"/>
                  </a:lnTo>
                  <a:lnTo>
                    <a:pt x="1950" y="848"/>
                  </a:lnTo>
                  <a:lnTo>
                    <a:pt x="1921" y="866"/>
                  </a:lnTo>
                  <a:lnTo>
                    <a:pt x="1878" y="909"/>
                  </a:lnTo>
                  <a:lnTo>
                    <a:pt x="1904" y="971"/>
                  </a:lnTo>
                  <a:lnTo>
                    <a:pt x="1894" y="992"/>
                  </a:lnTo>
                  <a:lnTo>
                    <a:pt x="1859" y="996"/>
                  </a:lnTo>
                  <a:lnTo>
                    <a:pt x="1811" y="971"/>
                  </a:lnTo>
                  <a:lnTo>
                    <a:pt x="1800" y="948"/>
                  </a:lnTo>
                  <a:lnTo>
                    <a:pt x="1782" y="946"/>
                  </a:lnTo>
                  <a:lnTo>
                    <a:pt x="1773" y="978"/>
                  </a:lnTo>
                  <a:lnTo>
                    <a:pt x="1797" y="1018"/>
                  </a:lnTo>
                  <a:lnTo>
                    <a:pt x="1811" y="1024"/>
                  </a:lnTo>
                  <a:lnTo>
                    <a:pt x="1826" y="1038"/>
                  </a:lnTo>
                  <a:lnTo>
                    <a:pt x="1819" y="1054"/>
                  </a:lnTo>
                  <a:lnTo>
                    <a:pt x="1776" y="1060"/>
                  </a:lnTo>
                  <a:lnTo>
                    <a:pt x="1744" y="1021"/>
                  </a:lnTo>
                  <a:lnTo>
                    <a:pt x="1718" y="1029"/>
                  </a:lnTo>
                  <a:lnTo>
                    <a:pt x="1715" y="1007"/>
                  </a:lnTo>
                  <a:lnTo>
                    <a:pt x="1720" y="960"/>
                  </a:lnTo>
                  <a:lnTo>
                    <a:pt x="1701" y="934"/>
                  </a:lnTo>
                  <a:lnTo>
                    <a:pt x="1720" y="903"/>
                  </a:lnTo>
                  <a:lnTo>
                    <a:pt x="1715" y="875"/>
                  </a:lnTo>
                  <a:lnTo>
                    <a:pt x="1677" y="827"/>
                  </a:lnTo>
                  <a:lnTo>
                    <a:pt x="1635" y="795"/>
                  </a:lnTo>
                  <a:lnTo>
                    <a:pt x="1637" y="777"/>
                  </a:lnTo>
                  <a:lnTo>
                    <a:pt x="1677" y="805"/>
                  </a:lnTo>
                  <a:lnTo>
                    <a:pt x="1699" y="803"/>
                  </a:lnTo>
                  <a:lnTo>
                    <a:pt x="1730" y="820"/>
                  </a:lnTo>
                  <a:lnTo>
                    <a:pt x="1773" y="839"/>
                  </a:lnTo>
                  <a:lnTo>
                    <a:pt x="1821" y="858"/>
                  </a:lnTo>
                  <a:lnTo>
                    <a:pt x="1861" y="861"/>
                  </a:lnTo>
                  <a:lnTo>
                    <a:pt x="1931" y="803"/>
                  </a:lnTo>
                  <a:lnTo>
                    <a:pt x="1931" y="752"/>
                  </a:lnTo>
                  <a:lnTo>
                    <a:pt x="1917" y="739"/>
                  </a:lnTo>
                  <a:lnTo>
                    <a:pt x="1897" y="727"/>
                  </a:lnTo>
                  <a:lnTo>
                    <a:pt x="1883" y="727"/>
                  </a:lnTo>
                  <a:lnTo>
                    <a:pt x="1871" y="714"/>
                  </a:lnTo>
                  <a:lnTo>
                    <a:pt x="1851" y="706"/>
                  </a:lnTo>
                  <a:lnTo>
                    <a:pt x="1811" y="689"/>
                  </a:lnTo>
                  <a:lnTo>
                    <a:pt x="1763" y="657"/>
                  </a:lnTo>
                  <a:lnTo>
                    <a:pt x="1714" y="642"/>
                  </a:lnTo>
                  <a:lnTo>
                    <a:pt x="1680" y="649"/>
                  </a:lnTo>
                  <a:lnTo>
                    <a:pt x="1666" y="638"/>
                  </a:lnTo>
                  <a:lnTo>
                    <a:pt x="1645" y="635"/>
                  </a:lnTo>
                  <a:lnTo>
                    <a:pt x="1635" y="625"/>
                  </a:lnTo>
                  <a:lnTo>
                    <a:pt x="1659" y="622"/>
                  </a:lnTo>
                  <a:lnTo>
                    <a:pt x="1659" y="612"/>
                  </a:lnTo>
                  <a:lnTo>
                    <a:pt x="1632" y="602"/>
                  </a:lnTo>
                  <a:lnTo>
                    <a:pt x="1613" y="603"/>
                  </a:lnTo>
                  <a:lnTo>
                    <a:pt x="1613" y="613"/>
                  </a:lnTo>
                  <a:lnTo>
                    <a:pt x="1597" y="613"/>
                  </a:lnTo>
                  <a:lnTo>
                    <a:pt x="1582" y="607"/>
                  </a:lnTo>
                  <a:lnTo>
                    <a:pt x="1563" y="615"/>
                  </a:lnTo>
                  <a:lnTo>
                    <a:pt x="1554" y="612"/>
                  </a:lnTo>
                  <a:lnTo>
                    <a:pt x="1554" y="603"/>
                  </a:lnTo>
                  <a:lnTo>
                    <a:pt x="1525" y="589"/>
                  </a:lnTo>
                  <a:lnTo>
                    <a:pt x="1528" y="583"/>
                  </a:lnTo>
                  <a:lnTo>
                    <a:pt x="1563" y="589"/>
                  </a:lnTo>
                  <a:lnTo>
                    <a:pt x="1587" y="569"/>
                  </a:lnTo>
                  <a:lnTo>
                    <a:pt x="1539" y="538"/>
                  </a:lnTo>
                  <a:lnTo>
                    <a:pt x="1525" y="541"/>
                  </a:lnTo>
                  <a:lnTo>
                    <a:pt x="1512" y="554"/>
                  </a:lnTo>
                  <a:lnTo>
                    <a:pt x="1501" y="547"/>
                  </a:lnTo>
                  <a:lnTo>
                    <a:pt x="1515" y="536"/>
                  </a:lnTo>
                  <a:lnTo>
                    <a:pt x="1501" y="524"/>
                  </a:lnTo>
                  <a:lnTo>
                    <a:pt x="1470" y="521"/>
                  </a:lnTo>
                  <a:lnTo>
                    <a:pt x="1475" y="536"/>
                  </a:lnTo>
                  <a:lnTo>
                    <a:pt x="1463" y="554"/>
                  </a:lnTo>
                  <a:lnTo>
                    <a:pt x="1456" y="548"/>
                  </a:lnTo>
                  <a:lnTo>
                    <a:pt x="1463" y="538"/>
                  </a:lnTo>
                  <a:lnTo>
                    <a:pt x="1446" y="538"/>
                  </a:lnTo>
                  <a:lnTo>
                    <a:pt x="1434" y="559"/>
                  </a:lnTo>
                  <a:lnTo>
                    <a:pt x="1427" y="573"/>
                  </a:lnTo>
                  <a:lnTo>
                    <a:pt x="1400" y="588"/>
                  </a:lnTo>
                  <a:lnTo>
                    <a:pt x="1405" y="567"/>
                  </a:lnTo>
                  <a:lnTo>
                    <a:pt x="1418" y="552"/>
                  </a:lnTo>
                  <a:lnTo>
                    <a:pt x="1432" y="541"/>
                  </a:lnTo>
                  <a:lnTo>
                    <a:pt x="1427" y="533"/>
                  </a:lnTo>
                  <a:lnTo>
                    <a:pt x="1400" y="531"/>
                  </a:lnTo>
                  <a:lnTo>
                    <a:pt x="1392" y="531"/>
                  </a:lnTo>
                  <a:lnTo>
                    <a:pt x="1387" y="541"/>
                  </a:lnTo>
                  <a:lnTo>
                    <a:pt x="1397" y="552"/>
                  </a:lnTo>
                  <a:lnTo>
                    <a:pt x="1387" y="557"/>
                  </a:lnTo>
                  <a:lnTo>
                    <a:pt x="1380" y="567"/>
                  </a:lnTo>
                  <a:lnTo>
                    <a:pt x="1364" y="570"/>
                  </a:lnTo>
                  <a:lnTo>
                    <a:pt x="1351" y="583"/>
                  </a:lnTo>
                  <a:lnTo>
                    <a:pt x="1358" y="598"/>
                  </a:lnTo>
                  <a:lnTo>
                    <a:pt x="1334" y="601"/>
                  </a:lnTo>
                  <a:lnTo>
                    <a:pt x="1329" y="592"/>
                  </a:lnTo>
                  <a:lnTo>
                    <a:pt x="1312" y="577"/>
                  </a:lnTo>
                  <a:lnTo>
                    <a:pt x="1295" y="573"/>
                  </a:lnTo>
                  <a:lnTo>
                    <a:pt x="1282" y="578"/>
                  </a:lnTo>
                  <a:lnTo>
                    <a:pt x="1278" y="586"/>
                  </a:lnTo>
                  <a:lnTo>
                    <a:pt x="1307" y="601"/>
                  </a:lnTo>
                  <a:lnTo>
                    <a:pt x="1303" y="609"/>
                  </a:lnTo>
                  <a:lnTo>
                    <a:pt x="1292" y="608"/>
                  </a:lnTo>
                  <a:lnTo>
                    <a:pt x="1288" y="603"/>
                  </a:lnTo>
                  <a:lnTo>
                    <a:pt x="1269" y="604"/>
                  </a:lnTo>
                  <a:lnTo>
                    <a:pt x="1259" y="613"/>
                  </a:lnTo>
                  <a:lnTo>
                    <a:pt x="1259" y="630"/>
                  </a:lnTo>
                  <a:lnTo>
                    <a:pt x="1252" y="638"/>
                  </a:lnTo>
                  <a:lnTo>
                    <a:pt x="1240" y="641"/>
                  </a:lnTo>
                  <a:lnTo>
                    <a:pt x="1239" y="631"/>
                  </a:lnTo>
                  <a:lnTo>
                    <a:pt x="1242" y="616"/>
                  </a:lnTo>
                  <a:lnTo>
                    <a:pt x="1248" y="606"/>
                  </a:lnTo>
                  <a:lnTo>
                    <a:pt x="1239" y="602"/>
                  </a:lnTo>
                  <a:lnTo>
                    <a:pt x="1230" y="608"/>
                  </a:lnTo>
                  <a:lnTo>
                    <a:pt x="1223" y="627"/>
                  </a:lnTo>
                  <a:lnTo>
                    <a:pt x="1218" y="617"/>
                  </a:lnTo>
                  <a:lnTo>
                    <a:pt x="1206" y="617"/>
                  </a:lnTo>
                  <a:lnTo>
                    <a:pt x="1201" y="627"/>
                  </a:lnTo>
                  <a:lnTo>
                    <a:pt x="1209" y="633"/>
                  </a:lnTo>
                  <a:lnTo>
                    <a:pt x="1215" y="638"/>
                  </a:lnTo>
                  <a:lnTo>
                    <a:pt x="1206" y="642"/>
                  </a:lnTo>
                  <a:lnTo>
                    <a:pt x="1194" y="636"/>
                  </a:lnTo>
                  <a:lnTo>
                    <a:pt x="1193" y="647"/>
                  </a:lnTo>
                  <a:lnTo>
                    <a:pt x="1182" y="655"/>
                  </a:lnTo>
                  <a:lnTo>
                    <a:pt x="1179" y="646"/>
                  </a:lnTo>
                  <a:lnTo>
                    <a:pt x="1162" y="652"/>
                  </a:lnTo>
                  <a:lnTo>
                    <a:pt x="1152" y="667"/>
                  </a:lnTo>
                  <a:lnTo>
                    <a:pt x="1155" y="676"/>
                  </a:lnTo>
                  <a:lnTo>
                    <a:pt x="1143" y="686"/>
                  </a:lnTo>
                  <a:lnTo>
                    <a:pt x="1125" y="686"/>
                  </a:lnTo>
                  <a:lnTo>
                    <a:pt x="1109" y="701"/>
                  </a:lnTo>
                  <a:lnTo>
                    <a:pt x="1128" y="700"/>
                  </a:lnTo>
                  <a:lnTo>
                    <a:pt x="1141" y="699"/>
                  </a:lnTo>
                  <a:lnTo>
                    <a:pt x="1140" y="708"/>
                  </a:lnTo>
                  <a:lnTo>
                    <a:pt x="1114" y="708"/>
                  </a:lnTo>
                  <a:lnTo>
                    <a:pt x="1116" y="728"/>
                  </a:lnTo>
                  <a:lnTo>
                    <a:pt x="1104" y="732"/>
                  </a:lnTo>
                  <a:lnTo>
                    <a:pt x="1096" y="722"/>
                  </a:lnTo>
                  <a:lnTo>
                    <a:pt x="1067" y="752"/>
                  </a:lnTo>
                  <a:lnTo>
                    <a:pt x="1091" y="751"/>
                  </a:lnTo>
                  <a:lnTo>
                    <a:pt x="1088" y="761"/>
                  </a:lnTo>
                  <a:lnTo>
                    <a:pt x="1073" y="761"/>
                  </a:lnTo>
                  <a:lnTo>
                    <a:pt x="1059" y="766"/>
                  </a:lnTo>
                  <a:lnTo>
                    <a:pt x="1059" y="769"/>
                  </a:lnTo>
                  <a:lnTo>
                    <a:pt x="1074" y="772"/>
                  </a:lnTo>
                  <a:lnTo>
                    <a:pt x="1062" y="782"/>
                  </a:lnTo>
                  <a:lnTo>
                    <a:pt x="1049" y="781"/>
                  </a:lnTo>
                  <a:lnTo>
                    <a:pt x="1031" y="792"/>
                  </a:lnTo>
                  <a:lnTo>
                    <a:pt x="1011" y="817"/>
                  </a:lnTo>
                  <a:lnTo>
                    <a:pt x="1001" y="822"/>
                  </a:lnTo>
                  <a:lnTo>
                    <a:pt x="1001" y="844"/>
                  </a:lnTo>
                  <a:lnTo>
                    <a:pt x="1019" y="837"/>
                  </a:lnTo>
                  <a:lnTo>
                    <a:pt x="1029" y="845"/>
                  </a:lnTo>
                  <a:lnTo>
                    <a:pt x="1017" y="858"/>
                  </a:lnTo>
                  <a:lnTo>
                    <a:pt x="995" y="860"/>
                  </a:lnTo>
                  <a:lnTo>
                    <a:pt x="994" y="887"/>
                  </a:lnTo>
                  <a:lnTo>
                    <a:pt x="986" y="918"/>
                  </a:lnTo>
                  <a:lnTo>
                    <a:pt x="976" y="933"/>
                  </a:lnTo>
                  <a:lnTo>
                    <a:pt x="976" y="942"/>
                  </a:lnTo>
                  <a:lnTo>
                    <a:pt x="989" y="938"/>
                  </a:lnTo>
                  <a:lnTo>
                    <a:pt x="980" y="956"/>
                  </a:lnTo>
                  <a:lnTo>
                    <a:pt x="963" y="960"/>
                  </a:lnTo>
                  <a:lnTo>
                    <a:pt x="934" y="1000"/>
                  </a:lnTo>
                  <a:lnTo>
                    <a:pt x="934" y="1018"/>
                  </a:lnTo>
                  <a:lnTo>
                    <a:pt x="889" y="1065"/>
                  </a:lnTo>
                  <a:lnTo>
                    <a:pt x="883" y="1098"/>
                  </a:lnTo>
                  <a:lnTo>
                    <a:pt x="874" y="1107"/>
                  </a:lnTo>
                  <a:lnTo>
                    <a:pt x="869" y="1118"/>
                  </a:lnTo>
                  <a:lnTo>
                    <a:pt x="856" y="1114"/>
                  </a:lnTo>
                  <a:lnTo>
                    <a:pt x="836" y="1130"/>
                  </a:lnTo>
                  <a:lnTo>
                    <a:pt x="832" y="1141"/>
                  </a:lnTo>
                  <a:lnTo>
                    <a:pt x="819" y="1141"/>
                  </a:lnTo>
                  <a:lnTo>
                    <a:pt x="803" y="1156"/>
                  </a:lnTo>
                  <a:lnTo>
                    <a:pt x="803" y="1170"/>
                  </a:lnTo>
                  <a:lnTo>
                    <a:pt x="791" y="1172"/>
                  </a:lnTo>
                  <a:lnTo>
                    <a:pt x="788" y="1184"/>
                  </a:lnTo>
                  <a:lnTo>
                    <a:pt x="797" y="1188"/>
                  </a:lnTo>
                  <a:lnTo>
                    <a:pt x="800" y="1196"/>
                  </a:lnTo>
                  <a:lnTo>
                    <a:pt x="771" y="1199"/>
                  </a:lnTo>
                  <a:lnTo>
                    <a:pt x="759" y="1222"/>
                  </a:lnTo>
                  <a:lnTo>
                    <a:pt x="747" y="1225"/>
                  </a:lnTo>
                  <a:lnTo>
                    <a:pt x="740" y="1235"/>
                  </a:lnTo>
                  <a:lnTo>
                    <a:pt x="739" y="1247"/>
                  </a:lnTo>
                  <a:lnTo>
                    <a:pt x="734" y="1254"/>
                  </a:lnTo>
                  <a:lnTo>
                    <a:pt x="737" y="1279"/>
                  </a:lnTo>
                  <a:lnTo>
                    <a:pt x="734" y="1307"/>
                  </a:lnTo>
                  <a:lnTo>
                    <a:pt x="749" y="1311"/>
                  </a:lnTo>
                  <a:lnTo>
                    <a:pt x="758" y="1303"/>
                  </a:lnTo>
                  <a:lnTo>
                    <a:pt x="788" y="1303"/>
                  </a:lnTo>
                  <a:lnTo>
                    <a:pt x="800" y="1297"/>
                  </a:lnTo>
                  <a:lnTo>
                    <a:pt x="812" y="1293"/>
                  </a:lnTo>
                  <a:lnTo>
                    <a:pt x="810" y="1305"/>
                  </a:lnTo>
                  <a:lnTo>
                    <a:pt x="796" y="1311"/>
                  </a:lnTo>
                  <a:lnTo>
                    <a:pt x="784" y="1315"/>
                  </a:lnTo>
                  <a:lnTo>
                    <a:pt x="772" y="1320"/>
                  </a:lnTo>
                  <a:lnTo>
                    <a:pt x="761" y="1319"/>
                  </a:lnTo>
                  <a:lnTo>
                    <a:pt x="740" y="1324"/>
                  </a:lnTo>
                  <a:lnTo>
                    <a:pt x="742" y="1339"/>
                  </a:lnTo>
                  <a:lnTo>
                    <a:pt x="752" y="1345"/>
                  </a:lnTo>
                  <a:lnTo>
                    <a:pt x="754" y="1355"/>
                  </a:lnTo>
                  <a:lnTo>
                    <a:pt x="745" y="1369"/>
                  </a:lnTo>
                  <a:lnTo>
                    <a:pt x="753" y="1376"/>
                  </a:lnTo>
                  <a:lnTo>
                    <a:pt x="766" y="1376"/>
                  </a:lnTo>
                  <a:lnTo>
                    <a:pt x="778" y="1358"/>
                  </a:lnTo>
                  <a:lnTo>
                    <a:pt x="787" y="1354"/>
                  </a:lnTo>
                  <a:lnTo>
                    <a:pt x="784" y="1370"/>
                  </a:lnTo>
                  <a:lnTo>
                    <a:pt x="767" y="1393"/>
                  </a:lnTo>
                  <a:lnTo>
                    <a:pt x="763" y="1410"/>
                  </a:lnTo>
                  <a:lnTo>
                    <a:pt x="748" y="1417"/>
                  </a:lnTo>
                  <a:lnTo>
                    <a:pt x="743" y="1431"/>
                  </a:lnTo>
                  <a:lnTo>
                    <a:pt x="745" y="1447"/>
                  </a:lnTo>
                  <a:lnTo>
                    <a:pt x="759" y="1443"/>
                  </a:lnTo>
                  <a:lnTo>
                    <a:pt x="764" y="1434"/>
                  </a:lnTo>
                  <a:lnTo>
                    <a:pt x="776" y="1436"/>
                  </a:lnTo>
                  <a:lnTo>
                    <a:pt x="766" y="1451"/>
                  </a:lnTo>
                  <a:lnTo>
                    <a:pt x="766" y="1468"/>
                  </a:lnTo>
                  <a:lnTo>
                    <a:pt x="749" y="1472"/>
                  </a:lnTo>
                  <a:lnTo>
                    <a:pt x="747" y="1485"/>
                  </a:lnTo>
                  <a:lnTo>
                    <a:pt x="758" y="1501"/>
                  </a:lnTo>
                  <a:lnTo>
                    <a:pt x="766" y="1504"/>
                  </a:lnTo>
                  <a:lnTo>
                    <a:pt x="766" y="1524"/>
                  </a:lnTo>
                  <a:lnTo>
                    <a:pt x="782" y="1524"/>
                  </a:lnTo>
                  <a:lnTo>
                    <a:pt x="788" y="1516"/>
                  </a:lnTo>
                  <a:lnTo>
                    <a:pt x="797" y="1519"/>
                  </a:lnTo>
                  <a:lnTo>
                    <a:pt x="787" y="1538"/>
                  </a:lnTo>
                  <a:lnTo>
                    <a:pt x="797" y="1558"/>
                  </a:lnTo>
                  <a:lnTo>
                    <a:pt x="819" y="1546"/>
                  </a:lnTo>
                  <a:lnTo>
                    <a:pt x="837" y="1534"/>
                  </a:lnTo>
                  <a:lnTo>
                    <a:pt x="853" y="1524"/>
                  </a:lnTo>
                  <a:lnTo>
                    <a:pt x="874" y="1486"/>
                  </a:lnTo>
                  <a:lnTo>
                    <a:pt x="874" y="1476"/>
                  </a:lnTo>
                  <a:lnTo>
                    <a:pt x="887" y="1465"/>
                  </a:lnTo>
                  <a:lnTo>
                    <a:pt x="885" y="1472"/>
                  </a:lnTo>
                  <a:lnTo>
                    <a:pt x="902" y="1470"/>
                  </a:lnTo>
                  <a:lnTo>
                    <a:pt x="915" y="1455"/>
                  </a:lnTo>
                  <a:lnTo>
                    <a:pt x="915" y="1432"/>
                  </a:lnTo>
                  <a:lnTo>
                    <a:pt x="926" y="1423"/>
                  </a:lnTo>
                  <a:lnTo>
                    <a:pt x="933" y="1428"/>
                  </a:lnTo>
                  <a:lnTo>
                    <a:pt x="928" y="1451"/>
                  </a:lnTo>
                  <a:lnTo>
                    <a:pt x="946" y="1470"/>
                  </a:lnTo>
                  <a:lnTo>
                    <a:pt x="946" y="1496"/>
                  </a:lnTo>
                  <a:lnTo>
                    <a:pt x="952" y="1519"/>
                  </a:lnTo>
                  <a:lnTo>
                    <a:pt x="970" y="1535"/>
                  </a:lnTo>
                  <a:lnTo>
                    <a:pt x="967" y="1589"/>
                  </a:lnTo>
                  <a:lnTo>
                    <a:pt x="977" y="1608"/>
                  </a:lnTo>
                  <a:lnTo>
                    <a:pt x="982" y="1631"/>
                  </a:lnTo>
                  <a:lnTo>
                    <a:pt x="997" y="1650"/>
                  </a:lnTo>
                  <a:lnTo>
                    <a:pt x="997" y="1685"/>
                  </a:lnTo>
                  <a:lnTo>
                    <a:pt x="1007" y="1709"/>
                  </a:lnTo>
                  <a:lnTo>
                    <a:pt x="1023" y="1724"/>
                  </a:lnTo>
                  <a:lnTo>
                    <a:pt x="1034" y="1720"/>
                  </a:lnTo>
                  <a:lnTo>
                    <a:pt x="1044" y="1719"/>
                  </a:lnTo>
                  <a:lnTo>
                    <a:pt x="1065" y="1681"/>
                  </a:lnTo>
                  <a:lnTo>
                    <a:pt x="1088" y="1679"/>
                  </a:lnTo>
                  <a:lnTo>
                    <a:pt x="1103" y="1666"/>
                  </a:lnTo>
                  <a:lnTo>
                    <a:pt x="1118" y="1616"/>
                  </a:lnTo>
                  <a:lnTo>
                    <a:pt x="1128" y="1573"/>
                  </a:lnTo>
                  <a:lnTo>
                    <a:pt x="1126" y="1511"/>
                  </a:lnTo>
                  <a:lnTo>
                    <a:pt x="1138" y="1490"/>
                  </a:lnTo>
                  <a:lnTo>
                    <a:pt x="1151" y="1494"/>
                  </a:lnTo>
                  <a:lnTo>
                    <a:pt x="1150" y="1477"/>
                  </a:lnTo>
                  <a:lnTo>
                    <a:pt x="1162" y="1468"/>
                  </a:lnTo>
                  <a:lnTo>
                    <a:pt x="1175" y="1470"/>
                  </a:lnTo>
                  <a:lnTo>
                    <a:pt x="1198" y="1432"/>
                  </a:lnTo>
                  <a:lnTo>
                    <a:pt x="1195" y="1376"/>
                  </a:lnTo>
                  <a:lnTo>
                    <a:pt x="1171" y="1342"/>
                  </a:lnTo>
                  <a:lnTo>
                    <a:pt x="1145" y="1320"/>
                  </a:lnTo>
                  <a:lnTo>
                    <a:pt x="1146" y="1264"/>
                  </a:lnTo>
                  <a:lnTo>
                    <a:pt x="1155" y="1247"/>
                  </a:lnTo>
                  <a:lnTo>
                    <a:pt x="1150" y="1238"/>
                  </a:lnTo>
                  <a:lnTo>
                    <a:pt x="1150" y="1204"/>
                  </a:lnTo>
                  <a:lnTo>
                    <a:pt x="1169" y="1189"/>
                  </a:lnTo>
                  <a:lnTo>
                    <a:pt x="1175" y="1141"/>
                  </a:lnTo>
                  <a:lnTo>
                    <a:pt x="1198" y="1127"/>
                  </a:lnTo>
                  <a:lnTo>
                    <a:pt x="1213" y="1102"/>
                  </a:lnTo>
                  <a:lnTo>
                    <a:pt x="1237" y="1080"/>
                  </a:lnTo>
                  <a:lnTo>
                    <a:pt x="1264" y="1049"/>
                  </a:lnTo>
                  <a:lnTo>
                    <a:pt x="1286" y="1007"/>
                  </a:lnTo>
                  <a:lnTo>
                    <a:pt x="1282" y="989"/>
                  </a:lnTo>
                  <a:lnTo>
                    <a:pt x="1278" y="978"/>
                  </a:lnTo>
                  <a:lnTo>
                    <a:pt x="1295" y="942"/>
                  </a:lnTo>
                  <a:lnTo>
                    <a:pt x="1295" y="923"/>
                  </a:lnTo>
                  <a:lnTo>
                    <a:pt x="1313" y="905"/>
                  </a:lnTo>
                  <a:lnTo>
                    <a:pt x="1319" y="887"/>
                  </a:lnTo>
                  <a:lnTo>
                    <a:pt x="1340" y="892"/>
                  </a:lnTo>
                  <a:lnTo>
                    <a:pt x="1369" y="879"/>
                  </a:lnTo>
                  <a:lnTo>
                    <a:pt x="1392" y="887"/>
                  </a:lnTo>
                  <a:lnTo>
                    <a:pt x="1422" y="919"/>
                  </a:lnTo>
                  <a:lnTo>
                    <a:pt x="1418" y="937"/>
                  </a:lnTo>
                  <a:lnTo>
                    <a:pt x="1422" y="952"/>
                  </a:lnTo>
                  <a:lnTo>
                    <a:pt x="1410" y="971"/>
                  </a:lnTo>
                  <a:lnTo>
                    <a:pt x="1397" y="971"/>
                  </a:lnTo>
                  <a:lnTo>
                    <a:pt x="1383" y="1019"/>
                  </a:lnTo>
                  <a:lnTo>
                    <a:pt x="1364" y="1049"/>
                  </a:lnTo>
                  <a:lnTo>
                    <a:pt x="1350" y="1054"/>
                  </a:lnTo>
                  <a:lnTo>
                    <a:pt x="1342" y="1079"/>
                  </a:lnTo>
                  <a:lnTo>
                    <a:pt x="1331" y="1083"/>
                  </a:lnTo>
                  <a:lnTo>
                    <a:pt x="1319" y="1098"/>
                  </a:lnTo>
                  <a:lnTo>
                    <a:pt x="1310" y="1120"/>
                  </a:lnTo>
                  <a:lnTo>
                    <a:pt x="1296" y="1123"/>
                  </a:lnTo>
                  <a:lnTo>
                    <a:pt x="1295" y="1141"/>
                  </a:lnTo>
                  <a:lnTo>
                    <a:pt x="1276" y="1164"/>
                  </a:lnTo>
                  <a:lnTo>
                    <a:pt x="1276" y="1164"/>
                  </a:lnTo>
                  <a:lnTo>
                    <a:pt x="1276" y="1171"/>
                  </a:lnTo>
                  <a:lnTo>
                    <a:pt x="1276" y="1188"/>
                  </a:lnTo>
                  <a:lnTo>
                    <a:pt x="1277" y="1203"/>
                  </a:lnTo>
                  <a:lnTo>
                    <a:pt x="1277" y="1203"/>
                  </a:lnTo>
                  <a:lnTo>
                    <a:pt x="1279" y="1218"/>
                  </a:lnTo>
                  <a:lnTo>
                    <a:pt x="1285" y="1238"/>
                  </a:lnTo>
                  <a:lnTo>
                    <a:pt x="1286" y="1247"/>
                  </a:lnTo>
                  <a:lnTo>
                    <a:pt x="1286" y="1247"/>
                  </a:lnTo>
                  <a:lnTo>
                    <a:pt x="1295" y="1279"/>
                  </a:lnTo>
                  <a:lnTo>
                    <a:pt x="1285" y="1290"/>
                  </a:lnTo>
                  <a:lnTo>
                    <a:pt x="1291" y="1353"/>
                  </a:lnTo>
                  <a:lnTo>
                    <a:pt x="1307" y="1354"/>
                  </a:lnTo>
                  <a:lnTo>
                    <a:pt x="1313" y="1369"/>
                  </a:lnTo>
                  <a:lnTo>
                    <a:pt x="1332" y="1369"/>
                  </a:lnTo>
                  <a:lnTo>
                    <a:pt x="1336" y="1392"/>
                  </a:lnTo>
                  <a:lnTo>
                    <a:pt x="1346" y="1395"/>
                  </a:lnTo>
                  <a:lnTo>
                    <a:pt x="1364" y="1388"/>
                  </a:lnTo>
                  <a:lnTo>
                    <a:pt x="1374" y="1380"/>
                  </a:lnTo>
                  <a:lnTo>
                    <a:pt x="1387" y="1381"/>
                  </a:lnTo>
                  <a:lnTo>
                    <a:pt x="1405" y="1370"/>
                  </a:lnTo>
                  <a:lnTo>
                    <a:pt x="1428" y="1370"/>
                  </a:lnTo>
                  <a:lnTo>
                    <a:pt x="1433" y="1358"/>
                  </a:lnTo>
                  <a:lnTo>
                    <a:pt x="1465" y="1350"/>
                  </a:lnTo>
                  <a:lnTo>
                    <a:pt x="1472" y="1341"/>
                  </a:lnTo>
                  <a:lnTo>
                    <a:pt x="1489" y="1350"/>
                  </a:lnTo>
                  <a:lnTo>
                    <a:pt x="1518" y="1334"/>
                  </a:lnTo>
                  <a:lnTo>
                    <a:pt x="1514" y="1361"/>
                  </a:lnTo>
                  <a:lnTo>
                    <a:pt x="1530" y="1370"/>
                  </a:lnTo>
                  <a:lnTo>
                    <a:pt x="1554" y="1369"/>
                  </a:lnTo>
                  <a:lnTo>
                    <a:pt x="1569" y="1374"/>
                  </a:lnTo>
                  <a:lnTo>
                    <a:pt x="1564" y="1399"/>
                  </a:lnTo>
                  <a:lnTo>
                    <a:pt x="1528" y="1395"/>
                  </a:lnTo>
                  <a:lnTo>
                    <a:pt x="1524" y="1404"/>
                  </a:lnTo>
                  <a:lnTo>
                    <a:pt x="1502" y="1404"/>
                  </a:lnTo>
                  <a:lnTo>
                    <a:pt x="1504" y="1417"/>
                  </a:lnTo>
                  <a:lnTo>
                    <a:pt x="1487" y="1434"/>
                  </a:lnTo>
                  <a:lnTo>
                    <a:pt x="1446" y="1427"/>
                  </a:lnTo>
                  <a:lnTo>
                    <a:pt x="1431" y="1423"/>
                  </a:lnTo>
                  <a:lnTo>
                    <a:pt x="1412" y="1434"/>
                  </a:lnTo>
                  <a:lnTo>
                    <a:pt x="1385" y="1431"/>
                  </a:lnTo>
                  <a:lnTo>
                    <a:pt x="1349" y="1466"/>
                  </a:lnTo>
                  <a:lnTo>
                    <a:pt x="1346" y="1473"/>
                  </a:lnTo>
                  <a:lnTo>
                    <a:pt x="1361" y="1486"/>
                  </a:lnTo>
                  <a:lnTo>
                    <a:pt x="1359" y="1519"/>
                  </a:lnTo>
                  <a:lnTo>
                    <a:pt x="1375" y="1526"/>
                  </a:lnTo>
                  <a:lnTo>
                    <a:pt x="1383" y="1540"/>
                  </a:lnTo>
                  <a:lnTo>
                    <a:pt x="1384" y="1546"/>
                  </a:lnTo>
                  <a:lnTo>
                    <a:pt x="1387" y="1565"/>
                  </a:lnTo>
                  <a:lnTo>
                    <a:pt x="1379" y="1612"/>
                  </a:lnTo>
                  <a:lnTo>
                    <a:pt x="1358" y="1617"/>
                  </a:lnTo>
                  <a:lnTo>
                    <a:pt x="1336" y="1585"/>
                  </a:lnTo>
                  <a:lnTo>
                    <a:pt x="1326" y="1562"/>
                  </a:lnTo>
                  <a:lnTo>
                    <a:pt x="1303" y="1573"/>
                  </a:lnTo>
                  <a:lnTo>
                    <a:pt x="1282" y="1580"/>
                  </a:lnTo>
                  <a:lnTo>
                    <a:pt x="1283" y="1620"/>
                  </a:lnTo>
                  <a:lnTo>
                    <a:pt x="1267" y="1640"/>
                  </a:lnTo>
                  <a:lnTo>
                    <a:pt x="1262" y="1661"/>
                  </a:lnTo>
                  <a:lnTo>
                    <a:pt x="1272" y="1677"/>
                  </a:lnTo>
                  <a:lnTo>
                    <a:pt x="1282" y="1747"/>
                  </a:lnTo>
                  <a:lnTo>
                    <a:pt x="1276" y="1756"/>
                  </a:lnTo>
                  <a:lnTo>
                    <a:pt x="1238" y="1758"/>
                  </a:lnTo>
                  <a:lnTo>
                    <a:pt x="1235" y="1769"/>
                  </a:lnTo>
                  <a:lnTo>
                    <a:pt x="1242" y="1781"/>
                  </a:lnTo>
                  <a:lnTo>
                    <a:pt x="1238" y="1793"/>
                  </a:lnTo>
                  <a:lnTo>
                    <a:pt x="1230" y="1791"/>
                  </a:lnTo>
                  <a:lnTo>
                    <a:pt x="1211" y="1806"/>
                  </a:lnTo>
                  <a:lnTo>
                    <a:pt x="1189" y="1801"/>
                  </a:lnTo>
                  <a:lnTo>
                    <a:pt x="1188" y="1774"/>
                  </a:lnTo>
                  <a:lnTo>
                    <a:pt x="1152" y="1767"/>
                  </a:lnTo>
                  <a:lnTo>
                    <a:pt x="1140" y="1782"/>
                  </a:lnTo>
                  <a:lnTo>
                    <a:pt x="1116" y="1791"/>
                  </a:lnTo>
                  <a:lnTo>
                    <a:pt x="1089" y="1816"/>
                  </a:lnTo>
                  <a:lnTo>
                    <a:pt x="1064" y="1818"/>
                  </a:lnTo>
                  <a:lnTo>
                    <a:pt x="1044" y="1832"/>
                  </a:lnTo>
                  <a:lnTo>
                    <a:pt x="1030" y="1813"/>
                  </a:lnTo>
                  <a:lnTo>
                    <a:pt x="1021" y="1808"/>
                  </a:lnTo>
                  <a:lnTo>
                    <a:pt x="1019" y="1786"/>
                  </a:lnTo>
                  <a:lnTo>
                    <a:pt x="981" y="1797"/>
                  </a:lnTo>
                  <a:lnTo>
                    <a:pt x="965" y="1816"/>
                  </a:lnTo>
                  <a:lnTo>
                    <a:pt x="938" y="1813"/>
                  </a:lnTo>
                  <a:lnTo>
                    <a:pt x="929" y="1805"/>
                  </a:lnTo>
                  <a:lnTo>
                    <a:pt x="908" y="1801"/>
                  </a:lnTo>
                  <a:lnTo>
                    <a:pt x="895" y="1777"/>
                  </a:lnTo>
                  <a:lnTo>
                    <a:pt x="893" y="1773"/>
                  </a:lnTo>
                  <a:lnTo>
                    <a:pt x="884" y="1747"/>
                  </a:lnTo>
                  <a:lnTo>
                    <a:pt x="885" y="1720"/>
                  </a:lnTo>
                  <a:lnTo>
                    <a:pt x="908" y="1700"/>
                  </a:lnTo>
                  <a:lnTo>
                    <a:pt x="910" y="1682"/>
                  </a:lnTo>
                  <a:lnTo>
                    <a:pt x="933" y="1677"/>
                  </a:lnTo>
                  <a:lnTo>
                    <a:pt x="939" y="1664"/>
                  </a:lnTo>
                  <a:lnTo>
                    <a:pt x="929" y="1657"/>
                  </a:lnTo>
                  <a:lnTo>
                    <a:pt x="915" y="1655"/>
                  </a:lnTo>
                  <a:lnTo>
                    <a:pt x="903" y="1625"/>
                  </a:lnTo>
                  <a:lnTo>
                    <a:pt x="889" y="1627"/>
                  </a:lnTo>
                  <a:lnTo>
                    <a:pt x="874" y="1650"/>
                  </a:lnTo>
                  <a:lnTo>
                    <a:pt x="861" y="1646"/>
                  </a:lnTo>
                  <a:lnTo>
                    <a:pt x="836" y="1664"/>
                  </a:lnTo>
                  <a:lnTo>
                    <a:pt x="835" y="1694"/>
                  </a:lnTo>
                  <a:lnTo>
                    <a:pt x="839" y="1728"/>
                  </a:lnTo>
                  <a:lnTo>
                    <a:pt x="854" y="1747"/>
                  </a:lnTo>
                  <a:lnTo>
                    <a:pt x="855" y="1774"/>
                  </a:lnTo>
                  <a:lnTo>
                    <a:pt x="856" y="1781"/>
                  </a:lnTo>
                  <a:lnTo>
                    <a:pt x="865" y="1810"/>
                  </a:lnTo>
                  <a:lnTo>
                    <a:pt x="863" y="1836"/>
                  </a:lnTo>
                  <a:lnTo>
                    <a:pt x="850" y="1847"/>
                  </a:lnTo>
                  <a:lnTo>
                    <a:pt x="841" y="1855"/>
                  </a:lnTo>
                  <a:lnTo>
                    <a:pt x="830" y="1850"/>
                  </a:lnTo>
                  <a:lnTo>
                    <a:pt x="813" y="1850"/>
                  </a:lnTo>
                  <a:lnTo>
                    <a:pt x="801" y="1868"/>
                  </a:lnTo>
                  <a:lnTo>
                    <a:pt x="767" y="1870"/>
                  </a:lnTo>
                  <a:lnTo>
                    <a:pt x="749" y="1883"/>
                  </a:lnTo>
                  <a:lnTo>
                    <a:pt x="748" y="1898"/>
                  </a:lnTo>
                  <a:lnTo>
                    <a:pt x="761" y="1909"/>
                  </a:lnTo>
                  <a:lnTo>
                    <a:pt x="759" y="1924"/>
                  </a:lnTo>
                  <a:lnTo>
                    <a:pt x="743" y="1937"/>
                  </a:lnTo>
                  <a:lnTo>
                    <a:pt x="739" y="1924"/>
                  </a:lnTo>
                  <a:lnTo>
                    <a:pt x="747" y="1912"/>
                  </a:lnTo>
                  <a:lnTo>
                    <a:pt x="742" y="1904"/>
                  </a:lnTo>
                  <a:lnTo>
                    <a:pt x="728" y="1908"/>
                  </a:lnTo>
                  <a:lnTo>
                    <a:pt x="716" y="1941"/>
                  </a:lnTo>
                  <a:lnTo>
                    <a:pt x="703" y="1963"/>
                  </a:lnTo>
                  <a:lnTo>
                    <a:pt x="700" y="1980"/>
                  </a:lnTo>
                  <a:lnTo>
                    <a:pt x="703" y="1987"/>
                  </a:lnTo>
                  <a:lnTo>
                    <a:pt x="698" y="1997"/>
                  </a:lnTo>
                  <a:lnTo>
                    <a:pt x="688" y="1997"/>
                  </a:lnTo>
                  <a:lnTo>
                    <a:pt x="674" y="2001"/>
                  </a:lnTo>
                  <a:lnTo>
                    <a:pt x="669" y="2009"/>
                  </a:lnTo>
                  <a:lnTo>
                    <a:pt x="652" y="2021"/>
                  </a:lnTo>
                  <a:lnTo>
                    <a:pt x="626" y="2029"/>
                  </a:lnTo>
                  <a:lnTo>
                    <a:pt x="616" y="2075"/>
                  </a:lnTo>
                  <a:lnTo>
                    <a:pt x="585" y="2099"/>
                  </a:lnTo>
                  <a:lnTo>
                    <a:pt x="569" y="2111"/>
                  </a:lnTo>
                  <a:lnTo>
                    <a:pt x="569" y="2122"/>
                  </a:lnTo>
                  <a:lnTo>
                    <a:pt x="541" y="2122"/>
                  </a:lnTo>
                  <a:lnTo>
                    <a:pt x="530" y="2107"/>
                  </a:lnTo>
                  <a:lnTo>
                    <a:pt x="509" y="2107"/>
                  </a:lnTo>
                  <a:lnTo>
                    <a:pt x="509" y="2118"/>
                  </a:lnTo>
                  <a:lnTo>
                    <a:pt x="521" y="2143"/>
                  </a:lnTo>
                  <a:lnTo>
                    <a:pt x="528" y="2159"/>
                  </a:lnTo>
                  <a:lnTo>
                    <a:pt x="517" y="2172"/>
                  </a:lnTo>
                  <a:lnTo>
                    <a:pt x="504" y="2167"/>
                  </a:lnTo>
                  <a:lnTo>
                    <a:pt x="492" y="2172"/>
                  </a:lnTo>
                  <a:lnTo>
                    <a:pt x="470" y="2160"/>
                  </a:lnTo>
                  <a:lnTo>
                    <a:pt x="458" y="2159"/>
                  </a:lnTo>
                  <a:lnTo>
                    <a:pt x="444" y="2172"/>
                  </a:lnTo>
                  <a:lnTo>
                    <a:pt x="426" y="2171"/>
                  </a:lnTo>
                  <a:lnTo>
                    <a:pt x="419" y="2186"/>
                  </a:lnTo>
                  <a:lnTo>
                    <a:pt x="428" y="2195"/>
                  </a:lnTo>
                  <a:lnTo>
                    <a:pt x="426" y="2206"/>
                  </a:lnTo>
                  <a:lnTo>
                    <a:pt x="439" y="2220"/>
                  </a:lnTo>
                  <a:lnTo>
                    <a:pt x="461" y="2225"/>
                  </a:lnTo>
                  <a:lnTo>
                    <a:pt x="476" y="2229"/>
                  </a:lnTo>
                  <a:lnTo>
                    <a:pt x="482" y="2238"/>
                  </a:lnTo>
                  <a:lnTo>
                    <a:pt x="495" y="2238"/>
                  </a:lnTo>
                  <a:lnTo>
                    <a:pt x="510" y="2257"/>
                  </a:lnTo>
                  <a:lnTo>
                    <a:pt x="504" y="2276"/>
                  </a:lnTo>
                  <a:lnTo>
                    <a:pt x="535" y="2303"/>
                  </a:lnTo>
                  <a:lnTo>
                    <a:pt x="536" y="2318"/>
                  </a:lnTo>
                  <a:lnTo>
                    <a:pt x="530" y="2321"/>
                  </a:lnTo>
                  <a:lnTo>
                    <a:pt x="534" y="2349"/>
                  </a:lnTo>
                  <a:lnTo>
                    <a:pt x="536" y="2369"/>
                  </a:lnTo>
                  <a:lnTo>
                    <a:pt x="546" y="2375"/>
                  </a:lnTo>
                  <a:lnTo>
                    <a:pt x="551" y="2390"/>
                  </a:lnTo>
                  <a:lnTo>
                    <a:pt x="539" y="2379"/>
                  </a:lnTo>
                  <a:lnTo>
                    <a:pt x="539" y="2405"/>
                  </a:lnTo>
                  <a:lnTo>
                    <a:pt x="531" y="2437"/>
                  </a:lnTo>
                  <a:lnTo>
                    <a:pt x="523" y="2467"/>
                  </a:lnTo>
                  <a:lnTo>
                    <a:pt x="485" y="2465"/>
                  </a:lnTo>
                  <a:lnTo>
                    <a:pt x="451" y="2456"/>
                  </a:lnTo>
                  <a:lnTo>
                    <a:pt x="427" y="2461"/>
                  </a:lnTo>
                  <a:lnTo>
                    <a:pt x="394" y="2448"/>
                  </a:lnTo>
                  <a:lnTo>
                    <a:pt x="378" y="2452"/>
                  </a:lnTo>
                  <a:lnTo>
                    <a:pt x="366" y="2456"/>
                  </a:lnTo>
                  <a:lnTo>
                    <a:pt x="325" y="2453"/>
                  </a:lnTo>
                  <a:lnTo>
                    <a:pt x="318" y="2442"/>
                  </a:lnTo>
                  <a:lnTo>
                    <a:pt x="303" y="2444"/>
                  </a:lnTo>
                  <a:lnTo>
                    <a:pt x="295" y="2461"/>
                  </a:lnTo>
                  <a:lnTo>
                    <a:pt x="276" y="2471"/>
                  </a:lnTo>
                  <a:lnTo>
                    <a:pt x="264" y="2491"/>
                  </a:lnTo>
                  <a:lnTo>
                    <a:pt x="282" y="2522"/>
                  </a:lnTo>
                  <a:lnTo>
                    <a:pt x="283" y="2541"/>
                  </a:lnTo>
                  <a:lnTo>
                    <a:pt x="277" y="2556"/>
                  </a:lnTo>
                  <a:lnTo>
                    <a:pt x="282" y="2577"/>
                  </a:lnTo>
                  <a:lnTo>
                    <a:pt x="288" y="2603"/>
                  </a:lnTo>
                  <a:lnTo>
                    <a:pt x="283" y="2638"/>
                  </a:lnTo>
                  <a:lnTo>
                    <a:pt x="276" y="2648"/>
                  </a:lnTo>
                  <a:lnTo>
                    <a:pt x="273" y="2669"/>
                  </a:lnTo>
                  <a:lnTo>
                    <a:pt x="263" y="2681"/>
                  </a:lnTo>
                  <a:lnTo>
                    <a:pt x="264" y="2721"/>
                  </a:lnTo>
                  <a:lnTo>
                    <a:pt x="276" y="2721"/>
                  </a:lnTo>
                  <a:lnTo>
                    <a:pt x="279" y="2735"/>
                  </a:lnTo>
                  <a:lnTo>
                    <a:pt x="277" y="2773"/>
                  </a:lnTo>
                  <a:lnTo>
                    <a:pt x="274" y="2796"/>
                  </a:lnTo>
                  <a:lnTo>
                    <a:pt x="293" y="2797"/>
                  </a:lnTo>
                  <a:lnTo>
                    <a:pt x="310" y="2801"/>
                  </a:lnTo>
                  <a:lnTo>
                    <a:pt x="325" y="2789"/>
                  </a:lnTo>
                  <a:lnTo>
                    <a:pt x="334" y="2788"/>
                  </a:lnTo>
                  <a:lnTo>
                    <a:pt x="347" y="2792"/>
                  </a:lnTo>
                  <a:lnTo>
                    <a:pt x="359" y="2823"/>
                  </a:lnTo>
                  <a:lnTo>
                    <a:pt x="373" y="2834"/>
                  </a:lnTo>
                  <a:lnTo>
                    <a:pt x="379" y="2841"/>
                  </a:lnTo>
                  <a:lnTo>
                    <a:pt x="394" y="2845"/>
                  </a:lnTo>
                  <a:lnTo>
                    <a:pt x="414" y="2822"/>
                  </a:lnTo>
                  <a:lnTo>
                    <a:pt x="444" y="2812"/>
                  </a:lnTo>
                  <a:lnTo>
                    <a:pt x="463" y="2816"/>
                  </a:lnTo>
                  <a:lnTo>
                    <a:pt x="482" y="2823"/>
                  </a:lnTo>
                  <a:lnTo>
                    <a:pt x="504" y="2807"/>
                  </a:lnTo>
                  <a:lnTo>
                    <a:pt x="509" y="2793"/>
                  </a:lnTo>
                  <a:lnTo>
                    <a:pt x="523" y="2786"/>
                  </a:lnTo>
                  <a:lnTo>
                    <a:pt x="534" y="2772"/>
                  </a:lnTo>
                  <a:lnTo>
                    <a:pt x="554" y="2760"/>
                  </a:lnTo>
                  <a:lnTo>
                    <a:pt x="559" y="2735"/>
                  </a:lnTo>
                  <a:lnTo>
                    <a:pt x="577" y="2711"/>
                  </a:lnTo>
                  <a:lnTo>
                    <a:pt x="573" y="2672"/>
                  </a:lnTo>
                  <a:lnTo>
                    <a:pt x="575" y="2633"/>
                  </a:lnTo>
                  <a:lnTo>
                    <a:pt x="592" y="2612"/>
                  </a:lnTo>
                  <a:lnTo>
                    <a:pt x="594" y="2599"/>
                  </a:lnTo>
                  <a:lnTo>
                    <a:pt x="613" y="2579"/>
                  </a:lnTo>
                  <a:lnTo>
                    <a:pt x="632" y="2577"/>
                  </a:lnTo>
                  <a:lnTo>
                    <a:pt x="662" y="2562"/>
                  </a:lnTo>
                  <a:lnTo>
                    <a:pt x="674" y="2530"/>
                  </a:lnTo>
                  <a:lnTo>
                    <a:pt x="670" y="2507"/>
                  </a:lnTo>
                  <a:lnTo>
                    <a:pt x="679" y="2473"/>
                  </a:lnTo>
                  <a:lnTo>
                    <a:pt x="703" y="2457"/>
                  </a:lnTo>
                  <a:lnTo>
                    <a:pt x="729" y="2471"/>
                  </a:lnTo>
                  <a:lnTo>
                    <a:pt x="748" y="2468"/>
                  </a:lnTo>
                  <a:lnTo>
                    <a:pt x="764" y="2475"/>
                  </a:lnTo>
                  <a:lnTo>
                    <a:pt x="783" y="2468"/>
                  </a:lnTo>
                  <a:lnTo>
                    <a:pt x="800" y="2457"/>
                  </a:lnTo>
                  <a:lnTo>
                    <a:pt x="815" y="2452"/>
                  </a:lnTo>
                  <a:lnTo>
                    <a:pt x="832" y="2438"/>
                  </a:lnTo>
                  <a:lnTo>
                    <a:pt x="855" y="2412"/>
                  </a:lnTo>
                  <a:lnTo>
                    <a:pt x="887" y="2405"/>
                  </a:lnTo>
                  <a:lnTo>
                    <a:pt x="899" y="2412"/>
                  </a:lnTo>
                  <a:lnTo>
                    <a:pt x="921" y="2449"/>
                  </a:lnTo>
                  <a:lnTo>
                    <a:pt x="923" y="2487"/>
                  </a:lnTo>
                  <a:lnTo>
                    <a:pt x="944" y="2504"/>
                  </a:lnTo>
                  <a:lnTo>
                    <a:pt x="951" y="2525"/>
                  </a:lnTo>
                  <a:lnTo>
                    <a:pt x="968" y="2541"/>
                  </a:lnTo>
                  <a:lnTo>
                    <a:pt x="981" y="2543"/>
                  </a:lnTo>
                  <a:lnTo>
                    <a:pt x="987" y="2560"/>
                  </a:lnTo>
                  <a:lnTo>
                    <a:pt x="1017" y="2580"/>
                  </a:lnTo>
                  <a:lnTo>
                    <a:pt x="1028" y="2583"/>
                  </a:lnTo>
                  <a:lnTo>
                    <a:pt x="1040" y="2599"/>
                  </a:lnTo>
                  <a:lnTo>
                    <a:pt x="1049" y="2599"/>
                  </a:lnTo>
                  <a:lnTo>
                    <a:pt x="1055" y="2608"/>
                  </a:lnTo>
                  <a:lnTo>
                    <a:pt x="1070" y="2614"/>
                  </a:lnTo>
                  <a:lnTo>
                    <a:pt x="1073" y="2631"/>
                  </a:lnTo>
                  <a:lnTo>
                    <a:pt x="1086" y="2641"/>
                  </a:lnTo>
                  <a:lnTo>
                    <a:pt x="1096" y="2641"/>
                  </a:lnTo>
                  <a:lnTo>
                    <a:pt x="1107" y="2656"/>
                  </a:lnTo>
                  <a:lnTo>
                    <a:pt x="1107" y="2674"/>
                  </a:lnTo>
                  <a:lnTo>
                    <a:pt x="1113" y="2699"/>
                  </a:lnTo>
                  <a:lnTo>
                    <a:pt x="1098" y="2721"/>
                  </a:lnTo>
                  <a:lnTo>
                    <a:pt x="1094" y="2738"/>
                  </a:lnTo>
                  <a:lnTo>
                    <a:pt x="1102" y="2749"/>
                  </a:lnTo>
                  <a:lnTo>
                    <a:pt x="1126" y="2728"/>
                  </a:lnTo>
                  <a:lnTo>
                    <a:pt x="1132" y="2706"/>
                  </a:lnTo>
                  <a:lnTo>
                    <a:pt x="1146" y="2696"/>
                  </a:lnTo>
                  <a:lnTo>
                    <a:pt x="1145" y="2677"/>
                  </a:lnTo>
                  <a:lnTo>
                    <a:pt x="1127" y="2656"/>
                  </a:lnTo>
                  <a:lnTo>
                    <a:pt x="1133" y="2626"/>
                  </a:lnTo>
                  <a:lnTo>
                    <a:pt x="1152" y="2622"/>
                  </a:lnTo>
                  <a:lnTo>
                    <a:pt x="1165" y="2630"/>
                  </a:lnTo>
                  <a:lnTo>
                    <a:pt x="1186" y="2646"/>
                  </a:lnTo>
                  <a:lnTo>
                    <a:pt x="1193" y="2641"/>
                  </a:lnTo>
                  <a:lnTo>
                    <a:pt x="1189" y="2623"/>
                  </a:lnTo>
                  <a:lnTo>
                    <a:pt x="1167" y="2601"/>
                  </a:lnTo>
                  <a:lnTo>
                    <a:pt x="1147" y="2594"/>
                  </a:lnTo>
                  <a:lnTo>
                    <a:pt x="1146" y="2579"/>
                  </a:lnTo>
                  <a:lnTo>
                    <a:pt x="1121" y="2575"/>
                  </a:lnTo>
                  <a:lnTo>
                    <a:pt x="1111" y="2565"/>
                  </a:lnTo>
                  <a:lnTo>
                    <a:pt x="1103" y="2541"/>
                  </a:lnTo>
                  <a:lnTo>
                    <a:pt x="1073" y="2536"/>
                  </a:lnTo>
                  <a:lnTo>
                    <a:pt x="1041" y="2514"/>
                  </a:lnTo>
                  <a:lnTo>
                    <a:pt x="1025" y="2468"/>
                  </a:lnTo>
                  <a:lnTo>
                    <a:pt x="1011" y="2442"/>
                  </a:lnTo>
                  <a:lnTo>
                    <a:pt x="977" y="2414"/>
                  </a:lnTo>
                  <a:lnTo>
                    <a:pt x="980" y="2373"/>
                  </a:lnTo>
                  <a:lnTo>
                    <a:pt x="977" y="2365"/>
                  </a:lnTo>
                  <a:lnTo>
                    <a:pt x="990" y="2349"/>
                  </a:lnTo>
                  <a:lnTo>
                    <a:pt x="1025" y="2341"/>
                  </a:lnTo>
                  <a:lnTo>
                    <a:pt x="1025" y="2360"/>
                  </a:lnTo>
                  <a:lnTo>
                    <a:pt x="1038" y="2388"/>
                  </a:lnTo>
                  <a:lnTo>
                    <a:pt x="1043" y="2373"/>
                  </a:lnTo>
                  <a:lnTo>
                    <a:pt x="1055" y="2364"/>
                  </a:lnTo>
                  <a:lnTo>
                    <a:pt x="1065" y="2388"/>
                  </a:lnTo>
                  <a:lnTo>
                    <a:pt x="1077" y="2402"/>
                  </a:lnTo>
                  <a:lnTo>
                    <a:pt x="1079" y="2422"/>
                  </a:lnTo>
                  <a:lnTo>
                    <a:pt x="1097" y="2444"/>
                  </a:lnTo>
                  <a:lnTo>
                    <a:pt x="1122" y="2463"/>
                  </a:lnTo>
                  <a:lnTo>
                    <a:pt x="1152" y="2481"/>
                  </a:lnTo>
                  <a:lnTo>
                    <a:pt x="1161" y="2502"/>
                  </a:lnTo>
                  <a:lnTo>
                    <a:pt x="1182" y="2511"/>
                  </a:lnTo>
                  <a:lnTo>
                    <a:pt x="1210" y="2530"/>
                  </a:lnTo>
                  <a:lnTo>
                    <a:pt x="1223" y="2549"/>
                  </a:lnTo>
                  <a:lnTo>
                    <a:pt x="1224" y="2568"/>
                  </a:lnTo>
                  <a:lnTo>
                    <a:pt x="1219" y="2592"/>
                  </a:lnTo>
                  <a:lnTo>
                    <a:pt x="1224" y="2626"/>
                  </a:lnTo>
                  <a:lnTo>
                    <a:pt x="1245" y="2656"/>
                  </a:lnTo>
                  <a:lnTo>
                    <a:pt x="1249" y="2672"/>
                  </a:lnTo>
                  <a:lnTo>
                    <a:pt x="1262" y="2687"/>
                  </a:lnTo>
                  <a:lnTo>
                    <a:pt x="1268" y="2710"/>
                  </a:lnTo>
                  <a:lnTo>
                    <a:pt x="1285" y="2726"/>
                  </a:lnTo>
                  <a:lnTo>
                    <a:pt x="1303" y="2721"/>
                  </a:lnTo>
                  <a:lnTo>
                    <a:pt x="1331" y="2723"/>
                  </a:lnTo>
                  <a:lnTo>
                    <a:pt x="1337" y="2735"/>
                  </a:lnTo>
                  <a:lnTo>
                    <a:pt x="1306" y="2734"/>
                  </a:lnTo>
                  <a:lnTo>
                    <a:pt x="1285" y="2739"/>
                  </a:lnTo>
                  <a:lnTo>
                    <a:pt x="1285" y="2754"/>
                  </a:lnTo>
                  <a:lnTo>
                    <a:pt x="1297" y="2769"/>
                  </a:lnTo>
                  <a:lnTo>
                    <a:pt x="1292" y="2789"/>
                  </a:lnTo>
                  <a:lnTo>
                    <a:pt x="1297" y="2797"/>
                  </a:lnTo>
                  <a:lnTo>
                    <a:pt x="1312" y="2800"/>
                  </a:lnTo>
                  <a:lnTo>
                    <a:pt x="1320" y="2811"/>
                  </a:lnTo>
                  <a:lnTo>
                    <a:pt x="1332" y="2811"/>
                  </a:lnTo>
                  <a:lnTo>
                    <a:pt x="1345" y="2815"/>
                  </a:lnTo>
                  <a:lnTo>
                    <a:pt x="1344" y="2787"/>
                  </a:lnTo>
                  <a:lnTo>
                    <a:pt x="1334" y="2776"/>
                  </a:lnTo>
                  <a:lnTo>
                    <a:pt x="1337" y="2769"/>
                  </a:lnTo>
                  <a:lnTo>
                    <a:pt x="1351" y="2773"/>
                  </a:lnTo>
                  <a:lnTo>
                    <a:pt x="1355" y="2750"/>
                  </a:lnTo>
                  <a:lnTo>
                    <a:pt x="1374" y="2749"/>
                  </a:lnTo>
                  <a:lnTo>
                    <a:pt x="1374" y="2732"/>
                  </a:lnTo>
                  <a:lnTo>
                    <a:pt x="1358" y="2714"/>
                  </a:lnTo>
                  <a:lnTo>
                    <a:pt x="1336" y="2704"/>
                  </a:lnTo>
                  <a:lnTo>
                    <a:pt x="1340" y="2669"/>
                  </a:lnTo>
                  <a:lnTo>
                    <a:pt x="1320" y="2637"/>
                  </a:lnTo>
                  <a:lnTo>
                    <a:pt x="1321" y="2618"/>
                  </a:lnTo>
                  <a:lnTo>
                    <a:pt x="1332" y="2612"/>
                  </a:lnTo>
                  <a:lnTo>
                    <a:pt x="1340" y="2618"/>
                  </a:lnTo>
                  <a:lnTo>
                    <a:pt x="1342" y="2630"/>
                  </a:lnTo>
                  <a:lnTo>
                    <a:pt x="1353" y="2645"/>
                  </a:lnTo>
                  <a:lnTo>
                    <a:pt x="1358" y="2642"/>
                  </a:lnTo>
                  <a:lnTo>
                    <a:pt x="1355" y="2630"/>
                  </a:lnTo>
                  <a:lnTo>
                    <a:pt x="1361" y="2627"/>
                  </a:lnTo>
                  <a:lnTo>
                    <a:pt x="1364" y="2642"/>
                  </a:lnTo>
                  <a:lnTo>
                    <a:pt x="1369" y="2642"/>
                  </a:lnTo>
                  <a:lnTo>
                    <a:pt x="1368" y="2631"/>
                  </a:lnTo>
                  <a:lnTo>
                    <a:pt x="1376" y="2635"/>
                  </a:lnTo>
                  <a:lnTo>
                    <a:pt x="1380" y="2627"/>
                  </a:lnTo>
                  <a:lnTo>
                    <a:pt x="1366" y="2618"/>
                  </a:lnTo>
                  <a:lnTo>
                    <a:pt x="1366" y="2601"/>
                  </a:lnTo>
                  <a:lnTo>
                    <a:pt x="1383" y="2598"/>
                  </a:lnTo>
                  <a:lnTo>
                    <a:pt x="1397" y="2594"/>
                  </a:lnTo>
                  <a:lnTo>
                    <a:pt x="1405" y="2598"/>
                  </a:lnTo>
                  <a:lnTo>
                    <a:pt x="1422" y="2592"/>
                  </a:lnTo>
                  <a:lnTo>
                    <a:pt x="1439" y="2601"/>
                  </a:lnTo>
                  <a:lnTo>
                    <a:pt x="1448" y="2604"/>
                  </a:lnTo>
                  <a:lnTo>
                    <a:pt x="1441" y="2616"/>
                  </a:lnTo>
                  <a:lnTo>
                    <a:pt x="1442" y="2626"/>
                  </a:lnTo>
                  <a:lnTo>
                    <a:pt x="1458" y="2604"/>
                  </a:lnTo>
                  <a:lnTo>
                    <a:pt x="1484" y="2599"/>
                  </a:lnTo>
                  <a:lnTo>
                    <a:pt x="1489" y="2587"/>
                  </a:lnTo>
                  <a:lnTo>
                    <a:pt x="1509" y="2590"/>
                  </a:lnTo>
                  <a:lnTo>
                    <a:pt x="1528" y="2590"/>
                  </a:lnTo>
                  <a:lnTo>
                    <a:pt x="1530" y="2575"/>
                  </a:lnTo>
                  <a:lnTo>
                    <a:pt x="1491" y="2533"/>
                  </a:lnTo>
                  <a:lnTo>
                    <a:pt x="1500" y="2514"/>
                  </a:lnTo>
                  <a:lnTo>
                    <a:pt x="1501" y="2471"/>
                  </a:lnTo>
                  <a:lnTo>
                    <a:pt x="1515" y="2459"/>
                  </a:lnTo>
                  <a:lnTo>
                    <a:pt x="1518" y="2437"/>
                  </a:lnTo>
                  <a:lnTo>
                    <a:pt x="1525" y="2399"/>
                  </a:lnTo>
                  <a:lnTo>
                    <a:pt x="1557" y="2360"/>
                  </a:lnTo>
                  <a:lnTo>
                    <a:pt x="1552" y="2344"/>
                  </a:lnTo>
                  <a:lnTo>
                    <a:pt x="1578" y="2313"/>
                  </a:lnTo>
                  <a:lnTo>
                    <a:pt x="1578" y="2295"/>
                  </a:lnTo>
                  <a:lnTo>
                    <a:pt x="1598" y="2292"/>
                  </a:lnTo>
                  <a:lnTo>
                    <a:pt x="1609" y="2279"/>
                  </a:lnTo>
                  <a:lnTo>
                    <a:pt x="1618" y="2282"/>
                  </a:lnTo>
                  <a:lnTo>
                    <a:pt x="1628" y="2298"/>
                  </a:lnTo>
                  <a:lnTo>
                    <a:pt x="1645" y="2302"/>
                  </a:lnTo>
                  <a:lnTo>
                    <a:pt x="1666" y="2303"/>
                  </a:lnTo>
                  <a:lnTo>
                    <a:pt x="1682" y="2311"/>
                  </a:lnTo>
                  <a:lnTo>
                    <a:pt x="1682" y="2321"/>
                  </a:lnTo>
                  <a:lnTo>
                    <a:pt x="1661" y="2336"/>
                  </a:lnTo>
                  <a:lnTo>
                    <a:pt x="1654" y="2337"/>
                  </a:lnTo>
                  <a:lnTo>
                    <a:pt x="1654" y="2349"/>
                  </a:lnTo>
                  <a:lnTo>
                    <a:pt x="1677" y="2357"/>
                  </a:lnTo>
                  <a:lnTo>
                    <a:pt x="1676" y="2379"/>
                  </a:lnTo>
                  <a:lnTo>
                    <a:pt x="1682" y="2398"/>
                  </a:lnTo>
                  <a:lnTo>
                    <a:pt x="1705" y="2398"/>
                  </a:lnTo>
                  <a:lnTo>
                    <a:pt x="1728" y="2376"/>
                  </a:lnTo>
                  <a:lnTo>
                    <a:pt x="1748" y="2368"/>
                  </a:lnTo>
                  <a:lnTo>
                    <a:pt x="1769" y="2365"/>
                  </a:lnTo>
                  <a:lnTo>
                    <a:pt x="1769" y="2351"/>
                  </a:lnTo>
                  <a:lnTo>
                    <a:pt x="1758" y="2349"/>
                  </a:lnTo>
                  <a:lnTo>
                    <a:pt x="1728" y="2345"/>
                  </a:lnTo>
                  <a:lnTo>
                    <a:pt x="1719" y="2330"/>
                  </a:lnTo>
                  <a:lnTo>
                    <a:pt x="1695" y="2318"/>
                  </a:lnTo>
                  <a:lnTo>
                    <a:pt x="1691" y="2310"/>
                  </a:lnTo>
                  <a:lnTo>
                    <a:pt x="1728" y="2303"/>
                  </a:lnTo>
                  <a:lnTo>
                    <a:pt x="1735" y="2295"/>
                  </a:lnTo>
                  <a:lnTo>
                    <a:pt x="1737" y="2282"/>
                  </a:lnTo>
                  <a:lnTo>
                    <a:pt x="1778" y="2279"/>
                  </a:lnTo>
                  <a:lnTo>
                    <a:pt x="1792" y="2263"/>
                  </a:lnTo>
                  <a:lnTo>
                    <a:pt x="1815" y="2264"/>
                  </a:lnTo>
                  <a:lnTo>
                    <a:pt x="1847" y="2252"/>
                  </a:lnTo>
                  <a:lnTo>
                    <a:pt x="1853" y="2259"/>
                  </a:lnTo>
                  <a:lnTo>
                    <a:pt x="1821" y="2278"/>
                  </a:lnTo>
                  <a:lnTo>
                    <a:pt x="1832" y="2302"/>
                  </a:lnTo>
                  <a:lnTo>
                    <a:pt x="1829" y="2313"/>
                  </a:lnTo>
                  <a:lnTo>
                    <a:pt x="1811" y="2334"/>
                  </a:lnTo>
                  <a:lnTo>
                    <a:pt x="1810" y="2344"/>
                  </a:lnTo>
                  <a:lnTo>
                    <a:pt x="1788" y="2345"/>
                  </a:lnTo>
                  <a:lnTo>
                    <a:pt x="1792" y="2357"/>
                  </a:lnTo>
                  <a:lnTo>
                    <a:pt x="1798" y="2371"/>
                  </a:lnTo>
                  <a:lnTo>
                    <a:pt x="1811" y="2379"/>
                  </a:lnTo>
                  <a:lnTo>
                    <a:pt x="1822" y="2394"/>
                  </a:lnTo>
                  <a:lnTo>
                    <a:pt x="1839" y="2394"/>
                  </a:lnTo>
                  <a:lnTo>
                    <a:pt x="1869" y="2434"/>
                  </a:lnTo>
                  <a:lnTo>
                    <a:pt x="1887" y="2449"/>
                  </a:lnTo>
                  <a:lnTo>
                    <a:pt x="1912" y="2476"/>
                  </a:lnTo>
                  <a:lnTo>
                    <a:pt x="1929" y="2480"/>
                  </a:lnTo>
                  <a:lnTo>
                    <a:pt x="1938" y="2492"/>
                  </a:lnTo>
                  <a:lnTo>
                    <a:pt x="1942" y="2510"/>
                  </a:lnTo>
                  <a:lnTo>
                    <a:pt x="1951" y="2530"/>
                  </a:lnTo>
                  <a:lnTo>
                    <a:pt x="1950" y="2544"/>
                  </a:lnTo>
                  <a:lnTo>
                    <a:pt x="1947" y="2562"/>
                  </a:lnTo>
                  <a:lnTo>
                    <a:pt x="1907" y="2584"/>
                  </a:lnTo>
                  <a:lnTo>
                    <a:pt x="1883" y="2587"/>
                  </a:lnTo>
                  <a:lnTo>
                    <a:pt x="1858" y="2579"/>
                  </a:lnTo>
                  <a:lnTo>
                    <a:pt x="1836" y="2588"/>
                  </a:lnTo>
                  <a:lnTo>
                    <a:pt x="1806" y="2575"/>
                  </a:lnTo>
                  <a:lnTo>
                    <a:pt x="1792" y="2577"/>
                  </a:lnTo>
                  <a:lnTo>
                    <a:pt x="1763" y="2549"/>
                  </a:lnTo>
                  <a:lnTo>
                    <a:pt x="1738" y="2553"/>
                  </a:lnTo>
                  <a:lnTo>
                    <a:pt x="1724" y="2530"/>
                  </a:lnTo>
                  <a:lnTo>
                    <a:pt x="1708" y="2536"/>
                  </a:lnTo>
                  <a:lnTo>
                    <a:pt x="1671" y="2533"/>
                  </a:lnTo>
                  <a:lnTo>
                    <a:pt x="1628" y="2550"/>
                  </a:lnTo>
                  <a:lnTo>
                    <a:pt x="1598" y="2573"/>
                  </a:lnTo>
                  <a:lnTo>
                    <a:pt x="1584" y="2568"/>
                  </a:lnTo>
                  <a:lnTo>
                    <a:pt x="1552" y="2568"/>
                  </a:lnTo>
                  <a:lnTo>
                    <a:pt x="1539" y="2572"/>
                  </a:lnTo>
                  <a:lnTo>
                    <a:pt x="1538" y="2588"/>
                  </a:lnTo>
                  <a:lnTo>
                    <a:pt x="1555" y="2596"/>
                  </a:lnTo>
                  <a:lnTo>
                    <a:pt x="1552" y="2604"/>
                  </a:lnTo>
                  <a:lnTo>
                    <a:pt x="1533" y="2614"/>
                  </a:lnTo>
                  <a:lnTo>
                    <a:pt x="1512" y="2608"/>
                  </a:lnTo>
                  <a:lnTo>
                    <a:pt x="1494" y="2616"/>
                  </a:lnTo>
                  <a:lnTo>
                    <a:pt x="1473" y="2616"/>
                  </a:lnTo>
                  <a:lnTo>
                    <a:pt x="1458" y="2630"/>
                  </a:lnTo>
                  <a:lnTo>
                    <a:pt x="1446" y="2653"/>
                  </a:lnTo>
                  <a:lnTo>
                    <a:pt x="1448" y="2662"/>
                  </a:lnTo>
                  <a:lnTo>
                    <a:pt x="1465" y="2662"/>
                  </a:lnTo>
                  <a:lnTo>
                    <a:pt x="1460" y="2674"/>
                  </a:lnTo>
                  <a:lnTo>
                    <a:pt x="1463" y="2695"/>
                  </a:lnTo>
                  <a:lnTo>
                    <a:pt x="1465" y="2706"/>
                  </a:lnTo>
                  <a:lnTo>
                    <a:pt x="1461" y="2715"/>
                  </a:lnTo>
                  <a:lnTo>
                    <a:pt x="1446" y="2714"/>
                  </a:lnTo>
                  <a:lnTo>
                    <a:pt x="1443" y="2723"/>
                  </a:lnTo>
                  <a:lnTo>
                    <a:pt x="1453" y="2734"/>
                  </a:lnTo>
                  <a:lnTo>
                    <a:pt x="1466" y="2732"/>
                  </a:lnTo>
                  <a:lnTo>
                    <a:pt x="1473" y="2745"/>
                  </a:lnTo>
                  <a:lnTo>
                    <a:pt x="1473" y="2769"/>
                  </a:lnTo>
                  <a:lnTo>
                    <a:pt x="1487" y="2776"/>
                  </a:lnTo>
                  <a:lnTo>
                    <a:pt x="1482" y="2783"/>
                  </a:lnTo>
                  <a:lnTo>
                    <a:pt x="1471" y="2788"/>
                  </a:lnTo>
                  <a:lnTo>
                    <a:pt x="1470" y="2801"/>
                  </a:lnTo>
                  <a:lnTo>
                    <a:pt x="1478" y="2797"/>
                  </a:lnTo>
                  <a:lnTo>
                    <a:pt x="1491" y="2788"/>
                  </a:lnTo>
                  <a:lnTo>
                    <a:pt x="1500" y="2797"/>
                  </a:lnTo>
                  <a:lnTo>
                    <a:pt x="1497" y="2812"/>
                  </a:lnTo>
                  <a:lnTo>
                    <a:pt x="1487" y="2827"/>
                  </a:lnTo>
                  <a:lnTo>
                    <a:pt x="1489" y="2837"/>
                  </a:lnTo>
                  <a:lnTo>
                    <a:pt x="1504" y="2830"/>
                  </a:lnTo>
                  <a:lnTo>
                    <a:pt x="1510" y="2816"/>
                  </a:lnTo>
                  <a:lnTo>
                    <a:pt x="1521" y="2803"/>
                  </a:lnTo>
                  <a:lnTo>
                    <a:pt x="1531" y="2807"/>
                  </a:lnTo>
                  <a:lnTo>
                    <a:pt x="1540" y="2826"/>
                  </a:lnTo>
                  <a:lnTo>
                    <a:pt x="1567" y="2815"/>
                  </a:lnTo>
                  <a:lnTo>
                    <a:pt x="1584" y="2812"/>
                  </a:lnTo>
                  <a:lnTo>
                    <a:pt x="1582" y="2800"/>
                  </a:lnTo>
                  <a:lnTo>
                    <a:pt x="1598" y="2788"/>
                  </a:lnTo>
                  <a:lnTo>
                    <a:pt x="1609" y="2797"/>
                  </a:lnTo>
                  <a:lnTo>
                    <a:pt x="1645" y="2827"/>
                  </a:lnTo>
                  <a:lnTo>
                    <a:pt x="1664" y="2830"/>
                  </a:lnTo>
                  <a:lnTo>
                    <a:pt x="1690" y="2822"/>
                  </a:lnTo>
                  <a:lnTo>
                    <a:pt x="1701" y="2815"/>
                  </a:lnTo>
                  <a:lnTo>
                    <a:pt x="1715" y="2808"/>
                  </a:lnTo>
                  <a:lnTo>
                    <a:pt x="1725" y="2801"/>
                  </a:lnTo>
                  <a:lnTo>
                    <a:pt x="1761" y="2801"/>
                  </a:lnTo>
                  <a:lnTo>
                    <a:pt x="1761" y="2818"/>
                  </a:lnTo>
                  <a:lnTo>
                    <a:pt x="1761" y="2837"/>
                  </a:lnTo>
                  <a:lnTo>
                    <a:pt x="1757" y="2851"/>
                  </a:lnTo>
                  <a:lnTo>
                    <a:pt x="1752" y="2928"/>
                  </a:lnTo>
                  <a:lnTo>
                    <a:pt x="1745" y="2946"/>
                  </a:lnTo>
                  <a:lnTo>
                    <a:pt x="1744" y="2956"/>
                  </a:lnTo>
                  <a:lnTo>
                    <a:pt x="1739" y="2973"/>
                  </a:lnTo>
                  <a:lnTo>
                    <a:pt x="1735" y="2990"/>
                  </a:lnTo>
                  <a:lnTo>
                    <a:pt x="1725" y="3011"/>
                  </a:lnTo>
                  <a:lnTo>
                    <a:pt x="1722" y="3026"/>
                  </a:lnTo>
                  <a:lnTo>
                    <a:pt x="1711" y="3049"/>
                  </a:lnTo>
                  <a:lnTo>
                    <a:pt x="1701" y="3063"/>
                  </a:lnTo>
                  <a:lnTo>
                    <a:pt x="1665" y="3070"/>
                  </a:lnTo>
                  <a:lnTo>
                    <a:pt x="1648" y="3067"/>
                  </a:lnTo>
                  <a:lnTo>
                    <a:pt x="1641" y="3069"/>
                  </a:lnTo>
                  <a:lnTo>
                    <a:pt x="1640" y="3072"/>
                  </a:lnTo>
                  <a:lnTo>
                    <a:pt x="1638" y="3070"/>
                  </a:lnTo>
                  <a:lnTo>
                    <a:pt x="1630" y="3073"/>
                  </a:lnTo>
                  <a:lnTo>
                    <a:pt x="1607" y="3054"/>
                  </a:lnTo>
                  <a:lnTo>
                    <a:pt x="1587" y="3051"/>
                  </a:lnTo>
                  <a:lnTo>
                    <a:pt x="1574" y="3063"/>
                  </a:lnTo>
                  <a:lnTo>
                    <a:pt x="1564" y="3065"/>
                  </a:lnTo>
                  <a:lnTo>
                    <a:pt x="1550" y="3078"/>
                  </a:lnTo>
                  <a:lnTo>
                    <a:pt x="1528" y="3080"/>
                  </a:lnTo>
                  <a:lnTo>
                    <a:pt x="1490" y="3067"/>
                  </a:lnTo>
                  <a:lnTo>
                    <a:pt x="1455" y="3058"/>
                  </a:lnTo>
                  <a:lnTo>
                    <a:pt x="1428" y="3055"/>
                  </a:lnTo>
                  <a:lnTo>
                    <a:pt x="1413" y="3063"/>
                  </a:lnTo>
                  <a:lnTo>
                    <a:pt x="1399" y="3040"/>
                  </a:lnTo>
                  <a:lnTo>
                    <a:pt x="1374" y="3031"/>
                  </a:lnTo>
                  <a:lnTo>
                    <a:pt x="1349" y="3019"/>
                  </a:lnTo>
                  <a:lnTo>
                    <a:pt x="1345" y="2997"/>
                  </a:lnTo>
                  <a:lnTo>
                    <a:pt x="1312" y="2990"/>
                  </a:lnTo>
                  <a:lnTo>
                    <a:pt x="1283" y="2996"/>
                  </a:lnTo>
                  <a:lnTo>
                    <a:pt x="1240" y="3024"/>
                  </a:lnTo>
                  <a:lnTo>
                    <a:pt x="1238" y="3055"/>
                  </a:lnTo>
                  <a:lnTo>
                    <a:pt x="1250" y="3077"/>
                  </a:lnTo>
                  <a:lnTo>
                    <a:pt x="1238" y="3097"/>
                  </a:lnTo>
                  <a:lnTo>
                    <a:pt x="1213" y="3113"/>
                  </a:lnTo>
                  <a:lnTo>
                    <a:pt x="1152" y="3074"/>
                  </a:lnTo>
                  <a:lnTo>
                    <a:pt x="1098" y="3063"/>
                  </a:lnTo>
                  <a:lnTo>
                    <a:pt x="1077" y="3010"/>
                  </a:lnTo>
                  <a:lnTo>
                    <a:pt x="1059" y="3007"/>
                  </a:lnTo>
                  <a:lnTo>
                    <a:pt x="1038" y="2999"/>
                  </a:lnTo>
                  <a:lnTo>
                    <a:pt x="990" y="2999"/>
                  </a:lnTo>
                  <a:lnTo>
                    <a:pt x="953" y="2978"/>
                  </a:lnTo>
                  <a:lnTo>
                    <a:pt x="928" y="2965"/>
                  </a:lnTo>
                  <a:lnTo>
                    <a:pt x="914" y="2951"/>
                  </a:lnTo>
                  <a:lnTo>
                    <a:pt x="909" y="2925"/>
                  </a:lnTo>
                  <a:lnTo>
                    <a:pt x="938" y="2898"/>
                  </a:lnTo>
                  <a:lnTo>
                    <a:pt x="938" y="2870"/>
                  </a:lnTo>
                  <a:lnTo>
                    <a:pt x="923" y="2845"/>
                  </a:lnTo>
                  <a:lnTo>
                    <a:pt x="923" y="2825"/>
                  </a:lnTo>
                  <a:lnTo>
                    <a:pt x="937" y="2808"/>
                  </a:lnTo>
                  <a:lnTo>
                    <a:pt x="929" y="2797"/>
                  </a:lnTo>
                  <a:lnTo>
                    <a:pt x="914" y="2797"/>
                  </a:lnTo>
                  <a:lnTo>
                    <a:pt x="903" y="2786"/>
                  </a:lnTo>
                  <a:lnTo>
                    <a:pt x="879" y="2789"/>
                  </a:lnTo>
                  <a:lnTo>
                    <a:pt x="866" y="2803"/>
                  </a:lnTo>
                  <a:lnTo>
                    <a:pt x="841" y="2807"/>
                  </a:lnTo>
                  <a:lnTo>
                    <a:pt x="817" y="2797"/>
                  </a:lnTo>
                  <a:lnTo>
                    <a:pt x="778" y="2805"/>
                  </a:lnTo>
                  <a:lnTo>
                    <a:pt x="754" y="2808"/>
                  </a:lnTo>
                  <a:lnTo>
                    <a:pt x="733" y="2808"/>
                  </a:lnTo>
                  <a:lnTo>
                    <a:pt x="716" y="2805"/>
                  </a:lnTo>
                  <a:lnTo>
                    <a:pt x="679" y="2808"/>
                  </a:lnTo>
                  <a:lnTo>
                    <a:pt x="662" y="2818"/>
                  </a:lnTo>
                  <a:lnTo>
                    <a:pt x="628" y="2820"/>
                  </a:lnTo>
                  <a:lnTo>
                    <a:pt x="606" y="2830"/>
                  </a:lnTo>
                  <a:lnTo>
                    <a:pt x="588" y="2841"/>
                  </a:lnTo>
                  <a:lnTo>
                    <a:pt x="564" y="2865"/>
                  </a:lnTo>
                  <a:lnTo>
                    <a:pt x="551" y="2870"/>
                  </a:lnTo>
                  <a:lnTo>
                    <a:pt x="529" y="2884"/>
                  </a:lnTo>
                  <a:lnTo>
                    <a:pt x="516" y="2899"/>
                  </a:lnTo>
                  <a:lnTo>
                    <a:pt x="494" y="2895"/>
                  </a:lnTo>
                  <a:lnTo>
                    <a:pt x="482" y="2889"/>
                  </a:lnTo>
                  <a:lnTo>
                    <a:pt x="448" y="2891"/>
                  </a:lnTo>
                  <a:lnTo>
                    <a:pt x="424" y="2888"/>
                  </a:lnTo>
                  <a:lnTo>
                    <a:pt x="415" y="2880"/>
                  </a:lnTo>
                  <a:lnTo>
                    <a:pt x="403" y="2874"/>
                  </a:lnTo>
                  <a:lnTo>
                    <a:pt x="402" y="2865"/>
                  </a:lnTo>
                  <a:lnTo>
                    <a:pt x="390" y="2857"/>
                  </a:lnTo>
                  <a:lnTo>
                    <a:pt x="374" y="2870"/>
                  </a:lnTo>
                  <a:lnTo>
                    <a:pt x="374" y="2891"/>
                  </a:lnTo>
                  <a:lnTo>
                    <a:pt x="349" y="2924"/>
                  </a:lnTo>
                  <a:lnTo>
                    <a:pt x="347" y="2946"/>
                  </a:lnTo>
                  <a:lnTo>
                    <a:pt x="327" y="2961"/>
                  </a:lnTo>
                  <a:lnTo>
                    <a:pt x="305" y="2970"/>
                  </a:lnTo>
                  <a:lnTo>
                    <a:pt x="268" y="3001"/>
                  </a:lnTo>
                  <a:lnTo>
                    <a:pt x="263" y="3012"/>
                  </a:lnTo>
                  <a:lnTo>
                    <a:pt x="258" y="3036"/>
                  </a:lnTo>
                  <a:lnTo>
                    <a:pt x="249" y="3067"/>
                  </a:lnTo>
                  <a:lnTo>
                    <a:pt x="250" y="3124"/>
                  </a:lnTo>
                  <a:lnTo>
                    <a:pt x="238" y="3152"/>
                  </a:lnTo>
                  <a:lnTo>
                    <a:pt x="216" y="3180"/>
                  </a:lnTo>
                  <a:lnTo>
                    <a:pt x="199" y="3192"/>
                  </a:lnTo>
                  <a:lnTo>
                    <a:pt x="181" y="3210"/>
                  </a:lnTo>
                  <a:lnTo>
                    <a:pt x="174" y="3215"/>
                  </a:lnTo>
                  <a:lnTo>
                    <a:pt x="156" y="3218"/>
                  </a:lnTo>
                  <a:lnTo>
                    <a:pt x="137" y="3228"/>
                  </a:lnTo>
                  <a:lnTo>
                    <a:pt x="113" y="3273"/>
                  </a:lnTo>
                  <a:lnTo>
                    <a:pt x="107" y="3286"/>
                  </a:lnTo>
                  <a:lnTo>
                    <a:pt x="98" y="3289"/>
                  </a:lnTo>
                  <a:lnTo>
                    <a:pt x="80" y="3315"/>
                  </a:lnTo>
                  <a:lnTo>
                    <a:pt x="70" y="3350"/>
                  </a:lnTo>
                  <a:lnTo>
                    <a:pt x="48" y="3385"/>
                  </a:lnTo>
                  <a:lnTo>
                    <a:pt x="21" y="3439"/>
                  </a:lnTo>
                  <a:lnTo>
                    <a:pt x="0" y="3496"/>
                  </a:lnTo>
                  <a:lnTo>
                    <a:pt x="6" y="3514"/>
                  </a:lnTo>
                  <a:lnTo>
                    <a:pt x="14" y="3522"/>
                  </a:lnTo>
                  <a:lnTo>
                    <a:pt x="25" y="3550"/>
                  </a:lnTo>
                  <a:lnTo>
                    <a:pt x="23" y="3578"/>
                  </a:lnTo>
                  <a:lnTo>
                    <a:pt x="38" y="3634"/>
                  </a:lnTo>
                  <a:lnTo>
                    <a:pt x="38" y="3646"/>
                  </a:lnTo>
                  <a:lnTo>
                    <a:pt x="28" y="3685"/>
                  </a:lnTo>
                  <a:lnTo>
                    <a:pt x="16" y="3735"/>
                  </a:lnTo>
                  <a:lnTo>
                    <a:pt x="4" y="3760"/>
                  </a:lnTo>
                  <a:lnTo>
                    <a:pt x="9" y="3788"/>
                  </a:lnTo>
                  <a:lnTo>
                    <a:pt x="16" y="3805"/>
                  </a:lnTo>
                  <a:lnTo>
                    <a:pt x="20" y="3813"/>
                  </a:lnTo>
                  <a:lnTo>
                    <a:pt x="16" y="3833"/>
                  </a:lnTo>
                  <a:lnTo>
                    <a:pt x="11" y="3852"/>
                  </a:lnTo>
                  <a:lnTo>
                    <a:pt x="23" y="3870"/>
                  </a:lnTo>
                  <a:lnTo>
                    <a:pt x="35" y="3875"/>
                  </a:lnTo>
                  <a:lnTo>
                    <a:pt x="57" y="3889"/>
                  </a:lnTo>
                  <a:lnTo>
                    <a:pt x="65" y="3909"/>
                  </a:lnTo>
                  <a:lnTo>
                    <a:pt x="73" y="3920"/>
                  </a:lnTo>
                  <a:lnTo>
                    <a:pt x="123" y="3985"/>
                  </a:lnTo>
                  <a:lnTo>
                    <a:pt x="137" y="4019"/>
                  </a:lnTo>
                  <a:lnTo>
                    <a:pt x="147" y="4058"/>
                  </a:lnTo>
                  <a:lnTo>
                    <a:pt x="198" y="4080"/>
                  </a:lnTo>
                  <a:lnTo>
                    <a:pt x="230" y="4117"/>
                  </a:lnTo>
                  <a:lnTo>
                    <a:pt x="268" y="4158"/>
                  </a:lnTo>
                  <a:lnTo>
                    <a:pt x="313" y="4179"/>
                  </a:lnTo>
                  <a:lnTo>
                    <a:pt x="352" y="4172"/>
                  </a:lnTo>
                  <a:lnTo>
                    <a:pt x="398" y="4158"/>
                  </a:lnTo>
                  <a:lnTo>
                    <a:pt x="438" y="4151"/>
                  </a:lnTo>
                  <a:lnTo>
                    <a:pt x="486" y="4151"/>
                  </a:lnTo>
                  <a:lnTo>
                    <a:pt x="502" y="4158"/>
                  </a:lnTo>
                  <a:lnTo>
                    <a:pt x="574" y="4128"/>
                  </a:lnTo>
                  <a:lnTo>
                    <a:pt x="596" y="4119"/>
                  </a:lnTo>
                  <a:lnTo>
                    <a:pt x="631" y="4105"/>
                  </a:lnTo>
                  <a:lnTo>
                    <a:pt x="672" y="4099"/>
                  </a:lnTo>
                  <a:lnTo>
                    <a:pt x="710" y="4099"/>
                  </a:lnTo>
                  <a:lnTo>
                    <a:pt x="753" y="4142"/>
                  </a:lnTo>
                  <a:lnTo>
                    <a:pt x="763" y="4167"/>
                  </a:lnTo>
                  <a:lnTo>
                    <a:pt x="782" y="4172"/>
                  </a:lnTo>
                  <a:lnTo>
                    <a:pt x="854" y="4176"/>
                  </a:lnTo>
                  <a:lnTo>
                    <a:pt x="880" y="4197"/>
                  </a:lnTo>
                  <a:lnTo>
                    <a:pt x="899" y="4226"/>
                  </a:lnTo>
                  <a:lnTo>
                    <a:pt x="899" y="4263"/>
                  </a:lnTo>
                  <a:lnTo>
                    <a:pt x="892" y="4297"/>
                  </a:lnTo>
                  <a:lnTo>
                    <a:pt x="888" y="4318"/>
                  </a:lnTo>
                  <a:lnTo>
                    <a:pt x="890" y="4341"/>
                  </a:lnTo>
                  <a:lnTo>
                    <a:pt x="874" y="4389"/>
                  </a:lnTo>
                  <a:lnTo>
                    <a:pt x="895" y="4434"/>
                  </a:lnTo>
                  <a:lnTo>
                    <a:pt x="921" y="4464"/>
                  </a:lnTo>
                  <a:lnTo>
                    <a:pt x="957" y="4529"/>
                  </a:lnTo>
                  <a:lnTo>
                    <a:pt x="965" y="4554"/>
                  </a:lnTo>
                  <a:lnTo>
                    <a:pt x="980" y="4573"/>
                  </a:lnTo>
                  <a:lnTo>
                    <a:pt x="995" y="4590"/>
                  </a:lnTo>
                  <a:lnTo>
                    <a:pt x="992" y="4610"/>
                  </a:lnTo>
                  <a:lnTo>
                    <a:pt x="1005" y="4641"/>
                  </a:lnTo>
                  <a:lnTo>
                    <a:pt x="1016" y="4663"/>
                  </a:lnTo>
                  <a:lnTo>
                    <a:pt x="1016" y="4736"/>
                  </a:lnTo>
                  <a:lnTo>
                    <a:pt x="1026" y="4770"/>
                  </a:lnTo>
                  <a:lnTo>
                    <a:pt x="1035" y="4809"/>
                  </a:lnTo>
                  <a:lnTo>
                    <a:pt x="1016" y="4855"/>
                  </a:lnTo>
                  <a:lnTo>
                    <a:pt x="997" y="4869"/>
                  </a:lnTo>
                  <a:lnTo>
                    <a:pt x="968" y="4967"/>
                  </a:lnTo>
                  <a:lnTo>
                    <a:pt x="965" y="5003"/>
                  </a:lnTo>
                  <a:lnTo>
                    <a:pt x="966" y="5040"/>
                  </a:lnTo>
                  <a:lnTo>
                    <a:pt x="973" y="5088"/>
                  </a:lnTo>
                  <a:lnTo>
                    <a:pt x="989" y="5113"/>
                  </a:lnTo>
                  <a:lnTo>
                    <a:pt x="990" y="5129"/>
                  </a:lnTo>
                  <a:lnTo>
                    <a:pt x="1040" y="5236"/>
                  </a:lnTo>
                  <a:lnTo>
                    <a:pt x="1045" y="5264"/>
                  </a:lnTo>
                  <a:lnTo>
                    <a:pt x="1057" y="5342"/>
                  </a:lnTo>
                  <a:lnTo>
                    <a:pt x="1069" y="5393"/>
                  </a:lnTo>
                  <a:lnTo>
                    <a:pt x="1086" y="5452"/>
                  </a:lnTo>
                  <a:lnTo>
                    <a:pt x="1101" y="5488"/>
                  </a:lnTo>
                  <a:lnTo>
                    <a:pt x="1117" y="5516"/>
                  </a:lnTo>
                  <a:lnTo>
                    <a:pt x="1125" y="5539"/>
                  </a:lnTo>
                  <a:lnTo>
                    <a:pt x="1141" y="5581"/>
                  </a:lnTo>
                  <a:lnTo>
                    <a:pt x="1170" y="5628"/>
                  </a:lnTo>
                  <a:lnTo>
                    <a:pt x="1186" y="5685"/>
                  </a:lnTo>
                  <a:lnTo>
                    <a:pt x="1184" y="5715"/>
                  </a:lnTo>
                  <a:lnTo>
                    <a:pt x="1176" y="5730"/>
                  </a:lnTo>
                  <a:lnTo>
                    <a:pt x="1179" y="5749"/>
                  </a:lnTo>
                  <a:lnTo>
                    <a:pt x="1234" y="5808"/>
                  </a:lnTo>
                  <a:lnTo>
                    <a:pt x="1256" y="5803"/>
                  </a:lnTo>
                  <a:lnTo>
                    <a:pt x="1272" y="5785"/>
                  </a:lnTo>
                  <a:lnTo>
                    <a:pt x="1312" y="5778"/>
                  </a:lnTo>
                  <a:lnTo>
                    <a:pt x="1346" y="5772"/>
                  </a:lnTo>
                  <a:lnTo>
                    <a:pt x="1410" y="5774"/>
                  </a:lnTo>
                  <a:lnTo>
                    <a:pt x="1422" y="5767"/>
                  </a:lnTo>
                  <a:lnTo>
                    <a:pt x="1448" y="5760"/>
                  </a:lnTo>
                  <a:lnTo>
                    <a:pt x="1485" y="5730"/>
                  </a:lnTo>
                  <a:lnTo>
                    <a:pt x="1530" y="5690"/>
                  </a:lnTo>
                  <a:lnTo>
                    <a:pt x="1546" y="5665"/>
                  </a:lnTo>
                  <a:lnTo>
                    <a:pt x="1579" y="5621"/>
                  </a:lnTo>
                  <a:lnTo>
                    <a:pt x="1587" y="5587"/>
                  </a:lnTo>
                  <a:lnTo>
                    <a:pt x="1622" y="5530"/>
                  </a:lnTo>
                  <a:lnTo>
                    <a:pt x="1646" y="5500"/>
                  </a:lnTo>
                  <a:lnTo>
                    <a:pt x="1646" y="5472"/>
                  </a:lnTo>
                  <a:lnTo>
                    <a:pt x="1656" y="5452"/>
                  </a:lnTo>
                  <a:lnTo>
                    <a:pt x="1657" y="5435"/>
                  </a:lnTo>
                  <a:lnTo>
                    <a:pt x="1659" y="5415"/>
                  </a:lnTo>
                  <a:lnTo>
                    <a:pt x="1651" y="5401"/>
                  </a:lnTo>
                  <a:lnTo>
                    <a:pt x="1667" y="5374"/>
                  </a:lnTo>
                  <a:lnTo>
                    <a:pt x="1733" y="5351"/>
                  </a:lnTo>
                  <a:lnTo>
                    <a:pt x="1744" y="5298"/>
                  </a:lnTo>
                  <a:lnTo>
                    <a:pt x="1739" y="5219"/>
                  </a:lnTo>
                  <a:lnTo>
                    <a:pt x="1720" y="5152"/>
                  </a:lnTo>
                  <a:lnTo>
                    <a:pt x="1720" y="5127"/>
                  </a:lnTo>
                  <a:lnTo>
                    <a:pt x="1754" y="5098"/>
                  </a:lnTo>
                  <a:lnTo>
                    <a:pt x="1768" y="5092"/>
                  </a:lnTo>
                  <a:lnTo>
                    <a:pt x="1785" y="5068"/>
                  </a:lnTo>
                  <a:lnTo>
                    <a:pt x="1816" y="5036"/>
                  </a:lnTo>
                  <a:lnTo>
                    <a:pt x="1873" y="5015"/>
                  </a:lnTo>
                  <a:lnTo>
                    <a:pt x="1918" y="4944"/>
                  </a:lnTo>
                  <a:lnTo>
                    <a:pt x="1921" y="4860"/>
                  </a:lnTo>
                  <a:lnTo>
                    <a:pt x="1914" y="4821"/>
                  </a:lnTo>
                  <a:lnTo>
                    <a:pt x="1912" y="4750"/>
                  </a:lnTo>
                  <a:lnTo>
                    <a:pt x="1873" y="4702"/>
                  </a:lnTo>
                  <a:lnTo>
                    <a:pt x="1871" y="4652"/>
                  </a:lnTo>
                  <a:lnTo>
                    <a:pt x="1878" y="4610"/>
                  </a:lnTo>
                  <a:lnTo>
                    <a:pt x="1856" y="4588"/>
                  </a:lnTo>
                  <a:lnTo>
                    <a:pt x="1854" y="4568"/>
                  </a:lnTo>
                  <a:lnTo>
                    <a:pt x="1878" y="4521"/>
                  </a:lnTo>
                  <a:lnTo>
                    <a:pt x="1893" y="4481"/>
                  </a:lnTo>
                  <a:lnTo>
                    <a:pt x="1899" y="4451"/>
                  </a:lnTo>
                  <a:lnTo>
                    <a:pt x="1923" y="4442"/>
                  </a:lnTo>
                  <a:lnTo>
                    <a:pt x="1923" y="4425"/>
                  </a:lnTo>
                  <a:lnTo>
                    <a:pt x="1939" y="4417"/>
                  </a:lnTo>
                  <a:lnTo>
                    <a:pt x="1957" y="4393"/>
                  </a:lnTo>
                  <a:lnTo>
                    <a:pt x="1990" y="4346"/>
                  </a:lnTo>
                  <a:lnTo>
                    <a:pt x="2006" y="4318"/>
                  </a:lnTo>
                  <a:lnTo>
                    <a:pt x="2045" y="4284"/>
                  </a:lnTo>
                  <a:lnTo>
                    <a:pt x="2086" y="4249"/>
                  </a:lnTo>
                  <a:lnTo>
                    <a:pt x="2117" y="4231"/>
                  </a:lnTo>
                  <a:lnTo>
                    <a:pt x="2142" y="4195"/>
                  </a:lnTo>
                  <a:lnTo>
                    <a:pt x="2176" y="4139"/>
                  </a:lnTo>
                  <a:lnTo>
                    <a:pt x="2188" y="4114"/>
                  </a:lnTo>
                  <a:lnTo>
                    <a:pt x="2203" y="4083"/>
                  </a:lnTo>
                  <a:lnTo>
                    <a:pt x="2210" y="4060"/>
                  </a:lnTo>
                  <a:lnTo>
                    <a:pt x="2253" y="3993"/>
                  </a:lnTo>
                  <a:lnTo>
                    <a:pt x="2262" y="3948"/>
                  </a:lnTo>
                  <a:lnTo>
                    <a:pt x="2267" y="3881"/>
                  </a:lnTo>
                  <a:lnTo>
                    <a:pt x="2257" y="3867"/>
                  </a:lnTo>
                  <a:lnTo>
                    <a:pt x="2248" y="3867"/>
                  </a:lnTo>
                  <a:lnTo>
                    <a:pt x="2229" y="3881"/>
                  </a:lnTo>
                  <a:lnTo>
                    <a:pt x="2184" y="3895"/>
                  </a:lnTo>
                  <a:lnTo>
                    <a:pt x="2174" y="3904"/>
                  </a:lnTo>
                  <a:lnTo>
                    <a:pt x="2147" y="3904"/>
                  </a:lnTo>
                  <a:lnTo>
                    <a:pt x="2121" y="3918"/>
                  </a:lnTo>
                  <a:lnTo>
                    <a:pt x="2074" y="3929"/>
                  </a:lnTo>
                  <a:lnTo>
                    <a:pt x="2057" y="3937"/>
                  </a:lnTo>
                  <a:lnTo>
                    <a:pt x="2035" y="3932"/>
                  </a:lnTo>
                  <a:lnTo>
                    <a:pt x="2009" y="3900"/>
                  </a:lnTo>
                  <a:lnTo>
                    <a:pt x="1987" y="3881"/>
                  </a:lnTo>
                  <a:lnTo>
                    <a:pt x="2014" y="3864"/>
                  </a:lnTo>
                  <a:lnTo>
                    <a:pt x="2006" y="3847"/>
                  </a:lnTo>
                  <a:lnTo>
                    <a:pt x="1997" y="3836"/>
                  </a:lnTo>
                  <a:lnTo>
                    <a:pt x="1985" y="3836"/>
                  </a:lnTo>
                  <a:lnTo>
                    <a:pt x="1942" y="3777"/>
                  </a:lnTo>
                  <a:lnTo>
                    <a:pt x="1899" y="3744"/>
                  </a:lnTo>
                  <a:lnTo>
                    <a:pt x="1883" y="3735"/>
                  </a:lnTo>
                  <a:lnTo>
                    <a:pt x="1861" y="3682"/>
                  </a:lnTo>
                  <a:lnTo>
                    <a:pt x="1849" y="3631"/>
                  </a:lnTo>
                  <a:lnTo>
                    <a:pt x="1800" y="3575"/>
                  </a:lnTo>
                  <a:lnTo>
                    <a:pt x="1800" y="3548"/>
                  </a:lnTo>
                  <a:lnTo>
                    <a:pt x="1797" y="3480"/>
                  </a:lnTo>
                  <a:lnTo>
                    <a:pt x="1782" y="3449"/>
                  </a:lnTo>
                  <a:lnTo>
                    <a:pt x="1747" y="3415"/>
                  </a:lnTo>
                  <a:lnTo>
                    <a:pt x="1739" y="3365"/>
                  </a:lnTo>
                  <a:lnTo>
                    <a:pt x="1715" y="3308"/>
                  </a:lnTo>
                  <a:lnTo>
                    <a:pt x="1699" y="3260"/>
                  </a:lnTo>
                  <a:lnTo>
                    <a:pt x="1680" y="3224"/>
                  </a:lnTo>
                  <a:lnTo>
                    <a:pt x="1675" y="3203"/>
                  </a:lnTo>
                  <a:lnTo>
                    <a:pt x="1646" y="3171"/>
                  </a:lnTo>
                  <a:lnTo>
                    <a:pt x="1642" y="3124"/>
                  </a:lnTo>
                  <a:lnTo>
                    <a:pt x="1646" y="3109"/>
                  </a:lnTo>
                  <a:lnTo>
                    <a:pt x="1647" y="3109"/>
                  </a:lnTo>
                  <a:lnTo>
                    <a:pt x="1656" y="3119"/>
                  </a:lnTo>
                  <a:lnTo>
                    <a:pt x="1659" y="3155"/>
                  </a:lnTo>
                  <a:lnTo>
                    <a:pt x="1675" y="3182"/>
                  </a:lnTo>
                  <a:lnTo>
                    <a:pt x="1696" y="3210"/>
                  </a:lnTo>
                  <a:lnTo>
                    <a:pt x="1711" y="3204"/>
                  </a:lnTo>
                  <a:lnTo>
                    <a:pt x="1711" y="3181"/>
                  </a:lnTo>
                  <a:lnTo>
                    <a:pt x="1720" y="3132"/>
                  </a:lnTo>
                  <a:lnTo>
                    <a:pt x="1725" y="3132"/>
                  </a:lnTo>
                  <a:lnTo>
                    <a:pt x="1725" y="3151"/>
                  </a:lnTo>
                  <a:lnTo>
                    <a:pt x="1725" y="3153"/>
                  </a:lnTo>
                  <a:lnTo>
                    <a:pt x="1724" y="3206"/>
                  </a:lnTo>
                  <a:lnTo>
                    <a:pt x="1743" y="3211"/>
                  </a:lnTo>
                  <a:lnTo>
                    <a:pt x="1745" y="3221"/>
                  </a:lnTo>
                  <a:lnTo>
                    <a:pt x="1767" y="3268"/>
                  </a:lnTo>
                  <a:lnTo>
                    <a:pt x="1773" y="3289"/>
                  </a:lnTo>
                  <a:lnTo>
                    <a:pt x="1796" y="3315"/>
                  </a:lnTo>
                  <a:lnTo>
                    <a:pt x="1797" y="3350"/>
                  </a:lnTo>
                  <a:lnTo>
                    <a:pt x="1815" y="3376"/>
                  </a:lnTo>
                  <a:lnTo>
                    <a:pt x="1832" y="3389"/>
                  </a:lnTo>
                  <a:lnTo>
                    <a:pt x="1849" y="3408"/>
                  </a:lnTo>
                  <a:lnTo>
                    <a:pt x="1864" y="3432"/>
                  </a:lnTo>
                  <a:lnTo>
                    <a:pt x="1864" y="3478"/>
                  </a:lnTo>
                  <a:lnTo>
                    <a:pt x="1876" y="3509"/>
                  </a:lnTo>
                  <a:lnTo>
                    <a:pt x="1895" y="3536"/>
                  </a:lnTo>
                  <a:lnTo>
                    <a:pt x="1918" y="3550"/>
                  </a:lnTo>
                  <a:lnTo>
                    <a:pt x="1923" y="3566"/>
                  </a:lnTo>
                  <a:lnTo>
                    <a:pt x="1939" y="3619"/>
                  </a:lnTo>
                  <a:lnTo>
                    <a:pt x="1960" y="3636"/>
                  </a:lnTo>
                  <a:lnTo>
                    <a:pt x="1981" y="3671"/>
                  </a:lnTo>
                  <a:lnTo>
                    <a:pt x="1981" y="3694"/>
                  </a:lnTo>
                  <a:lnTo>
                    <a:pt x="1986" y="3731"/>
                  </a:lnTo>
                  <a:lnTo>
                    <a:pt x="1985" y="3748"/>
                  </a:lnTo>
                  <a:lnTo>
                    <a:pt x="2002" y="3789"/>
                  </a:lnTo>
                  <a:lnTo>
                    <a:pt x="2004" y="3827"/>
                  </a:lnTo>
                  <a:lnTo>
                    <a:pt x="2020" y="3839"/>
                  </a:lnTo>
                  <a:lnTo>
                    <a:pt x="2026" y="3847"/>
                  </a:lnTo>
                  <a:lnTo>
                    <a:pt x="2072" y="3836"/>
                  </a:lnTo>
                  <a:lnTo>
                    <a:pt x="2084" y="3817"/>
                  </a:lnTo>
                  <a:lnTo>
                    <a:pt x="2111" y="3817"/>
                  </a:lnTo>
                  <a:lnTo>
                    <a:pt x="2126" y="3808"/>
                  </a:lnTo>
                  <a:lnTo>
                    <a:pt x="2188" y="3786"/>
                  </a:lnTo>
                  <a:lnTo>
                    <a:pt x="2193" y="3773"/>
                  </a:lnTo>
                  <a:lnTo>
                    <a:pt x="2210" y="3763"/>
                  </a:lnTo>
                  <a:lnTo>
                    <a:pt x="2222" y="3755"/>
                  </a:lnTo>
                  <a:lnTo>
                    <a:pt x="2251" y="3750"/>
                  </a:lnTo>
                  <a:lnTo>
                    <a:pt x="2269" y="3739"/>
                  </a:lnTo>
                  <a:lnTo>
                    <a:pt x="2296" y="3731"/>
                  </a:lnTo>
                  <a:lnTo>
                    <a:pt x="2308" y="3716"/>
                  </a:lnTo>
                  <a:lnTo>
                    <a:pt x="2308" y="3709"/>
                  </a:lnTo>
                  <a:lnTo>
                    <a:pt x="2329" y="3681"/>
                  </a:lnTo>
                  <a:lnTo>
                    <a:pt x="2356" y="3670"/>
                  </a:lnTo>
                  <a:lnTo>
                    <a:pt x="2407" y="3663"/>
                  </a:lnTo>
                  <a:lnTo>
                    <a:pt x="2414" y="3640"/>
                  </a:lnTo>
                  <a:lnTo>
                    <a:pt x="2441" y="3632"/>
                  </a:lnTo>
                  <a:lnTo>
                    <a:pt x="2456" y="3623"/>
                  </a:lnTo>
                  <a:lnTo>
                    <a:pt x="2456" y="3606"/>
                  </a:lnTo>
                  <a:lnTo>
                    <a:pt x="2486" y="3577"/>
                  </a:lnTo>
                  <a:lnTo>
                    <a:pt x="2490" y="3551"/>
                  </a:lnTo>
                  <a:lnTo>
                    <a:pt x="2506" y="3527"/>
                  </a:lnTo>
                  <a:lnTo>
                    <a:pt x="2520" y="3520"/>
                  </a:lnTo>
                  <a:lnTo>
                    <a:pt x="2550" y="3482"/>
                  </a:lnTo>
                  <a:lnTo>
                    <a:pt x="2567" y="3453"/>
                  </a:lnTo>
                  <a:lnTo>
                    <a:pt x="2559" y="3434"/>
                  </a:lnTo>
                  <a:lnTo>
                    <a:pt x="2544" y="3430"/>
                  </a:lnTo>
                  <a:lnTo>
                    <a:pt x="2523" y="3403"/>
                  </a:lnTo>
                  <a:lnTo>
                    <a:pt x="2516" y="3388"/>
                  </a:lnTo>
                  <a:lnTo>
                    <a:pt x="2490" y="3384"/>
                  </a:lnTo>
                  <a:lnTo>
                    <a:pt x="2462" y="3369"/>
                  </a:lnTo>
                  <a:lnTo>
                    <a:pt x="2452" y="3350"/>
                  </a:lnTo>
                  <a:lnTo>
                    <a:pt x="2446" y="3330"/>
                  </a:lnTo>
                  <a:lnTo>
                    <a:pt x="2447" y="3315"/>
                  </a:lnTo>
                  <a:lnTo>
                    <a:pt x="2451" y="3289"/>
                  </a:lnTo>
                  <a:lnTo>
                    <a:pt x="2443" y="3284"/>
                  </a:lnTo>
                  <a:lnTo>
                    <a:pt x="2437" y="3287"/>
                  </a:lnTo>
                  <a:lnTo>
                    <a:pt x="2427" y="3301"/>
                  </a:lnTo>
                  <a:lnTo>
                    <a:pt x="2410" y="3322"/>
                  </a:lnTo>
                  <a:lnTo>
                    <a:pt x="2378" y="3351"/>
                  </a:lnTo>
                  <a:lnTo>
                    <a:pt x="2361" y="3374"/>
                  </a:lnTo>
                  <a:lnTo>
                    <a:pt x="2331" y="3380"/>
                  </a:lnTo>
                  <a:lnTo>
                    <a:pt x="2316" y="3380"/>
                  </a:lnTo>
                  <a:lnTo>
                    <a:pt x="2295" y="3376"/>
                  </a:lnTo>
                  <a:lnTo>
                    <a:pt x="2282" y="3361"/>
                  </a:lnTo>
                  <a:lnTo>
                    <a:pt x="2288" y="3330"/>
                  </a:lnTo>
                  <a:lnTo>
                    <a:pt x="2283" y="3284"/>
                  </a:lnTo>
                  <a:lnTo>
                    <a:pt x="2268" y="3281"/>
                  </a:lnTo>
                  <a:lnTo>
                    <a:pt x="2262" y="3293"/>
                  </a:lnTo>
                  <a:lnTo>
                    <a:pt x="2268" y="3316"/>
                  </a:lnTo>
                  <a:lnTo>
                    <a:pt x="2259" y="3337"/>
                  </a:lnTo>
                  <a:lnTo>
                    <a:pt x="2232" y="3296"/>
                  </a:lnTo>
                  <a:lnTo>
                    <a:pt x="2234" y="3262"/>
                  </a:lnTo>
                  <a:lnTo>
                    <a:pt x="2223" y="3254"/>
                  </a:lnTo>
                  <a:lnTo>
                    <a:pt x="2204" y="3206"/>
                  </a:lnTo>
                  <a:lnTo>
                    <a:pt x="2186" y="3196"/>
                  </a:lnTo>
                  <a:lnTo>
                    <a:pt x="2184" y="3180"/>
                  </a:lnTo>
                  <a:lnTo>
                    <a:pt x="2169" y="3166"/>
                  </a:lnTo>
                  <a:lnTo>
                    <a:pt x="2156" y="3146"/>
                  </a:lnTo>
                  <a:lnTo>
                    <a:pt x="2156" y="3135"/>
                  </a:lnTo>
                  <a:lnTo>
                    <a:pt x="2167" y="3123"/>
                  </a:lnTo>
                  <a:lnTo>
                    <a:pt x="2179" y="3108"/>
                  </a:lnTo>
                  <a:lnTo>
                    <a:pt x="2196" y="3101"/>
                  </a:lnTo>
                  <a:lnTo>
                    <a:pt x="2238" y="3104"/>
                  </a:lnTo>
                  <a:lnTo>
                    <a:pt x="2240" y="3124"/>
                  </a:lnTo>
                  <a:lnTo>
                    <a:pt x="2262" y="3152"/>
                  </a:lnTo>
                  <a:lnTo>
                    <a:pt x="2271" y="3172"/>
                  </a:lnTo>
                  <a:lnTo>
                    <a:pt x="2274" y="3191"/>
                  </a:lnTo>
                  <a:lnTo>
                    <a:pt x="2298" y="3211"/>
                  </a:lnTo>
                  <a:lnTo>
                    <a:pt x="2312" y="3214"/>
                  </a:lnTo>
                  <a:lnTo>
                    <a:pt x="2335" y="3243"/>
                  </a:lnTo>
                  <a:lnTo>
                    <a:pt x="2350" y="3247"/>
                  </a:lnTo>
                  <a:lnTo>
                    <a:pt x="2360" y="3254"/>
                  </a:lnTo>
                  <a:lnTo>
                    <a:pt x="2427" y="3257"/>
                  </a:lnTo>
                  <a:lnTo>
                    <a:pt x="2446" y="3235"/>
                  </a:lnTo>
                  <a:lnTo>
                    <a:pt x="2456" y="3234"/>
                  </a:lnTo>
                  <a:lnTo>
                    <a:pt x="2468" y="3245"/>
                  </a:lnTo>
                  <a:lnTo>
                    <a:pt x="2475" y="3273"/>
                  </a:lnTo>
                  <a:lnTo>
                    <a:pt x="2476" y="3288"/>
                  </a:lnTo>
                  <a:lnTo>
                    <a:pt x="2492" y="3299"/>
                  </a:lnTo>
                  <a:lnTo>
                    <a:pt x="2524" y="3308"/>
                  </a:lnTo>
                  <a:lnTo>
                    <a:pt x="2544" y="3316"/>
                  </a:lnTo>
                  <a:lnTo>
                    <a:pt x="2568" y="3312"/>
                  </a:lnTo>
                  <a:lnTo>
                    <a:pt x="2589" y="3316"/>
                  </a:lnTo>
                  <a:lnTo>
                    <a:pt x="2609" y="3318"/>
                  </a:lnTo>
                  <a:lnTo>
                    <a:pt x="2620" y="3326"/>
                  </a:lnTo>
                  <a:lnTo>
                    <a:pt x="2630" y="3320"/>
                  </a:lnTo>
                  <a:lnTo>
                    <a:pt x="2635" y="3323"/>
                  </a:lnTo>
                  <a:lnTo>
                    <a:pt x="2650" y="3331"/>
                  </a:lnTo>
                  <a:lnTo>
                    <a:pt x="2698" y="3327"/>
                  </a:lnTo>
                  <a:lnTo>
                    <a:pt x="2711" y="3323"/>
                  </a:lnTo>
                  <a:lnTo>
                    <a:pt x="2756" y="3327"/>
                  </a:lnTo>
                  <a:lnTo>
                    <a:pt x="2771" y="3322"/>
                  </a:lnTo>
                  <a:lnTo>
                    <a:pt x="2797" y="3323"/>
                  </a:lnTo>
                  <a:lnTo>
                    <a:pt x="2803" y="3333"/>
                  </a:lnTo>
                  <a:lnTo>
                    <a:pt x="2808" y="3359"/>
                  </a:lnTo>
                  <a:lnTo>
                    <a:pt x="2821" y="3369"/>
                  </a:lnTo>
                  <a:lnTo>
                    <a:pt x="2825" y="3380"/>
                  </a:lnTo>
                  <a:lnTo>
                    <a:pt x="2842" y="3389"/>
                  </a:lnTo>
                  <a:lnTo>
                    <a:pt x="2849" y="3399"/>
                  </a:lnTo>
                  <a:lnTo>
                    <a:pt x="2858" y="3403"/>
                  </a:lnTo>
                  <a:lnTo>
                    <a:pt x="2859" y="3419"/>
                  </a:lnTo>
                  <a:lnTo>
                    <a:pt x="2869" y="3430"/>
                  </a:lnTo>
                  <a:lnTo>
                    <a:pt x="2893" y="3430"/>
                  </a:lnTo>
                  <a:lnTo>
                    <a:pt x="2917" y="3423"/>
                  </a:lnTo>
                  <a:lnTo>
                    <a:pt x="2904" y="3442"/>
                  </a:lnTo>
                  <a:lnTo>
                    <a:pt x="2888" y="3446"/>
                  </a:lnTo>
                  <a:lnTo>
                    <a:pt x="2874" y="3442"/>
                  </a:lnTo>
                  <a:lnTo>
                    <a:pt x="2875" y="3462"/>
                  </a:lnTo>
                  <a:lnTo>
                    <a:pt x="2909" y="3501"/>
                  </a:lnTo>
                  <a:lnTo>
                    <a:pt x="2931" y="3516"/>
                  </a:lnTo>
                  <a:lnTo>
                    <a:pt x="2966" y="3511"/>
                  </a:lnTo>
                  <a:lnTo>
                    <a:pt x="2976" y="3493"/>
                  </a:lnTo>
                  <a:lnTo>
                    <a:pt x="2976" y="3482"/>
                  </a:lnTo>
                  <a:lnTo>
                    <a:pt x="2982" y="3447"/>
                  </a:lnTo>
                  <a:lnTo>
                    <a:pt x="2995" y="3462"/>
                  </a:lnTo>
                  <a:lnTo>
                    <a:pt x="2994" y="3497"/>
                  </a:lnTo>
                  <a:lnTo>
                    <a:pt x="2997" y="3507"/>
                  </a:lnTo>
                  <a:lnTo>
                    <a:pt x="3000" y="3570"/>
                  </a:lnTo>
                  <a:lnTo>
                    <a:pt x="3007" y="3631"/>
                  </a:lnTo>
                  <a:lnTo>
                    <a:pt x="3025" y="3700"/>
                  </a:lnTo>
                  <a:lnTo>
                    <a:pt x="3038" y="3723"/>
                  </a:lnTo>
                  <a:lnTo>
                    <a:pt x="3060" y="3786"/>
                  </a:lnTo>
                  <a:lnTo>
                    <a:pt x="3064" y="3808"/>
                  </a:lnTo>
                  <a:lnTo>
                    <a:pt x="3070" y="3831"/>
                  </a:lnTo>
                  <a:lnTo>
                    <a:pt x="3074" y="3849"/>
                  </a:lnTo>
                  <a:lnTo>
                    <a:pt x="3093" y="3881"/>
                  </a:lnTo>
                  <a:lnTo>
                    <a:pt x="3106" y="3914"/>
                  </a:lnTo>
                  <a:lnTo>
                    <a:pt x="3118" y="3951"/>
                  </a:lnTo>
                  <a:lnTo>
                    <a:pt x="3130" y="3998"/>
                  </a:lnTo>
                  <a:lnTo>
                    <a:pt x="3145" y="4020"/>
                  </a:lnTo>
                  <a:lnTo>
                    <a:pt x="3166" y="4031"/>
                  </a:lnTo>
                  <a:lnTo>
                    <a:pt x="3185" y="4009"/>
                  </a:lnTo>
                  <a:lnTo>
                    <a:pt x="3191" y="3997"/>
                  </a:lnTo>
                  <a:lnTo>
                    <a:pt x="3201" y="3983"/>
                  </a:lnTo>
                  <a:lnTo>
                    <a:pt x="3219" y="3969"/>
                  </a:lnTo>
                  <a:lnTo>
                    <a:pt x="3220" y="3951"/>
                  </a:lnTo>
                  <a:lnTo>
                    <a:pt x="3232" y="3935"/>
                  </a:lnTo>
                  <a:lnTo>
                    <a:pt x="3243" y="3933"/>
                  </a:lnTo>
                  <a:lnTo>
                    <a:pt x="3239" y="3879"/>
                  </a:lnTo>
                  <a:lnTo>
                    <a:pt x="3251" y="3852"/>
                  </a:lnTo>
                  <a:lnTo>
                    <a:pt x="3254" y="3798"/>
                  </a:lnTo>
                  <a:lnTo>
                    <a:pt x="3252" y="3781"/>
                  </a:lnTo>
                  <a:lnTo>
                    <a:pt x="3251" y="3739"/>
                  </a:lnTo>
                  <a:lnTo>
                    <a:pt x="3261" y="3724"/>
                  </a:lnTo>
                  <a:lnTo>
                    <a:pt x="3276" y="3723"/>
                  </a:lnTo>
                  <a:lnTo>
                    <a:pt x="3297" y="3700"/>
                  </a:lnTo>
                  <a:lnTo>
                    <a:pt x="3312" y="3700"/>
                  </a:lnTo>
                  <a:lnTo>
                    <a:pt x="3326" y="3671"/>
                  </a:lnTo>
                  <a:lnTo>
                    <a:pt x="3351" y="3640"/>
                  </a:lnTo>
                  <a:lnTo>
                    <a:pt x="3371" y="3624"/>
                  </a:lnTo>
                  <a:lnTo>
                    <a:pt x="3379" y="3613"/>
                  </a:lnTo>
                  <a:lnTo>
                    <a:pt x="3400" y="3600"/>
                  </a:lnTo>
                  <a:lnTo>
                    <a:pt x="3405" y="3580"/>
                  </a:lnTo>
                  <a:lnTo>
                    <a:pt x="3426" y="3558"/>
                  </a:lnTo>
                  <a:lnTo>
                    <a:pt x="3453" y="3546"/>
                  </a:lnTo>
                  <a:lnTo>
                    <a:pt x="3476" y="3534"/>
                  </a:lnTo>
                  <a:lnTo>
                    <a:pt x="3484" y="3516"/>
                  </a:lnTo>
                  <a:lnTo>
                    <a:pt x="3476" y="3500"/>
                  </a:lnTo>
                  <a:lnTo>
                    <a:pt x="3490" y="3478"/>
                  </a:lnTo>
                  <a:lnTo>
                    <a:pt x="3545" y="3458"/>
                  </a:lnTo>
                  <a:lnTo>
                    <a:pt x="3552" y="3470"/>
                  </a:lnTo>
                  <a:lnTo>
                    <a:pt x="3572" y="3466"/>
                  </a:lnTo>
                  <a:lnTo>
                    <a:pt x="3604" y="3447"/>
                  </a:lnTo>
                  <a:lnTo>
                    <a:pt x="3602" y="3424"/>
                  </a:lnTo>
                  <a:lnTo>
                    <a:pt x="3606" y="3413"/>
                  </a:lnTo>
                  <a:lnTo>
                    <a:pt x="3618" y="3412"/>
                  </a:lnTo>
                  <a:lnTo>
                    <a:pt x="3643" y="3443"/>
                  </a:lnTo>
                  <a:lnTo>
                    <a:pt x="3645" y="3476"/>
                  </a:lnTo>
                  <a:lnTo>
                    <a:pt x="3654" y="3493"/>
                  </a:lnTo>
                  <a:lnTo>
                    <a:pt x="3661" y="3519"/>
                  </a:lnTo>
                  <a:lnTo>
                    <a:pt x="3695" y="3543"/>
                  </a:lnTo>
                  <a:lnTo>
                    <a:pt x="3703" y="3580"/>
                  </a:lnTo>
                  <a:lnTo>
                    <a:pt x="3723" y="3604"/>
                  </a:lnTo>
                  <a:lnTo>
                    <a:pt x="3723" y="3655"/>
                  </a:lnTo>
                  <a:lnTo>
                    <a:pt x="3732" y="3686"/>
                  </a:lnTo>
                  <a:lnTo>
                    <a:pt x="3728" y="3709"/>
                  </a:lnTo>
                  <a:lnTo>
                    <a:pt x="3747" y="3715"/>
                  </a:lnTo>
                  <a:lnTo>
                    <a:pt x="3786" y="3705"/>
                  </a:lnTo>
                  <a:lnTo>
                    <a:pt x="3802" y="3681"/>
                  </a:lnTo>
                  <a:lnTo>
                    <a:pt x="3819" y="3662"/>
                  </a:lnTo>
                  <a:lnTo>
                    <a:pt x="3829" y="3677"/>
                  </a:lnTo>
                  <a:lnTo>
                    <a:pt x="3841" y="3689"/>
                  </a:lnTo>
                  <a:lnTo>
                    <a:pt x="3846" y="3736"/>
                  </a:lnTo>
                  <a:lnTo>
                    <a:pt x="3850" y="3778"/>
                  </a:lnTo>
                  <a:lnTo>
                    <a:pt x="3869" y="3806"/>
                  </a:lnTo>
                  <a:lnTo>
                    <a:pt x="3874" y="3823"/>
                  </a:lnTo>
                  <a:lnTo>
                    <a:pt x="3874" y="3847"/>
                  </a:lnTo>
                  <a:lnTo>
                    <a:pt x="3873" y="3898"/>
                  </a:lnTo>
                  <a:lnTo>
                    <a:pt x="3869" y="3941"/>
                  </a:lnTo>
                  <a:lnTo>
                    <a:pt x="3871" y="3962"/>
                  </a:lnTo>
                  <a:lnTo>
                    <a:pt x="3866" y="3983"/>
                  </a:lnTo>
                  <a:lnTo>
                    <a:pt x="3868" y="4025"/>
                  </a:lnTo>
                  <a:lnTo>
                    <a:pt x="3883" y="4027"/>
                  </a:lnTo>
                  <a:lnTo>
                    <a:pt x="3902" y="4060"/>
                  </a:lnTo>
                  <a:lnTo>
                    <a:pt x="3926" y="4093"/>
                  </a:lnTo>
                  <a:lnTo>
                    <a:pt x="3932" y="4113"/>
                  </a:lnTo>
                  <a:lnTo>
                    <a:pt x="3932" y="4145"/>
                  </a:lnTo>
                  <a:lnTo>
                    <a:pt x="3952" y="4187"/>
                  </a:lnTo>
                  <a:lnTo>
                    <a:pt x="3957" y="4216"/>
                  </a:lnTo>
                  <a:lnTo>
                    <a:pt x="3973" y="4242"/>
                  </a:lnTo>
                  <a:lnTo>
                    <a:pt x="3992" y="4257"/>
                  </a:lnTo>
                  <a:lnTo>
                    <a:pt x="4000" y="4259"/>
                  </a:lnTo>
                  <a:lnTo>
                    <a:pt x="4024" y="4288"/>
                  </a:lnTo>
                  <a:lnTo>
                    <a:pt x="4047" y="4298"/>
                  </a:lnTo>
                  <a:lnTo>
                    <a:pt x="4067" y="4306"/>
                  </a:lnTo>
                  <a:lnTo>
                    <a:pt x="4060" y="4267"/>
                  </a:lnTo>
                  <a:lnTo>
                    <a:pt x="4047" y="4236"/>
                  </a:lnTo>
                  <a:lnTo>
                    <a:pt x="4034" y="4220"/>
                  </a:lnTo>
                  <a:lnTo>
                    <a:pt x="4030" y="4163"/>
                  </a:lnTo>
                  <a:lnTo>
                    <a:pt x="4007" y="4114"/>
                  </a:lnTo>
                  <a:lnTo>
                    <a:pt x="3994" y="4102"/>
                  </a:lnTo>
                  <a:lnTo>
                    <a:pt x="3971" y="4078"/>
                  </a:lnTo>
                  <a:lnTo>
                    <a:pt x="3951" y="4066"/>
                  </a:lnTo>
                  <a:lnTo>
                    <a:pt x="3929" y="4036"/>
                  </a:lnTo>
                  <a:lnTo>
                    <a:pt x="3917" y="3990"/>
                  </a:lnTo>
                  <a:lnTo>
                    <a:pt x="3902" y="3983"/>
                  </a:lnTo>
                  <a:lnTo>
                    <a:pt x="3892" y="3948"/>
                  </a:lnTo>
                  <a:lnTo>
                    <a:pt x="3902" y="3898"/>
                  </a:lnTo>
                  <a:lnTo>
                    <a:pt x="3922" y="3864"/>
                  </a:lnTo>
                  <a:lnTo>
                    <a:pt x="3923" y="3825"/>
                  </a:lnTo>
                  <a:lnTo>
                    <a:pt x="3939" y="3810"/>
                  </a:lnTo>
                  <a:lnTo>
                    <a:pt x="3953" y="3812"/>
                  </a:lnTo>
                  <a:lnTo>
                    <a:pt x="3963" y="3842"/>
                  </a:lnTo>
                  <a:lnTo>
                    <a:pt x="3990" y="3851"/>
                  </a:lnTo>
                  <a:lnTo>
                    <a:pt x="4006" y="3864"/>
                  </a:lnTo>
                  <a:lnTo>
                    <a:pt x="4018" y="3890"/>
                  </a:lnTo>
                  <a:lnTo>
                    <a:pt x="4026" y="3918"/>
                  </a:lnTo>
                  <a:lnTo>
                    <a:pt x="4049" y="3935"/>
                  </a:lnTo>
                  <a:lnTo>
                    <a:pt x="4072" y="3935"/>
                  </a:lnTo>
                  <a:lnTo>
                    <a:pt x="4083" y="3947"/>
                  </a:lnTo>
                  <a:lnTo>
                    <a:pt x="4079" y="4002"/>
                  </a:lnTo>
                  <a:lnTo>
                    <a:pt x="4089" y="4009"/>
                  </a:lnTo>
                  <a:lnTo>
                    <a:pt x="4121" y="3975"/>
                  </a:lnTo>
                  <a:lnTo>
                    <a:pt x="4137" y="3971"/>
                  </a:lnTo>
                  <a:lnTo>
                    <a:pt x="4151" y="3948"/>
                  </a:lnTo>
                  <a:lnTo>
                    <a:pt x="4159" y="3933"/>
                  </a:lnTo>
                  <a:lnTo>
                    <a:pt x="4191" y="3922"/>
                  </a:lnTo>
                  <a:lnTo>
                    <a:pt x="4224" y="3894"/>
                  </a:lnTo>
                  <a:lnTo>
                    <a:pt x="4228" y="3866"/>
                  </a:lnTo>
                  <a:lnTo>
                    <a:pt x="4234" y="3827"/>
                  </a:lnTo>
                  <a:lnTo>
                    <a:pt x="4228" y="3750"/>
                  </a:lnTo>
                  <a:lnTo>
                    <a:pt x="4200" y="3709"/>
                  </a:lnTo>
                  <a:lnTo>
                    <a:pt x="4180" y="3679"/>
                  </a:lnTo>
                  <a:lnTo>
                    <a:pt x="4164" y="3670"/>
                  </a:lnTo>
                  <a:lnTo>
                    <a:pt x="4131" y="3613"/>
                  </a:lnTo>
                  <a:lnTo>
                    <a:pt x="4116" y="3602"/>
                  </a:lnTo>
                  <a:lnTo>
                    <a:pt x="4113" y="3558"/>
                  </a:lnTo>
                  <a:lnTo>
                    <a:pt x="4126" y="3539"/>
                  </a:lnTo>
                  <a:lnTo>
                    <a:pt x="4137" y="3534"/>
                  </a:lnTo>
                  <a:lnTo>
                    <a:pt x="4159" y="3496"/>
                  </a:lnTo>
                  <a:lnTo>
                    <a:pt x="4185" y="3486"/>
                  </a:lnTo>
                  <a:lnTo>
                    <a:pt x="4198" y="3473"/>
                  </a:lnTo>
                  <a:lnTo>
                    <a:pt x="4228" y="3476"/>
                  </a:lnTo>
                  <a:lnTo>
                    <a:pt x="4246" y="3482"/>
                  </a:lnTo>
                  <a:lnTo>
                    <a:pt x="4243" y="3505"/>
                  </a:lnTo>
                  <a:lnTo>
                    <a:pt x="4249" y="3516"/>
                  </a:lnTo>
                  <a:lnTo>
                    <a:pt x="4261" y="3519"/>
                  </a:lnTo>
                  <a:lnTo>
                    <a:pt x="4264" y="3500"/>
                  </a:lnTo>
                  <a:lnTo>
                    <a:pt x="4286" y="3492"/>
                  </a:lnTo>
                  <a:lnTo>
                    <a:pt x="4296" y="3481"/>
                  </a:lnTo>
                  <a:lnTo>
                    <a:pt x="4308" y="3478"/>
                  </a:lnTo>
                  <a:lnTo>
                    <a:pt x="4321" y="3470"/>
                  </a:lnTo>
                  <a:lnTo>
                    <a:pt x="4339" y="3470"/>
                  </a:lnTo>
                  <a:lnTo>
                    <a:pt x="4361" y="3449"/>
                  </a:lnTo>
                  <a:lnTo>
                    <a:pt x="4369" y="3420"/>
                  </a:lnTo>
                  <a:lnTo>
                    <a:pt x="4382" y="3415"/>
                  </a:lnTo>
                  <a:lnTo>
                    <a:pt x="4392" y="3420"/>
                  </a:lnTo>
                  <a:lnTo>
                    <a:pt x="4392" y="3436"/>
                  </a:lnTo>
                  <a:lnTo>
                    <a:pt x="4405" y="3446"/>
                  </a:lnTo>
                  <a:lnTo>
                    <a:pt x="4431" y="3427"/>
                  </a:lnTo>
                  <a:lnTo>
                    <a:pt x="4448" y="3427"/>
                  </a:lnTo>
                  <a:lnTo>
                    <a:pt x="4465" y="3408"/>
                  </a:lnTo>
                  <a:lnTo>
                    <a:pt x="4484" y="3407"/>
                  </a:lnTo>
                  <a:lnTo>
                    <a:pt x="4490" y="3388"/>
                  </a:lnTo>
                  <a:lnTo>
                    <a:pt x="4525" y="3369"/>
                  </a:lnTo>
                  <a:lnTo>
                    <a:pt x="4526" y="3349"/>
                  </a:lnTo>
                  <a:lnTo>
                    <a:pt x="4544" y="3331"/>
                  </a:lnTo>
                  <a:lnTo>
                    <a:pt x="4557" y="3330"/>
                  </a:lnTo>
                  <a:lnTo>
                    <a:pt x="4563" y="3312"/>
                  </a:lnTo>
                  <a:lnTo>
                    <a:pt x="4582" y="3301"/>
                  </a:lnTo>
                  <a:lnTo>
                    <a:pt x="4584" y="3260"/>
                  </a:lnTo>
                  <a:lnTo>
                    <a:pt x="4598" y="3254"/>
                  </a:lnTo>
                  <a:lnTo>
                    <a:pt x="4598" y="3231"/>
                  </a:lnTo>
                  <a:lnTo>
                    <a:pt x="4621" y="3206"/>
                  </a:lnTo>
                  <a:lnTo>
                    <a:pt x="4622" y="3192"/>
                  </a:lnTo>
                  <a:lnTo>
                    <a:pt x="4637" y="3180"/>
                  </a:lnTo>
                  <a:lnTo>
                    <a:pt x="4642" y="3169"/>
                  </a:lnTo>
                  <a:lnTo>
                    <a:pt x="4641" y="3150"/>
                  </a:lnTo>
                  <a:lnTo>
                    <a:pt x="4655" y="3131"/>
                  </a:lnTo>
                  <a:lnTo>
                    <a:pt x="4652" y="3101"/>
                  </a:lnTo>
                  <a:lnTo>
                    <a:pt x="4641" y="3092"/>
                  </a:lnTo>
                  <a:lnTo>
                    <a:pt x="4625" y="3101"/>
                  </a:lnTo>
                  <a:lnTo>
                    <a:pt x="4618" y="3097"/>
                  </a:lnTo>
                  <a:lnTo>
                    <a:pt x="4621" y="3082"/>
                  </a:lnTo>
                  <a:lnTo>
                    <a:pt x="4640" y="3067"/>
                  </a:lnTo>
                  <a:lnTo>
                    <a:pt x="4654" y="3059"/>
                  </a:lnTo>
                  <a:lnTo>
                    <a:pt x="4649" y="3041"/>
                  </a:lnTo>
                  <a:lnTo>
                    <a:pt x="4636" y="3026"/>
                  </a:lnTo>
                  <a:lnTo>
                    <a:pt x="4652" y="3026"/>
                  </a:lnTo>
                  <a:lnTo>
                    <a:pt x="4652" y="3012"/>
                  </a:lnTo>
                  <a:lnTo>
                    <a:pt x="4640" y="2993"/>
                  </a:lnTo>
                  <a:lnTo>
                    <a:pt x="4623" y="2977"/>
                  </a:lnTo>
                  <a:lnTo>
                    <a:pt x="4622" y="2943"/>
                  </a:lnTo>
                  <a:lnTo>
                    <a:pt x="4611" y="2931"/>
                  </a:lnTo>
                  <a:lnTo>
                    <a:pt x="4607" y="2900"/>
                  </a:lnTo>
                  <a:lnTo>
                    <a:pt x="4586" y="2893"/>
                  </a:lnTo>
                  <a:lnTo>
                    <a:pt x="4564" y="2870"/>
                  </a:lnTo>
                  <a:lnTo>
                    <a:pt x="4569" y="2850"/>
                  </a:lnTo>
                  <a:lnTo>
                    <a:pt x="4588" y="2831"/>
                  </a:lnTo>
                  <a:lnTo>
                    <a:pt x="4588" y="2823"/>
                  </a:lnTo>
                  <a:lnTo>
                    <a:pt x="4603" y="2807"/>
                  </a:lnTo>
                  <a:lnTo>
                    <a:pt x="4610" y="2816"/>
                  </a:lnTo>
                  <a:lnTo>
                    <a:pt x="4622" y="2816"/>
                  </a:lnTo>
                  <a:lnTo>
                    <a:pt x="4640" y="2797"/>
                  </a:lnTo>
                  <a:lnTo>
                    <a:pt x="4641" y="2788"/>
                  </a:lnTo>
                  <a:lnTo>
                    <a:pt x="4655" y="2783"/>
                  </a:lnTo>
                  <a:lnTo>
                    <a:pt x="4672" y="2783"/>
                  </a:lnTo>
                  <a:lnTo>
                    <a:pt x="4679" y="2772"/>
                  </a:lnTo>
                  <a:lnTo>
                    <a:pt x="4675" y="2754"/>
                  </a:lnTo>
                  <a:lnTo>
                    <a:pt x="4631" y="2750"/>
                  </a:lnTo>
                  <a:lnTo>
                    <a:pt x="4621" y="2742"/>
                  </a:lnTo>
                  <a:lnTo>
                    <a:pt x="4610" y="2743"/>
                  </a:lnTo>
                  <a:lnTo>
                    <a:pt x="4574" y="2768"/>
                  </a:lnTo>
                  <a:lnTo>
                    <a:pt x="4555" y="2766"/>
                  </a:lnTo>
                  <a:lnTo>
                    <a:pt x="4557" y="2738"/>
                  </a:lnTo>
                  <a:lnTo>
                    <a:pt x="4531" y="2734"/>
                  </a:lnTo>
                  <a:lnTo>
                    <a:pt x="4514" y="2703"/>
                  </a:lnTo>
                  <a:lnTo>
                    <a:pt x="4524" y="2680"/>
                  </a:lnTo>
                  <a:lnTo>
                    <a:pt x="4547" y="2676"/>
                  </a:lnTo>
                  <a:lnTo>
                    <a:pt x="4557" y="2670"/>
                  </a:lnTo>
                  <a:lnTo>
                    <a:pt x="4557" y="2661"/>
                  </a:lnTo>
                  <a:lnTo>
                    <a:pt x="4569" y="2646"/>
                  </a:lnTo>
                  <a:lnTo>
                    <a:pt x="4574" y="2627"/>
                  </a:lnTo>
                  <a:lnTo>
                    <a:pt x="4599" y="2616"/>
                  </a:lnTo>
                  <a:lnTo>
                    <a:pt x="4628" y="2588"/>
                  </a:lnTo>
                  <a:lnTo>
                    <a:pt x="4657" y="2592"/>
                  </a:lnTo>
                  <a:lnTo>
                    <a:pt x="4659" y="2616"/>
                  </a:lnTo>
                  <a:lnTo>
                    <a:pt x="4633" y="2653"/>
                  </a:lnTo>
                  <a:lnTo>
                    <a:pt x="4649" y="2664"/>
                  </a:lnTo>
                  <a:lnTo>
                    <a:pt x="4647" y="2681"/>
                  </a:lnTo>
                  <a:lnTo>
                    <a:pt x="4671" y="2670"/>
                  </a:lnTo>
                  <a:lnTo>
                    <a:pt x="4708" y="2645"/>
                  </a:lnTo>
                  <a:lnTo>
                    <a:pt x="4733" y="2637"/>
                  </a:lnTo>
                  <a:lnTo>
                    <a:pt x="4744" y="2646"/>
                  </a:lnTo>
                  <a:lnTo>
                    <a:pt x="4756" y="2650"/>
                  </a:lnTo>
                  <a:lnTo>
                    <a:pt x="4769" y="2656"/>
                  </a:lnTo>
                  <a:lnTo>
                    <a:pt x="4768" y="2676"/>
                  </a:lnTo>
                  <a:lnTo>
                    <a:pt x="4773" y="2696"/>
                  </a:lnTo>
                  <a:lnTo>
                    <a:pt x="4751" y="2723"/>
                  </a:lnTo>
                  <a:lnTo>
                    <a:pt x="4763" y="2742"/>
                  </a:lnTo>
                  <a:lnTo>
                    <a:pt x="4780" y="2742"/>
                  </a:lnTo>
                  <a:lnTo>
                    <a:pt x="4798" y="2735"/>
                  </a:lnTo>
                  <a:lnTo>
                    <a:pt x="4815" y="2750"/>
                  </a:lnTo>
                  <a:lnTo>
                    <a:pt x="4812" y="2772"/>
                  </a:lnTo>
                  <a:lnTo>
                    <a:pt x="4803" y="2781"/>
                  </a:lnTo>
                  <a:lnTo>
                    <a:pt x="4809" y="2797"/>
                  </a:lnTo>
                  <a:lnTo>
                    <a:pt x="4812" y="2831"/>
                  </a:lnTo>
                  <a:lnTo>
                    <a:pt x="4810" y="2849"/>
                  </a:lnTo>
                  <a:lnTo>
                    <a:pt x="4809" y="2869"/>
                  </a:lnTo>
                  <a:lnTo>
                    <a:pt x="4800" y="2878"/>
                  </a:lnTo>
                  <a:lnTo>
                    <a:pt x="4812" y="2903"/>
                  </a:lnTo>
                  <a:lnTo>
                    <a:pt x="4826" y="2903"/>
                  </a:lnTo>
                  <a:lnTo>
                    <a:pt x="4835" y="2895"/>
                  </a:lnTo>
                  <a:lnTo>
                    <a:pt x="4858" y="2885"/>
                  </a:lnTo>
                  <a:lnTo>
                    <a:pt x="4871" y="2884"/>
                  </a:lnTo>
                  <a:lnTo>
                    <a:pt x="4883" y="2873"/>
                  </a:lnTo>
                  <a:lnTo>
                    <a:pt x="4895" y="2866"/>
                  </a:lnTo>
                  <a:lnTo>
                    <a:pt x="4902" y="2857"/>
                  </a:lnTo>
                  <a:lnTo>
                    <a:pt x="4907" y="2842"/>
                  </a:lnTo>
                  <a:lnTo>
                    <a:pt x="4912" y="2827"/>
                  </a:lnTo>
                  <a:lnTo>
                    <a:pt x="4902" y="2779"/>
                  </a:lnTo>
                  <a:lnTo>
                    <a:pt x="4902" y="2750"/>
                  </a:lnTo>
                  <a:lnTo>
                    <a:pt x="4884" y="2711"/>
                  </a:lnTo>
                  <a:lnTo>
                    <a:pt x="4878" y="2691"/>
                  </a:lnTo>
                  <a:lnTo>
                    <a:pt x="4856" y="2670"/>
                  </a:lnTo>
                  <a:lnTo>
                    <a:pt x="4843" y="2667"/>
                  </a:lnTo>
                  <a:lnTo>
                    <a:pt x="4843" y="2641"/>
                  </a:lnTo>
                  <a:lnTo>
                    <a:pt x="4849" y="2627"/>
                  </a:lnTo>
                  <a:lnTo>
                    <a:pt x="4871" y="2623"/>
                  </a:lnTo>
                  <a:lnTo>
                    <a:pt x="4900" y="2599"/>
                  </a:lnTo>
                  <a:lnTo>
                    <a:pt x="4924" y="2565"/>
                  </a:lnTo>
                  <a:lnTo>
                    <a:pt x="4923" y="2541"/>
                  </a:lnTo>
                  <a:lnTo>
                    <a:pt x="4932" y="2517"/>
                  </a:lnTo>
                  <a:lnTo>
                    <a:pt x="4955" y="2491"/>
                  </a:lnTo>
                  <a:lnTo>
                    <a:pt x="4979" y="2483"/>
                  </a:lnTo>
                  <a:lnTo>
                    <a:pt x="4984" y="2467"/>
                  </a:lnTo>
                  <a:lnTo>
                    <a:pt x="4994" y="2457"/>
                  </a:lnTo>
                  <a:lnTo>
                    <a:pt x="5010" y="2467"/>
                  </a:lnTo>
                  <a:lnTo>
                    <a:pt x="5015" y="2476"/>
                  </a:lnTo>
                  <a:lnTo>
                    <a:pt x="5035" y="2478"/>
                  </a:lnTo>
                  <a:lnTo>
                    <a:pt x="5047" y="2485"/>
                  </a:lnTo>
                  <a:lnTo>
                    <a:pt x="5063" y="2465"/>
                  </a:lnTo>
                  <a:lnTo>
                    <a:pt x="5099" y="2449"/>
                  </a:lnTo>
                  <a:lnTo>
                    <a:pt x="5135" y="2383"/>
                  </a:lnTo>
                  <a:lnTo>
                    <a:pt x="5162" y="2347"/>
                  </a:lnTo>
                  <a:lnTo>
                    <a:pt x="5193" y="2313"/>
                  </a:lnTo>
                  <a:lnTo>
                    <a:pt x="5198" y="2268"/>
                  </a:lnTo>
                  <a:lnTo>
                    <a:pt x="5215" y="2232"/>
                  </a:lnTo>
                  <a:lnTo>
                    <a:pt x="5248" y="2190"/>
                  </a:lnTo>
                  <a:lnTo>
                    <a:pt x="5258" y="2175"/>
                  </a:lnTo>
                  <a:lnTo>
                    <a:pt x="5276" y="2118"/>
                  </a:lnTo>
                  <a:lnTo>
                    <a:pt x="5276" y="2098"/>
                  </a:lnTo>
                  <a:lnTo>
                    <a:pt x="5281" y="2057"/>
                  </a:lnTo>
                  <a:lnTo>
                    <a:pt x="5276" y="2036"/>
                  </a:lnTo>
                  <a:lnTo>
                    <a:pt x="5281" y="1991"/>
                  </a:lnTo>
                  <a:lnTo>
                    <a:pt x="5307" y="1943"/>
                  </a:lnTo>
                  <a:lnTo>
                    <a:pt x="5307" y="1909"/>
                  </a:lnTo>
                  <a:lnTo>
                    <a:pt x="5288" y="1890"/>
                  </a:lnTo>
                  <a:lnTo>
                    <a:pt x="5287" y="1878"/>
                  </a:lnTo>
                  <a:lnTo>
                    <a:pt x="5301" y="1886"/>
                  </a:lnTo>
                  <a:lnTo>
                    <a:pt x="5302" y="1871"/>
                  </a:lnTo>
                  <a:lnTo>
                    <a:pt x="5290" y="1846"/>
                  </a:lnTo>
                  <a:lnTo>
                    <a:pt x="5275" y="1827"/>
                  </a:lnTo>
                  <a:lnTo>
                    <a:pt x="5263" y="1801"/>
                  </a:lnTo>
                  <a:lnTo>
                    <a:pt x="5223" y="1792"/>
                  </a:lnTo>
                  <a:lnTo>
                    <a:pt x="5215" y="1829"/>
                  </a:lnTo>
                  <a:lnTo>
                    <a:pt x="5201" y="1831"/>
                  </a:lnTo>
                  <a:lnTo>
                    <a:pt x="5185" y="1840"/>
                  </a:lnTo>
                  <a:lnTo>
                    <a:pt x="5181" y="1832"/>
                  </a:lnTo>
                  <a:lnTo>
                    <a:pt x="5188" y="1813"/>
                  </a:lnTo>
                  <a:lnTo>
                    <a:pt x="5180" y="1793"/>
                  </a:lnTo>
                  <a:lnTo>
                    <a:pt x="5166" y="1805"/>
                  </a:lnTo>
                  <a:lnTo>
                    <a:pt x="5155" y="1820"/>
                  </a:lnTo>
                  <a:lnTo>
                    <a:pt x="5154" y="1771"/>
                  </a:lnTo>
                  <a:lnTo>
                    <a:pt x="5127" y="1763"/>
                  </a:lnTo>
                  <a:lnTo>
                    <a:pt x="5115" y="1767"/>
                  </a:lnTo>
                  <a:lnTo>
                    <a:pt x="5098" y="1754"/>
                  </a:lnTo>
                  <a:lnTo>
                    <a:pt x="5101" y="1740"/>
                  </a:lnTo>
                  <a:lnTo>
                    <a:pt x="5123" y="1732"/>
                  </a:lnTo>
                  <a:lnTo>
                    <a:pt x="5142" y="1709"/>
                  </a:lnTo>
                  <a:lnTo>
                    <a:pt x="5171" y="1685"/>
                  </a:lnTo>
                  <a:lnTo>
                    <a:pt x="5180" y="1669"/>
                  </a:lnTo>
                  <a:lnTo>
                    <a:pt x="5205" y="1632"/>
                  </a:lnTo>
                  <a:lnTo>
                    <a:pt x="5208" y="1613"/>
                  </a:lnTo>
                  <a:lnTo>
                    <a:pt x="5246" y="1582"/>
                  </a:lnTo>
                  <a:lnTo>
                    <a:pt x="5276" y="1541"/>
                  </a:lnTo>
                  <a:lnTo>
                    <a:pt x="5282" y="1519"/>
                  </a:lnTo>
                  <a:lnTo>
                    <a:pt x="5319" y="1481"/>
                  </a:lnTo>
                  <a:lnTo>
                    <a:pt x="5325" y="1458"/>
                  </a:lnTo>
                  <a:lnTo>
                    <a:pt x="5354" y="1432"/>
                  </a:lnTo>
                  <a:lnTo>
                    <a:pt x="5384" y="1424"/>
                  </a:lnTo>
                  <a:lnTo>
                    <a:pt x="5411" y="1427"/>
                  </a:lnTo>
                  <a:lnTo>
                    <a:pt x="5428" y="1419"/>
                  </a:lnTo>
                  <a:lnTo>
                    <a:pt x="5462" y="1422"/>
                  </a:lnTo>
                  <a:lnTo>
                    <a:pt x="5452" y="1434"/>
                  </a:lnTo>
                  <a:lnTo>
                    <a:pt x="5460" y="1447"/>
                  </a:lnTo>
                  <a:lnTo>
                    <a:pt x="5476" y="1442"/>
                  </a:lnTo>
                  <a:lnTo>
                    <a:pt x="5490" y="1423"/>
                  </a:lnTo>
                  <a:lnTo>
                    <a:pt x="5504" y="1434"/>
                  </a:lnTo>
                  <a:lnTo>
                    <a:pt x="5540" y="1431"/>
                  </a:lnTo>
                  <a:lnTo>
                    <a:pt x="5553" y="1434"/>
                  </a:lnTo>
                  <a:lnTo>
                    <a:pt x="5570" y="1403"/>
                  </a:lnTo>
                  <a:lnTo>
                    <a:pt x="5594" y="1400"/>
                  </a:lnTo>
                  <a:lnTo>
                    <a:pt x="5613" y="1404"/>
                  </a:lnTo>
                  <a:lnTo>
                    <a:pt x="5652" y="1407"/>
                  </a:lnTo>
                  <a:lnTo>
                    <a:pt x="5661" y="1427"/>
                  </a:lnTo>
                  <a:lnTo>
                    <a:pt x="5647" y="1436"/>
                  </a:lnTo>
                  <a:lnTo>
                    <a:pt x="5640" y="1449"/>
                  </a:lnTo>
                  <a:lnTo>
                    <a:pt x="5651" y="1458"/>
                  </a:lnTo>
                  <a:lnTo>
                    <a:pt x="5669" y="1447"/>
                  </a:lnTo>
                  <a:lnTo>
                    <a:pt x="5689" y="1455"/>
                  </a:lnTo>
                  <a:lnTo>
                    <a:pt x="5713" y="1432"/>
                  </a:lnTo>
                  <a:lnTo>
                    <a:pt x="5728" y="1453"/>
                  </a:lnTo>
                  <a:lnTo>
                    <a:pt x="5741" y="1455"/>
                  </a:lnTo>
                  <a:lnTo>
                    <a:pt x="5743" y="1438"/>
                  </a:lnTo>
                  <a:lnTo>
                    <a:pt x="5768" y="1432"/>
                  </a:lnTo>
                  <a:lnTo>
                    <a:pt x="5768" y="1410"/>
                  </a:lnTo>
                  <a:lnTo>
                    <a:pt x="5754" y="1400"/>
                  </a:lnTo>
                  <a:lnTo>
                    <a:pt x="5738" y="1408"/>
                  </a:lnTo>
                  <a:lnTo>
                    <a:pt x="5737" y="1384"/>
                  </a:lnTo>
                  <a:lnTo>
                    <a:pt x="5749" y="1370"/>
                  </a:lnTo>
                  <a:lnTo>
                    <a:pt x="5762" y="1349"/>
                  </a:lnTo>
                  <a:lnTo>
                    <a:pt x="5788" y="1326"/>
                  </a:lnTo>
                  <a:lnTo>
                    <a:pt x="5788" y="1311"/>
                  </a:lnTo>
                  <a:lnTo>
                    <a:pt x="5821" y="1277"/>
                  </a:lnTo>
                  <a:lnTo>
                    <a:pt x="5816" y="1251"/>
                  </a:lnTo>
                  <a:lnTo>
                    <a:pt x="5840" y="1230"/>
                  </a:lnTo>
                  <a:lnTo>
                    <a:pt x="5882" y="1229"/>
                  </a:lnTo>
                  <a:lnTo>
                    <a:pt x="5897" y="1214"/>
                  </a:lnTo>
                  <a:lnTo>
                    <a:pt x="5916" y="1230"/>
                  </a:lnTo>
                  <a:lnTo>
                    <a:pt x="5922" y="1225"/>
                  </a:lnTo>
                  <a:lnTo>
                    <a:pt x="5929" y="1214"/>
                  </a:lnTo>
                  <a:lnTo>
                    <a:pt x="5942" y="1227"/>
                  </a:lnTo>
                  <a:lnTo>
                    <a:pt x="5940" y="1253"/>
                  </a:lnTo>
                  <a:lnTo>
                    <a:pt x="5922" y="1277"/>
                  </a:lnTo>
                  <a:lnTo>
                    <a:pt x="5929" y="1288"/>
                  </a:lnTo>
                  <a:lnTo>
                    <a:pt x="5937" y="1292"/>
                  </a:lnTo>
                  <a:lnTo>
                    <a:pt x="5940" y="1320"/>
                  </a:lnTo>
                  <a:lnTo>
                    <a:pt x="5953" y="1320"/>
                  </a:lnTo>
                  <a:lnTo>
                    <a:pt x="5963" y="1288"/>
                  </a:lnTo>
                  <a:lnTo>
                    <a:pt x="5996" y="1257"/>
                  </a:lnTo>
                  <a:lnTo>
                    <a:pt x="6002" y="1245"/>
                  </a:lnTo>
                  <a:lnTo>
                    <a:pt x="6031" y="1243"/>
                  </a:lnTo>
                  <a:lnTo>
                    <a:pt x="6036" y="1227"/>
                  </a:lnTo>
                  <a:lnTo>
                    <a:pt x="6028" y="1214"/>
                  </a:lnTo>
                  <a:lnTo>
                    <a:pt x="6045" y="1161"/>
                  </a:lnTo>
                  <a:lnTo>
                    <a:pt x="6078" y="1145"/>
                  </a:lnTo>
                  <a:lnTo>
                    <a:pt x="6098" y="1169"/>
                  </a:lnTo>
                  <a:lnTo>
                    <a:pt x="6076" y="1177"/>
                  </a:lnTo>
                  <a:lnTo>
                    <a:pt x="6068" y="1211"/>
                  </a:lnTo>
                  <a:lnTo>
                    <a:pt x="6062" y="1230"/>
                  </a:lnTo>
                  <a:lnTo>
                    <a:pt x="6057" y="1277"/>
                  </a:lnTo>
                  <a:lnTo>
                    <a:pt x="6052" y="1287"/>
                  </a:lnTo>
                  <a:lnTo>
                    <a:pt x="6050" y="1307"/>
                  </a:lnTo>
                  <a:lnTo>
                    <a:pt x="5996" y="1334"/>
                  </a:lnTo>
                  <a:lnTo>
                    <a:pt x="5989" y="1356"/>
                  </a:lnTo>
                  <a:lnTo>
                    <a:pt x="5957" y="1404"/>
                  </a:lnTo>
                  <a:lnTo>
                    <a:pt x="5940" y="1408"/>
                  </a:lnTo>
                  <a:lnTo>
                    <a:pt x="5936" y="1439"/>
                  </a:lnTo>
                  <a:lnTo>
                    <a:pt x="5899" y="1477"/>
                  </a:lnTo>
                  <a:lnTo>
                    <a:pt x="5898" y="1490"/>
                  </a:lnTo>
                  <a:lnTo>
                    <a:pt x="5877" y="1511"/>
                  </a:lnTo>
                  <a:lnTo>
                    <a:pt x="5864" y="1516"/>
                  </a:lnTo>
                  <a:lnTo>
                    <a:pt x="5853" y="1534"/>
                  </a:lnTo>
                  <a:lnTo>
                    <a:pt x="5825" y="1534"/>
                  </a:lnTo>
                  <a:lnTo>
                    <a:pt x="5819" y="1599"/>
                  </a:lnTo>
                  <a:lnTo>
                    <a:pt x="5814" y="1609"/>
                  </a:lnTo>
                  <a:lnTo>
                    <a:pt x="5790" y="1643"/>
                  </a:lnTo>
                  <a:lnTo>
                    <a:pt x="5785" y="1713"/>
                  </a:lnTo>
                  <a:lnTo>
                    <a:pt x="5790" y="1781"/>
                  </a:lnTo>
                  <a:lnTo>
                    <a:pt x="5791" y="1816"/>
                  </a:lnTo>
                  <a:lnTo>
                    <a:pt x="5798" y="1840"/>
                  </a:lnTo>
                  <a:lnTo>
                    <a:pt x="5812" y="1904"/>
                  </a:lnTo>
                  <a:lnTo>
                    <a:pt x="5815" y="1937"/>
                  </a:lnTo>
                  <a:lnTo>
                    <a:pt x="5814" y="1973"/>
                  </a:lnTo>
                  <a:lnTo>
                    <a:pt x="5821" y="1999"/>
                  </a:lnTo>
                  <a:lnTo>
                    <a:pt x="5815" y="2010"/>
                  </a:lnTo>
                  <a:lnTo>
                    <a:pt x="5829" y="2006"/>
                  </a:lnTo>
                  <a:lnTo>
                    <a:pt x="5883" y="1924"/>
                  </a:lnTo>
                  <a:lnTo>
                    <a:pt x="5887" y="1904"/>
                  </a:lnTo>
                  <a:lnTo>
                    <a:pt x="5893" y="1868"/>
                  </a:lnTo>
                  <a:lnTo>
                    <a:pt x="5913" y="1860"/>
                  </a:lnTo>
                  <a:lnTo>
                    <a:pt x="5933" y="1868"/>
                  </a:lnTo>
                  <a:lnTo>
                    <a:pt x="5940" y="1854"/>
                  </a:lnTo>
                  <a:lnTo>
                    <a:pt x="5931" y="1805"/>
                  </a:lnTo>
                  <a:lnTo>
                    <a:pt x="5974" y="1763"/>
                  </a:lnTo>
                  <a:lnTo>
                    <a:pt x="5980" y="1774"/>
                  </a:lnTo>
                  <a:lnTo>
                    <a:pt x="5995" y="1769"/>
                  </a:lnTo>
                  <a:lnTo>
                    <a:pt x="6004" y="1740"/>
                  </a:lnTo>
                  <a:lnTo>
                    <a:pt x="5994" y="1723"/>
                  </a:lnTo>
                  <a:lnTo>
                    <a:pt x="5989" y="1711"/>
                  </a:lnTo>
                  <a:lnTo>
                    <a:pt x="6002" y="1666"/>
                  </a:lnTo>
                  <a:lnTo>
                    <a:pt x="6025" y="1638"/>
                  </a:lnTo>
                  <a:lnTo>
                    <a:pt x="6025" y="1666"/>
                  </a:lnTo>
                  <a:lnTo>
                    <a:pt x="6043" y="1666"/>
                  </a:lnTo>
                  <a:lnTo>
                    <a:pt x="6050" y="1657"/>
                  </a:lnTo>
                  <a:lnTo>
                    <a:pt x="6040" y="1617"/>
                  </a:lnTo>
                  <a:lnTo>
                    <a:pt x="6025" y="1608"/>
                  </a:lnTo>
                  <a:lnTo>
                    <a:pt x="6024" y="1574"/>
                  </a:lnTo>
                  <a:lnTo>
                    <a:pt x="6045" y="1550"/>
                  </a:lnTo>
                  <a:lnTo>
                    <a:pt x="6043" y="1541"/>
                  </a:lnTo>
                  <a:lnTo>
                    <a:pt x="6020" y="1530"/>
                  </a:lnTo>
                  <a:lnTo>
                    <a:pt x="6015" y="1543"/>
                  </a:lnTo>
                  <a:lnTo>
                    <a:pt x="5997" y="1523"/>
                  </a:lnTo>
                  <a:lnTo>
                    <a:pt x="6008" y="1480"/>
                  </a:lnTo>
                  <a:lnTo>
                    <a:pt x="6020" y="1472"/>
                  </a:lnTo>
                  <a:lnTo>
                    <a:pt x="6038" y="1439"/>
                  </a:lnTo>
                  <a:lnTo>
                    <a:pt x="6044" y="1403"/>
                  </a:lnTo>
                  <a:lnTo>
                    <a:pt x="6068" y="1374"/>
                  </a:lnTo>
                  <a:lnTo>
                    <a:pt x="6084" y="1376"/>
                  </a:lnTo>
                  <a:lnTo>
                    <a:pt x="6097" y="1385"/>
                  </a:lnTo>
                  <a:lnTo>
                    <a:pt x="6110" y="1365"/>
                  </a:lnTo>
                  <a:lnTo>
                    <a:pt x="6123" y="1353"/>
                  </a:lnTo>
                  <a:lnTo>
                    <a:pt x="6141" y="1334"/>
                  </a:lnTo>
                  <a:lnTo>
                    <a:pt x="6145" y="1341"/>
                  </a:lnTo>
                  <a:lnTo>
                    <a:pt x="6131" y="1369"/>
                  </a:lnTo>
                  <a:lnTo>
                    <a:pt x="6133" y="1397"/>
                  </a:lnTo>
                  <a:lnTo>
                    <a:pt x="6151" y="1381"/>
                  </a:lnTo>
                  <a:lnTo>
                    <a:pt x="6165" y="1349"/>
                  </a:lnTo>
                  <a:lnTo>
                    <a:pt x="6224" y="1316"/>
                  </a:lnTo>
                  <a:lnTo>
                    <a:pt x="6254" y="1335"/>
                  </a:lnTo>
                  <a:lnTo>
                    <a:pt x="6262" y="1354"/>
                  </a:lnTo>
                  <a:lnTo>
                    <a:pt x="6266" y="1376"/>
                  </a:lnTo>
                  <a:lnTo>
                    <a:pt x="6281" y="1365"/>
                  </a:lnTo>
                  <a:lnTo>
                    <a:pt x="6286" y="1346"/>
                  </a:lnTo>
                  <a:lnTo>
                    <a:pt x="6309" y="1316"/>
                  </a:lnTo>
                  <a:lnTo>
                    <a:pt x="6341" y="1296"/>
                  </a:lnTo>
                  <a:lnTo>
                    <a:pt x="6351" y="1273"/>
                  </a:lnTo>
                  <a:lnTo>
                    <a:pt x="6369" y="1268"/>
                  </a:lnTo>
                  <a:lnTo>
                    <a:pt x="6388" y="1239"/>
                  </a:lnTo>
                  <a:lnTo>
                    <a:pt x="6407" y="1237"/>
                  </a:lnTo>
                  <a:lnTo>
                    <a:pt x="6431" y="1208"/>
                  </a:lnTo>
                  <a:lnTo>
                    <a:pt x="6474" y="1196"/>
                  </a:lnTo>
                  <a:lnTo>
                    <a:pt x="6486" y="1172"/>
                  </a:lnTo>
                  <a:lnTo>
                    <a:pt x="6524" y="1165"/>
                  </a:lnTo>
                  <a:lnTo>
                    <a:pt x="6544" y="1177"/>
                  </a:lnTo>
                  <a:lnTo>
                    <a:pt x="6576" y="1185"/>
                  </a:lnTo>
                  <a:lnTo>
                    <a:pt x="6577" y="1169"/>
                  </a:lnTo>
                  <a:lnTo>
                    <a:pt x="6587" y="1141"/>
                  </a:lnTo>
                  <a:lnTo>
                    <a:pt x="6577" y="1131"/>
                  </a:lnTo>
                  <a:lnTo>
                    <a:pt x="6574" y="1096"/>
                  </a:lnTo>
                  <a:lnTo>
                    <a:pt x="6560" y="1083"/>
                  </a:lnTo>
                  <a:lnTo>
                    <a:pt x="6560" y="1034"/>
                  </a:lnTo>
                  <a:lnTo>
                    <a:pt x="6548" y="1023"/>
                  </a:lnTo>
                  <a:lnTo>
                    <a:pt x="6550" y="1006"/>
                  </a:lnTo>
                  <a:lnTo>
                    <a:pt x="6539" y="1000"/>
                  </a:lnTo>
                  <a:lnTo>
                    <a:pt x="6534" y="1018"/>
                  </a:lnTo>
                  <a:lnTo>
                    <a:pt x="6515" y="999"/>
                  </a:lnTo>
                  <a:lnTo>
                    <a:pt x="6504" y="989"/>
                  </a:lnTo>
                  <a:lnTo>
                    <a:pt x="6484" y="984"/>
                  </a:lnTo>
                  <a:lnTo>
                    <a:pt x="6474" y="957"/>
                  </a:lnTo>
                  <a:lnTo>
                    <a:pt x="6490" y="960"/>
                  </a:lnTo>
                  <a:lnTo>
                    <a:pt x="6497" y="972"/>
                  </a:lnTo>
                  <a:lnTo>
                    <a:pt x="6504" y="965"/>
                  </a:lnTo>
                  <a:lnTo>
                    <a:pt x="6490" y="950"/>
                  </a:lnTo>
                  <a:lnTo>
                    <a:pt x="6504" y="941"/>
                  </a:lnTo>
                  <a:lnTo>
                    <a:pt x="6520" y="961"/>
                  </a:lnTo>
                  <a:lnTo>
                    <a:pt x="6528" y="980"/>
                  </a:lnTo>
                  <a:lnTo>
                    <a:pt x="6572" y="976"/>
                  </a:lnTo>
                  <a:lnTo>
                    <a:pt x="6587" y="956"/>
                  </a:lnTo>
                  <a:lnTo>
                    <a:pt x="6596" y="948"/>
                  </a:lnTo>
                  <a:lnTo>
                    <a:pt x="6621" y="913"/>
                  </a:lnTo>
                  <a:lnTo>
                    <a:pt x="6615" y="888"/>
                  </a:lnTo>
                  <a:lnTo>
                    <a:pt x="6602" y="848"/>
                  </a:lnTo>
                  <a:lnTo>
                    <a:pt x="6621" y="832"/>
                  </a:lnTo>
                  <a:lnTo>
                    <a:pt x="6630" y="836"/>
                  </a:lnTo>
                  <a:lnTo>
                    <a:pt x="6647" y="826"/>
                  </a:lnTo>
                  <a:lnTo>
                    <a:pt x="6649" y="845"/>
                  </a:lnTo>
                  <a:lnTo>
                    <a:pt x="6645" y="863"/>
                  </a:lnTo>
                  <a:lnTo>
                    <a:pt x="6644" y="892"/>
                  </a:lnTo>
                  <a:lnTo>
                    <a:pt x="6655" y="907"/>
                  </a:lnTo>
                  <a:lnTo>
                    <a:pt x="6679" y="905"/>
                  </a:lnTo>
                  <a:lnTo>
                    <a:pt x="6701" y="902"/>
                  </a:lnTo>
                  <a:lnTo>
                    <a:pt x="6727" y="913"/>
                  </a:lnTo>
                  <a:lnTo>
                    <a:pt x="6733" y="924"/>
                  </a:lnTo>
                  <a:lnTo>
                    <a:pt x="6738" y="971"/>
                  </a:lnTo>
                  <a:lnTo>
                    <a:pt x="6764" y="965"/>
                  </a:lnTo>
                  <a:lnTo>
                    <a:pt x="6782" y="976"/>
                  </a:lnTo>
                  <a:lnTo>
                    <a:pt x="6798" y="1004"/>
                  </a:lnTo>
                  <a:lnTo>
                    <a:pt x="6817" y="1018"/>
                  </a:lnTo>
                  <a:lnTo>
                    <a:pt x="6848" y="1002"/>
                  </a:lnTo>
                  <a:lnTo>
                    <a:pt x="6831" y="986"/>
                  </a:lnTo>
                  <a:close/>
                  <a:moveTo>
                    <a:pt x="3957" y="3478"/>
                  </a:moveTo>
                  <a:lnTo>
                    <a:pt x="3952" y="3466"/>
                  </a:lnTo>
                  <a:lnTo>
                    <a:pt x="3961" y="3486"/>
                  </a:lnTo>
                  <a:lnTo>
                    <a:pt x="3957" y="3478"/>
                  </a:lnTo>
                  <a:close/>
                  <a:moveTo>
                    <a:pt x="626" y="2504"/>
                  </a:moveTo>
                  <a:lnTo>
                    <a:pt x="621" y="2500"/>
                  </a:lnTo>
                  <a:lnTo>
                    <a:pt x="633" y="2507"/>
                  </a:lnTo>
                  <a:lnTo>
                    <a:pt x="626" y="2504"/>
                  </a:lnTo>
                  <a:close/>
                  <a:moveTo>
                    <a:pt x="2370" y="2782"/>
                  </a:moveTo>
                  <a:lnTo>
                    <a:pt x="2359" y="2794"/>
                  </a:lnTo>
                  <a:lnTo>
                    <a:pt x="2342" y="2794"/>
                  </a:lnTo>
                  <a:lnTo>
                    <a:pt x="2327" y="2796"/>
                  </a:lnTo>
                  <a:lnTo>
                    <a:pt x="2327" y="2796"/>
                  </a:lnTo>
                  <a:lnTo>
                    <a:pt x="2308" y="2802"/>
                  </a:lnTo>
                  <a:lnTo>
                    <a:pt x="2290" y="2805"/>
                  </a:lnTo>
                  <a:lnTo>
                    <a:pt x="2269" y="2803"/>
                  </a:lnTo>
                  <a:lnTo>
                    <a:pt x="2269" y="2803"/>
                  </a:lnTo>
                  <a:lnTo>
                    <a:pt x="2254" y="2792"/>
                  </a:lnTo>
                  <a:lnTo>
                    <a:pt x="2240" y="2778"/>
                  </a:lnTo>
                  <a:lnTo>
                    <a:pt x="2234" y="2759"/>
                  </a:lnTo>
                  <a:lnTo>
                    <a:pt x="2234" y="2759"/>
                  </a:lnTo>
                  <a:lnTo>
                    <a:pt x="2217" y="2754"/>
                  </a:lnTo>
                  <a:lnTo>
                    <a:pt x="2200" y="2743"/>
                  </a:lnTo>
                  <a:lnTo>
                    <a:pt x="2190" y="2725"/>
                  </a:lnTo>
                  <a:lnTo>
                    <a:pt x="2190" y="2725"/>
                  </a:lnTo>
                  <a:lnTo>
                    <a:pt x="2189" y="2705"/>
                  </a:lnTo>
                  <a:lnTo>
                    <a:pt x="2188" y="2685"/>
                  </a:lnTo>
                  <a:lnTo>
                    <a:pt x="2194" y="2667"/>
                  </a:lnTo>
                  <a:lnTo>
                    <a:pt x="2194" y="2667"/>
                  </a:lnTo>
                  <a:lnTo>
                    <a:pt x="2205" y="2657"/>
                  </a:lnTo>
                  <a:lnTo>
                    <a:pt x="2222" y="2641"/>
                  </a:lnTo>
                  <a:lnTo>
                    <a:pt x="2232" y="2628"/>
                  </a:lnTo>
                  <a:lnTo>
                    <a:pt x="2232" y="2628"/>
                  </a:lnTo>
                  <a:lnTo>
                    <a:pt x="2232" y="2609"/>
                  </a:lnTo>
                  <a:lnTo>
                    <a:pt x="2227" y="2596"/>
                  </a:lnTo>
                  <a:lnTo>
                    <a:pt x="2214" y="2580"/>
                  </a:lnTo>
                  <a:lnTo>
                    <a:pt x="2214" y="2580"/>
                  </a:lnTo>
                  <a:lnTo>
                    <a:pt x="2209" y="2562"/>
                  </a:lnTo>
                  <a:lnTo>
                    <a:pt x="2195" y="2545"/>
                  </a:lnTo>
                  <a:lnTo>
                    <a:pt x="2179" y="2530"/>
                  </a:lnTo>
                  <a:lnTo>
                    <a:pt x="2179" y="2530"/>
                  </a:lnTo>
                  <a:lnTo>
                    <a:pt x="2175" y="2524"/>
                  </a:lnTo>
                  <a:lnTo>
                    <a:pt x="2171" y="2517"/>
                  </a:lnTo>
                  <a:lnTo>
                    <a:pt x="2169" y="2511"/>
                  </a:lnTo>
                  <a:lnTo>
                    <a:pt x="2169" y="2511"/>
                  </a:lnTo>
                  <a:lnTo>
                    <a:pt x="2154" y="2486"/>
                  </a:lnTo>
                  <a:lnTo>
                    <a:pt x="2149" y="2458"/>
                  </a:lnTo>
                  <a:lnTo>
                    <a:pt x="2146" y="2428"/>
                  </a:lnTo>
                  <a:lnTo>
                    <a:pt x="2146" y="2428"/>
                  </a:lnTo>
                  <a:lnTo>
                    <a:pt x="2135" y="2412"/>
                  </a:lnTo>
                  <a:lnTo>
                    <a:pt x="2125" y="2394"/>
                  </a:lnTo>
                  <a:lnTo>
                    <a:pt x="2122" y="2374"/>
                  </a:lnTo>
                  <a:lnTo>
                    <a:pt x="2122" y="2374"/>
                  </a:lnTo>
                  <a:lnTo>
                    <a:pt x="2125" y="2373"/>
                  </a:lnTo>
                  <a:lnTo>
                    <a:pt x="2130" y="2369"/>
                  </a:lnTo>
                  <a:lnTo>
                    <a:pt x="2132" y="2368"/>
                  </a:lnTo>
                  <a:lnTo>
                    <a:pt x="2132" y="2368"/>
                  </a:lnTo>
                  <a:lnTo>
                    <a:pt x="2136" y="2352"/>
                  </a:lnTo>
                  <a:lnTo>
                    <a:pt x="2142" y="2339"/>
                  </a:lnTo>
                  <a:lnTo>
                    <a:pt x="2149" y="2326"/>
                  </a:lnTo>
                  <a:lnTo>
                    <a:pt x="2149" y="2326"/>
                  </a:lnTo>
                  <a:lnTo>
                    <a:pt x="2166" y="2320"/>
                  </a:lnTo>
                  <a:lnTo>
                    <a:pt x="2181" y="2307"/>
                  </a:lnTo>
                  <a:lnTo>
                    <a:pt x="2195" y="2293"/>
                  </a:lnTo>
                  <a:lnTo>
                    <a:pt x="2195" y="2293"/>
                  </a:lnTo>
                  <a:lnTo>
                    <a:pt x="2199" y="2292"/>
                  </a:lnTo>
                  <a:lnTo>
                    <a:pt x="2201" y="2291"/>
                  </a:lnTo>
                  <a:lnTo>
                    <a:pt x="2205" y="2288"/>
                  </a:lnTo>
                  <a:lnTo>
                    <a:pt x="2205" y="2288"/>
                  </a:lnTo>
                  <a:lnTo>
                    <a:pt x="2219" y="2284"/>
                  </a:lnTo>
                  <a:lnTo>
                    <a:pt x="2233" y="2279"/>
                  </a:lnTo>
                  <a:lnTo>
                    <a:pt x="2248" y="2272"/>
                  </a:lnTo>
                  <a:lnTo>
                    <a:pt x="2248" y="2272"/>
                  </a:lnTo>
                  <a:lnTo>
                    <a:pt x="2257" y="2266"/>
                  </a:lnTo>
                  <a:lnTo>
                    <a:pt x="2267" y="2250"/>
                  </a:lnTo>
                  <a:lnTo>
                    <a:pt x="2300" y="2247"/>
                  </a:lnTo>
                  <a:lnTo>
                    <a:pt x="2300" y="2247"/>
                  </a:lnTo>
                  <a:lnTo>
                    <a:pt x="2313" y="2258"/>
                  </a:lnTo>
                  <a:lnTo>
                    <a:pt x="2330" y="2258"/>
                  </a:lnTo>
                  <a:lnTo>
                    <a:pt x="2340" y="2272"/>
                  </a:lnTo>
                  <a:lnTo>
                    <a:pt x="2340" y="2272"/>
                  </a:lnTo>
                  <a:lnTo>
                    <a:pt x="2342" y="2283"/>
                  </a:lnTo>
                  <a:lnTo>
                    <a:pt x="2339" y="2295"/>
                  </a:lnTo>
                  <a:lnTo>
                    <a:pt x="2337" y="2307"/>
                  </a:lnTo>
                  <a:lnTo>
                    <a:pt x="2337" y="2307"/>
                  </a:lnTo>
                  <a:lnTo>
                    <a:pt x="2337" y="2320"/>
                  </a:lnTo>
                  <a:lnTo>
                    <a:pt x="2337" y="2334"/>
                  </a:lnTo>
                  <a:lnTo>
                    <a:pt x="2331" y="2344"/>
                  </a:lnTo>
                  <a:lnTo>
                    <a:pt x="2331" y="2344"/>
                  </a:lnTo>
                  <a:lnTo>
                    <a:pt x="2312" y="2345"/>
                  </a:lnTo>
                  <a:lnTo>
                    <a:pt x="2293" y="2349"/>
                  </a:lnTo>
                  <a:lnTo>
                    <a:pt x="2276" y="2357"/>
                  </a:lnTo>
                  <a:lnTo>
                    <a:pt x="2276" y="2357"/>
                  </a:lnTo>
                  <a:lnTo>
                    <a:pt x="2274" y="2364"/>
                  </a:lnTo>
                  <a:lnTo>
                    <a:pt x="2273" y="2371"/>
                  </a:lnTo>
                  <a:lnTo>
                    <a:pt x="2274" y="2378"/>
                  </a:lnTo>
                  <a:lnTo>
                    <a:pt x="2274" y="2378"/>
                  </a:lnTo>
                  <a:lnTo>
                    <a:pt x="2277" y="2380"/>
                  </a:lnTo>
                  <a:lnTo>
                    <a:pt x="2278" y="2385"/>
                  </a:lnTo>
                  <a:lnTo>
                    <a:pt x="2277" y="2389"/>
                  </a:lnTo>
                  <a:lnTo>
                    <a:pt x="2277" y="2389"/>
                  </a:lnTo>
                  <a:lnTo>
                    <a:pt x="2267" y="2390"/>
                  </a:lnTo>
                  <a:lnTo>
                    <a:pt x="2258" y="2383"/>
                  </a:lnTo>
                  <a:lnTo>
                    <a:pt x="2247" y="2379"/>
                  </a:lnTo>
                  <a:lnTo>
                    <a:pt x="2247" y="2379"/>
                  </a:lnTo>
                  <a:lnTo>
                    <a:pt x="2249" y="2398"/>
                  </a:lnTo>
                  <a:lnTo>
                    <a:pt x="2261" y="2413"/>
                  </a:lnTo>
                  <a:lnTo>
                    <a:pt x="2272" y="2428"/>
                  </a:lnTo>
                  <a:lnTo>
                    <a:pt x="2272" y="2428"/>
                  </a:lnTo>
                  <a:lnTo>
                    <a:pt x="2276" y="2443"/>
                  </a:lnTo>
                  <a:lnTo>
                    <a:pt x="2279" y="2458"/>
                  </a:lnTo>
                  <a:lnTo>
                    <a:pt x="2288" y="2470"/>
                  </a:lnTo>
                  <a:lnTo>
                    <a:pt x="2288" y="2470"/>
                  </a:lnTo>
                  <a:lnTo>
                    <a:pt x="2301" y="2470"/>
                  </a:lnTo>
                  <a:lnTo>
                    <a:pt x="2311" y="2478"/>
                  </a:lnTo>
                  <a:lnTo>
                    <a:pt x="2324" y="2483"/>
                  </a:lnTo>
                  <a:lnTo>
                    <a:pt x="2324" y="2483"/>
                  </a:lnTo>
                  <a:lnTo>
                    <a:pt x="2325" y="2495"/>
                  </a:lnTo>
                  <a:lnTo>
                    <a:pt x="2324" y="2505"/>
                  </a:lnTo>
                  <a:lnTo>
                    <a:pt x="2322" y="2516"/>
                  </a:lnTo>
                  <a:lnTo>
                    <a:pt x="2322" y="2516"/>
                  </a:lnTo>
                  <a:lnTo>
                    <a:pt x="2321" y="2524"/>
                  </a:lnTo>
                  <a:lnTo>
                    <a:pt x="2322" y="2533"/>
                  </a:lnTo>
                  <a:lnTo>
                    <a:pt x="2324" y="2539"/>
                  </a:lnTo>
                  <a:lnTo>
                    <a:pt x="2324" y="2539"/>
                  </a:lnTo>
                  <a:lnTo>
                    <a:pt x="2327" y="2531"/>
                  </a:lnTo>
                  <a:lnTo>
                    <a:pt x="2331" y="2522"/>
                  </a:lnTo>
                  <a:lnTo>
                    <a:pt x="2339" y="2516"/>
                  </a:lnTo>
                  <a:lnTo>
                    <a:pt x="2339" y="2516"/>
                  </a:lnTo>
                  <a:lnTo>
                    <a:pt x="2349" y="2517"/>
                  </a:lnTo>
                  <a:lnTo>
                    <a:pt x="2358" y="2520"/>
                  </a:lnTo>
                  <a:lnTo>
                    <a:pt x="2366" y="2525"/>
                  </a:lnTo>
                  <a:lnTo>
                    <a:pt x="2366" y="2525"/>
                  </a:lnTo>
                  <a:lnTo>
                    <a:pt x="2371" y="2533"/>
                  </a:lnTo>
                  <a:lnTo>
                    <a:pt x="2373" y="2541"/>
                  </a:lnTo>
                  <a:lnTo>
                    <a:pt x="2375" y="2550"/>
                  </a:lnTo>
                  <a:lnTo>
                    <a:pt x="2375" y="2550"/>
                  </a:lnTo>
                  <a:lnTo>
                    <a:pt x="2385" y="2560"/>
                  </a:lnTo>
                  <a:lnTo>
                    <a:pt x="2393" y="2570"/>
                  </a:lnTo>
                  <a:lnTo>
                    <a:pt x="2394" y="2583"/>
                  </a:lnTo>
                  <a:lnTo>
                    <a:pt x="2394" y="2583"/>
                  </a:lnTo>
                  <a:lnTo>
                    <a:pt x="2378" y="2596"/>
                  </a:lnTo>
                  <a:lnTo>
                    <a:pt x="2358" y="2601"/>
                  </a:lnTo>
                  <a:lnTo>
                    <a:pt x="2337" y="2598"/>
                  </a:lnTo>
                  <a:lnTo>
                    <a:pt x="2337" y="2598"/>
                  </a:lnTo>
                  <a:lnTo>
                    <a:pt x="2332" y="2603"/>
                  </a:lnTo>
                  <a:lnTo>
                    <a:pt x="2330" y="2612"/>
                  </a:lnTo>
                  <a:lnTo>
                    <a:pt x="2330" y="2619"/>
                  </a:lnTo>
                  <a:lnTo>
                    <a:pt x="2330" y="2619"/>
                  </a:lnTo>
                  <a:lnTo>
                    <a:pt x="2336" y="2624"/>
                  </a:lnTo>
                  <a:lnTo>
                    <a:pt x="2345" y="2622"/>
                  </a:lnTo>
                  <a:lnTo>
                    <a:pt x="2353" y="2626"/>
                  </a:lnTo>
                  <a:lnTo>
                    <a:pt x="2353" y="2626"/>
                  </a:lnTo>
                  <a:lnTo>
                    <a:pt x="2356" y="2633"/>
                  </a:lnTo>
                  <a:lnTo>
                    <a:pt x="2359" y="2642"/>
                  </a:lnTo>
                  <a:lnTo>
                    <a:pt x="2356" y="2650"/>
                  </a:lnTo>
                  <a:lnTo>
                    <a:pt x="2356" y="2650"/>
                  </a:lnTo>
                  <a:lnTo>
                    <a:pt x="2353" y="2651"/>
                  </a:lnTo>
                  <a:lnTo>
                    <a:pt x="2347" y="2652"/>
                  </a:lnTo>
                  <a:lnTo>
                    <a:pt x="2346" y="2655"/>
                  </a:lnTo>
                  <a:lnTo>
                    <a:pt x="2346" y="2655"/>
                  </a:lnTo>
                  <a:lnTo>
                    <a:pt x="2354" y="2662"/>
                  </a:lnTo>
                  <a:lnTo>
                    <a:pt x="2363" y="2670"/>
                  </a:lnTo>
                  <a:lnTo>
                    <a:pt x="2369" y="2680"/>
                  </a:lnTo>
                  <a:lnTo>
                    <a:pt x="2369" y="2680"/>
                  </a:lnTo>
                  <a:lnTo>
                    <a:pt x="2369" y="2700"/>
                  </a:lnTo>
                  <a:lnTo>
                    <a:pt x="2370" y="2738"/>
                  </a:lnTo>
                  <a:lnTo>
                    <a:pt x="2370" y="2758"/>
                  </a:lnTo>
                  <a:lnTo>
                    <a:pt x="2370" y="2758"/>
                  </a:lnTo>
                  <a:lnTo>
                    <a:pt x="2370" y="2782"/>
                  </a:lnTo>
                  <a:close/>
                </a:path>
              </a:pathLst>
            </a:custGeom>
            <a:solidFill>
              <a:schemeClr val="accent4"/>
            </a:solidFill>
            <a:ln>
              <a:noFill/>
            </a:ln>
          </p:spPr>
          <p:style>
            <a:lnRef idx="0">
              <a:scrgbClr r="0" g="0" b="0"/>
            </a:lnRef>
            <a:fillRef idx="0">
              <a:scrgbClr r="0" g="0" b="0"/>
            </a:fillRef>
            <a:effectRef idx="0">
              <a:scrgbClr r="0" g="0" b="0"/>
            </a:effectRef>
            <a:fontRef idx="minor"/>
          </p:style>
        </p:sp>
        <p:sp>
          <p:nvSpPr>
            <p:cNvPr id="9" name="CustomShape 2">
              <a:extLst>
                <a:ext uri="{FF2B5EF4-FFF2-40B4-BE49-F238E27FC236}">
                  <a16:creationId xmlns:a16="http://schemas.microsoft.com/office/drawing/2014/main" id="{2D913491-383A-43F9-A767-B366E2774C38}"/>
                </a:ext>
              </a:extLst>
            </p:cNvPr>
            <p:cNvSpPr/>
            <p:nvPr/>
          </p:nvSpPr>
          <p:spPr>
            <a:xfrm>
              <a:off x="120217" y="1360757"/>
              <a:ext cx="4791600" cy="6542280"/>
            </a:xfrm>
            <a:custGeom>
              <a:avLst/>
              <a:gdLst/>
              <a:ahLst/>
              <a:cxnLst/>
              <a:rect l="l" t="t" r="r" b="b"/>
              <a:pathLst>
                <a:path w="4464" h="6319">
                  <a:moveTo>
                    <a:pt x="4380" y="4071"/>
                  </a:moveTo>
                  <a:lnTo>
                    <a:pt x="4330" y="4027"/>
                  </a:lnTo>
                  <a:lnTo>
                    <a:pt x="4295" y="4015"/>
                  </a:lnTo>
                  <a:lnTo>
                    <a:pt x="4266" y="3993"/>
                  </a:lnTo>
                  <a:lnTo>
                    <a:pt x="4228" y="3996"/>
                  </a:lnTo>
                  <a:lnTo>
                    <a:pt x="4170" y="3981"/>
                  </a:lnTo>
                  <a:lnTo>
                    <a:pt x="4151" y="3985"/>
                  </a:lnTo>
                  <a:lnTo>
                    <a:pt x="4132" y="4004"/>
                  </a:lnTo>
                  <a:lnTo>
                    <a:pt x="4122" y="3989"/>
                  </a:lnTo>
                  <a:lnTo>
                    <a:pt x="4139" y="3959"/>
                  </a:lnTo>
                  <a:lnTo>
                    <a:pt x="4120" y="3936"/>
                  </a:lnTo>
                  <a:lnTo>
                    <a:pt x="4088" y="3937"/>
                  </a:lnTo>
                  <a:lnTo>
                    <a:pt x="4052" y="3915"/>
                  </a:lnTo>
                  <a:lnTo>
                    <a:pt x="4019" y="3912"/>
                  </a:lnTo>
                  <a:lnTo>
                    <a:pt x="4011" y="3930"/>
                  </a:lnTo>
                  <a:lnTo>
                    <a:pt x="3980" y="3960"/>
                  </a:lnTo>
                  <a:lnTo>
                    <a:pt x="3964" y="3960"/>
                  </a:lnTo>
                  <a:lnTo>
                    <a:pt x="3964" y="3949"/>
                  </a:lnTo>
                  <a:lnTo>
                    <a:pt x="3993" y="3932"/>
                  </a:lnTo>
                  <a:lnTo>
                    <a:pt x="4004" y="3903"/>
                  </a:lnTo>
                  <a:lnTo>
                    <a:pt x="3985" y="3896"/>
                  </a:lnTo>
                  <a:lnTo>
                    <a:pt x="3974" y="3893"/>
                  </a:lnTo>
                  <a:lnTo>
                    <a:pt x="3961" y="3878"/>
                  </a:lnTo>
                  <a:lnTo>
                    <a:pt x="3942" y="3882"/>
                  </a:lnTo>
                  <a:lnTo>
                    <a:pt x="3931" y="3873"/>
                  </a:lnTo>
                  <a:lnTo>
                    <a:pt x="3942" y="3862"/>
                  </a:lnTo>
                  <a:lnTo>
                    <a:pt x="3956" y="3853"/>
                  </a:lnTo>
                  <a:lnTo>
                    <a:pt x="3961" y="3823"/>
                  </a:lnTo>
                  <a:lnTo>
                    <a:pt x="3945" y="3806"/>
                  </a:lnTo>
                  <a:lnTo>
                    <a:pt x="3928" y="3789"/>
                  </a:lnTo>
                  <a:lnTo>
                    <a:pt x="3916" y="3750"/>
                  </a:lnTo>
                  <a:lnTo>
                    <a:pt x="3904" y="3718"/>
                  </a:lnTo>
                  <a:lnTo>
                    <a:pt x="3897" y="3713"/>
                  </a:lnTo>
                  <a:lnTo>
                    <a:pt x="3859" y="3674"/>
                  </a:lnTo>
                  <a:lnTo>
                    <a:pt x="3844" y="3668"/>
                  </a:lnTo>
                  <a:lnTo>
                    <a:pt x="3816" y="3663"/>
                  </a:lnTo>
                  <a:lnTo>
                    <a:pt x="3799" y="3654"/>
                  </a:lnTo>
                  <a:lnTo>
                    <a:pt x="3728" y="3651"/>
                  </a:lnTo>
                  <a:lnTo>
                    <a:pt x="3708" y="3660"/>
                  </a:lnTo>
                  <a:lnTo>
                    <a:pt x="3702" y="3637"/>
                  </a:lnTo>
                  <a:lnTo>
                    <a:pt x="3694" y="3617"/>
                  </a:lnTo>
                  <a:lnTo>
                    <a:pt x="3675" y="3615"/>
                  </a:lnTo>
                  <a:lnTo>
                    <a:pt x="3663" y="3585"/>
                  </a:lnTo>
                  <a:lnTo>
                    <a:pt x="3641" y="3567"/>
                  </a:lnTo>
                  <a:lnTo>
                    <a:pt x="3617" y="3553"/>
                  </a:lnTo>
                  <a:lnTo>
                    <a:pt x="3598" y="3537"/>
                  </a:lnTo>
                  <a:lnTo>
                    <a:pt x="3587" y="3517"/>
                  </a:lnTo>
                  <a:lnTo>
                    <a:pt x="3561" y="3496"/>
                  </a:lnTo>
                  <a:lnTo>
                    <a:pt x="3537" y="3500"/>
                  </a:lnTo>
                  <a:lnTo>
                    <a:pt x="3518" y="3466"/>
                  </a:lnTo>
                  <a:lnTo>
                    <a:pt x="3496" y="3461"/>
                  </a:lnTo>
                  <a:lnTo>
                    <a:pt x="3481" y="3464"/>
                  </a:lnTo>
                  <a:lnTo>
                    <a:pt x="3460" y="3483"/>
                  </a:lnTo>
                  <a:lnTo>
                    <a:pt x="3443" y="3489"/>
                  </a:lnTo>
                  <a:lnTo>
                    <a:pt x="3422" y="3483"/>
                  </a:lnTo>
                  <a:lnTo>
                    <a:pt x="3408" y="3471"/>
                  </a:lnTo>
                  <a:lnTo>
                    <a:pt x="3329" y="3464"/>
                  </a:lnTo>
                  <a:lnTo>
                    <a:pt x="3329" y="3441"/>
                  </a:lnTo>
                  <a:lnTo>
                    <a:pt x="3305" y="3427"/>
                  </a:lnTo>
                  <a:lnTo>
                    <a:pt x="3291" y="3427"/>
                  </a:lnTo>
                  <a:lnTo>
                    <a:pt x="3281" y="3413"/>
                  </a:lnTo>
                  <a:lnTo>
                    <a:pt x="3270" y="3410"/>
                  </a:lnTo>
                  <a:lnTo>
                    <a:pt x="3275" y="3439"/>
                  </a:lnTo>
                  <a:lnTo>
                    <a:pt x="3236" y="3450"/>
                  </a:lnTo>
                  <a:lnTo>
                    <a:pt x="3229" y="3469"/>
                  </a:lnTo>
                  <a:lnTo>
                    <a:pt x="3238" y="3494"/>
                  </a:lnTo>
                  <a:lnTo>
                    <a:pt x="3238" y="3523"/>
                  </a:lnTo>
                  <a:lnTo>
                    <a:pt x="3217" y="3530"/>
                  </a:lnTo>
                  <a:lnTo>
                    <a:pt x="3208" y="3500"/>
                  </a:lnTo>
                  <a:lnTo>
                    <a:pt x="3217" y="3471"/>
                  </a:lnTo>
                  <a:lnTo>
                    <a:pt x="3212" y="3457"/>
                  </a:lnTo>
                  <a:lnTo>
                    <a:pt x="3217" y="3439"/>
                  </a:lnTo>
                  <a:lnTo>
                    <a:pt x="3238" y="3420"/>
                  </a:lnTo>
                  <a:lnTo>
                    <a:pt x="3241" y="3407"/>
                  </a:lnTo>
                  <a:lnTo>
                    <a:pt x="3227" y="3402"/>
                  </a:lnTo>
                  <a:lnTo>
                    <a:pt x="3205" y="3402"/>
                  </a:lnTo>
                  <a:lnTo>
                    <a:pt x="3200" y="3421"/>
                  </a:lnTo>
                  <a:lnTo>
                    <a:pt x="3139" y="3446"/>
                  </a:lnTo>
                  <a:lnTo>
                    <a:pt x="3129" y="3457"/>
                  </a:lnTo>
                  <a:lnTo>
                    <a:pt x="3112" y="3450"/>
                  </a:lnTo>
                  <a:lnTo>
                    <a:pt x="3100" y="3466"/>
                  </a:lnTo>
                  <a:lnTo>
                    <a:pt x="3097" y="3491"/>
                  </a:lnTo>
                  <a:lnTo>
                    <a:pt x="3081" y="3500"/>
                  </a:lnTo>
                  <a:lnTo>
                    <a:pt x="3081" y="3519"/>
                  </a:lnTo>
                  <a:lnTo>
                    <a:pt x="3059" y="3542"/>
                  </a:lnTo>
                  <a:lnTo>
                    <a:pt x="3064" y="3562"/>
                  </a:lnTo>
                  <a:lnTo>
                    <a:pt x="3054" y="3573"/>
                  </a:lnTo>
                  <a:lnTo>
                    <a:pt x="3035" y="3564"/>
                  </a:lnTo>
                  <a:lnTo>
                    <a:pt x="3016" y="3542"/>
                  </a:lnTo>
                  <a:lnTo>
                    <a:pt x="2992" y="3523"/>
                  </a:lnTo>
                  <a:lnTo>
                    <a:pt x="2966" y="3519"/>
                  </a:lnTo>
                  <a:lnTo>
                    <a:pt x="2947" y="3528"/>
                  </a:lnTo>
                  <a:lnTo>
                    <a:pt x="2918" y="3544"/>
                  </a:lnTo>
                  <a:lnTo>
                    <a:pt x="2904" y="3542"/>
                  </a:lnTo>
                  <a:lnTo>
                    <a:pt x="2878" y="3517"/>
                  </a:lnTo>
                  <a:lnTo>
                    <a:pt x="2878" y="3503"/>
                  </a:lnTo>
                  <a:lnTo>
                    <a:pt x="2840" y="3466"/>
                  </a:lnTo>
                  <a:lnTo>
                    <a:pt x="2843" y="3439"/>
                  </a:lnTo>
                  <a:lnTo>
                    <a:pt x="2838" y="3405"/>
                  </a:lnTo>
                  <a:lnTo>
                    <a:pt x="2840" y="3371"/>
                  </a:lnTo>
                  <a:lnTo>
                    <a:pt x="2849" y="3329"/>
                  </a:lnTo>
                  <a:lnTo>
                    <a:pt x="2849" y="3292"/>
                  </a:lnTo>
                  <a:lnTo>
                    <a:pt x="2838" y="3284"/>
                  </a:lnTo>
                  <a:lnTo>
                    <a:pt x="2814" y="3256"/>
                  </a:lnTo>
                  <a:lnTo>
                    <a:pt x="2756" y="3258"/>
                  </a:lnTo>
                  <a:lnTo>
                    <a:pt x="2694" y="3265"/>
                  </a:lnTo>
                  <a:lnTo>
                    <a:pt x="2665" y="3250"/>
                  </a:lnTo>
                  <a:lnTo>
                    <a:pt x="2688" y="3195"/>
                  </a:lnTo>
                  <a:lnTo>
                    <a:pt x="2689" y="3169"/>
                  </a:lnTo>
                  <a:lnTo>
                    <a:pt x="2699" y="3159"/>
                  </a:lnTo>
                  <a:lnTo>
                    <a:pt x="2709" y="3144"/>
                  </a:lnTo>
                  <a:lnTo>
                    <a:pt x="2710" y="3134"/>
                  </a:lnTo>
                  <a:lnTo>
                    <a:pt x="2709" y="3093"/>
                  </a:lnTo>
                  <a:lnTo>
                    <a:pt x="2723" y="3059"/>
                  </a:lnTo>
                  <a:lnTo>
                    <a:pt x="2734" y="3039"/>
                  </a:lnTo>
                  <a:lnTo>
                    <a:pt x="2723" y="3023"/>
                  </a:lnTo>
                  <a:lnTo>
                    <a:pt x="2707" y="3025"/>
                  </a:lnTo>
                  <a:lnTo>
                    <a:pt x="2697" y="3020"/>
                  </a:lnTo>
                  <a:lnTo>
                    <a:pt x="2668" y="3020"/>
                  </a:lnTo>
                  <a:lnTo>
                    <a:pt x="2644" y="3039"/>
                  </a:lnTo>
                  <a:lnTo>
                    <a:pt x="2627" y="3034"/>
                  </a:lnTo>
                  <a:lnTo>
                    <a:pt x="2613" y="3059"/>
                  </a:lnTo>
                  <a:lnTo>
                    <a:pt x="2611" y="3101"/>
                  </a:lnTo>
                  <a:lnTo>
                    <a:pt x="2587" y="3132"/>
                  </a:lnTo>
                  <a:lnTo>
                    <a:pt x="2584" y="3146"/>
                  </a:lnTo>
                  <a:lnTo>
                    <a:pt x="2523" y="3160"/>
                  </a:lnTo>
                  <a:lnTo>
                    <a:pt x="2506" y="3158"/>
                  </a:lnTo>
                  <a:lnTo>
                    <a:pt x="2486" y="3163"/>
                  </a:lnTo>
                  <a:lnTo>
                    <a:pt x="2461" y="3146"/>
                  </a:lnTo>
                  <a:lnTo>
                    <a:pt x="2451" y="3146"/>
                  </a:lnTo>
                  <a:lnTo>
                    <a:pt x="2441" y="3138"/>
                  </a:lnTo>
                  <a:lnTo>
                    <a:pt x="2424" y="3130"/>
                  </a:lnTo>
                  <a:lnTo>
                    <a:pt x="2419" y="3112"/>
                  </a:lnTo>
                  <a:lnTo>
                    <a:pt x="2406" y="3090"/>
                  </a:lnTo>
                  <a:lnTo>
                    <a:pt x="2392" y="3059"/>
                  </a:lnTo>
                  <a:lnTo>
                    <a:pt x="2374" y="3025"/>
                  </a:lnTo>
                  <a:lnTo>
                    <a:pt x="2363" y="2984"/>
                  </a:lnTo>
                  <a:lnTo>
                    <a:pt x="2363" y="2945"/>
                  </a:lnTo>
                  <a:lnTo>
                    <a:pt x="2365" y="2894"/>
                  </a:lnTo>
                  <a:lnTo>
                    <a:pt x="2384" y="2858"/>
                  </a:lnTo>
                  <a:lnTo>
                    <a:pt x="2384" y="2840"/>
                  </a:lnTo>
                  <a:lnTo>
                    <a:pt x="2384" y="2824"/>
                  </a:lnTo>
                  <a:lnTo>
                    <a:pt x="2382" y="2796"/>
                  </a:lnTo>
                  <a:lnTo>
                    <a:pt x="2392" y="2779"/>
                  </a:lnTo>
                  <a:lnTo>
                    <a:pt x="2396" y="2762"/>
                  </a:lnTo>
                  <a:lnTo>
                    <a:pt x="2430" y="2714"/>
                  </a:lnTo>
                  <a:lnTo>
                    <a:pt x="2462" y="2703"/>
                  </a:lnTo>
                  <a:lnTo>
                    <a:pt x="2480" y="2689"/>
                  </a:lnTo>
                  <a:lnTo>
                    <a:pt x="2504" y="2673"/>
                  </a:lnTo>
                  <a:lnTo>
                    <a:pt x="2523" y="2673"/>
                  </a:lnTo>
                  <a:lnTo>
                    <a:pt x="2555" y="2680"/>
                  </a:lnTo>
                  <a:lnTo>
                    <a:pt x="2573" y="2675"/>
                  </a:lnTo>
                  <a:lnTo>
                    <a:pt x="2603" y="2703"/>
                  </a:lnTo>
                  <a:lnTo>
                    <a:pt x="2621" y="2698"/>
                  </a:lnTo>
                  <a:lnTo>
                    <a:pt x="2644" y="2712"/>
                  </a:lnTo>
                  <a:lnTo>
                    <a:pt x="2659" y="2712"/>
                  </a:lnTo>
                  <a:lnTo>
                    <a:pt x="2661" y="2698"/>
                  </a:lnTo>
                  <a:lnTo>
                    <a:pt x="2646" y="2680"/>
                  </a:lnTo>
                  <a:lnTo>
                    <a:pt x="2649" y="2660"/>
                  </a:lnTo>
                  <a:lnTo>
                    <a:pt x="2673" y="2656"/>
                  </a:lnTo>
                  <a:lnTo>
                    <a:pt x="2704" y="2645"/>
                  </a:lnTo>
                  <a:lnTo>
                    <a:pt x="2712" y="2653"/>
                  </a:lnTo>
                  <a:lnTo>
                    <a:pt x="2743" y="2645"/>
                  </a:lnTo>
                  <a:lnTo>
                    <a:pt x="2765" y="2648"/>
                  </a:lnTo>
                  <a:lnTo>
                    <a:pt x="2783" y="2659"/>
                  </a:lnTo>
                  <a:lnTo>
                    <a:pt x="2791" y="2674"/>
                  </a:lnTo>
                  <a:lnTo>
                    <a:pt x="2806" y="2678"/>
                  </a:lnTo>
                  <a:lnTo>
                    <a:pt x="2812" y="2665"/>
                  </a:lnTo>
                  <a:lnTo>
                    <a:pt x="2828" y="2663"/>
                  </a:lnTo>
                  <a:lnTo>
                    <a:pt x="2846" y="2673"/>
                  </a:lnTo>
                  <a:lnTo>
                    <a:pt x="2863" y="2701"/>
                  </a:lnTo>
                  <a:lnTo>
                    <a:pt x="2875" y="2717"/>
                  </a:lnTo>
                  <a:lnTo>
                    <a:pt x="2875" y="2731"/>
                  </a:lnTo>
                  <a:lnTo>
                    <a:pt x="2870" y="2738"/>
                  </a:lnTo>
                  <a:lnTo>
                    <a:pt x="2873" y="2775"/>
                  </a:lnTo>
                  <a:lnTo>
                    <a:pt x="2884" y="2792"/>
                  </a:lnTo>
                  <a:lnTo>
                    <a:pt x="2887" y="2821"/>
                  </a:lnTo>
                  <a:lnTo>
                    <a:pt x="2907" y="2848"/>
                  </a:lnTo>
                  <a:lnTo>
                    <a:pt x="2918" y="2882"/>
                  </a:lnTo>
                  <a:lnTo>
                    <a:pt x="2930" y="2883"/>
                  </a:lnTo>
                  <a:lnTo>
                    <a:pt x="2948" y="2874"/>
                  </a:lnTo>
                  <a:lnTo>
                    <a:pt x="2955" y="2814"/>
                  </a:lnTo>
                  <a:lnTo>
                    <a:pt x="2941" y="2747"/>
                  </a:lnTo>
                  <a:lnTo>
                    <a:pt x="2924" y="2687"/>
                  </a:lnTo>
                  <a:lnTo>
                    <a:pt x="2912" y="2656"/>
                  </a:lnTo>
                  <a:lnTo>
                    <a:pt x="2912" y="2614"/>
                  </a:lnTo>
                  <a:lnTo>
                    <a:pt x="2933" y="2572"/>
                  </a:lnTo>
                  <a:lnTo>
                    <a:pt x="2936" y="2554"/>
                  </a:lnTo>
                  <a:lnTo>
                    <a:pt x="2951" y="2552"/>
                  </a:lnTo>
                  <a:lnTo>
                    <a:pt x="3000" y="2497"/>
                  </a:lnTo>
                  <a:lnTo>
                    <a:pt x="3025" y="2490"/>
                  </a:lnTo>
                  <a:lnTo>
                    <a:pt x="3042" y="2464"/>
                  </a:lnTo>
                  <a:lnTo>
                    <a:pt x="3055" y="2451"/>
                  </a:lnTo>
                  <a:lnTo>
                    <a:pt x="3062" y="2427"/>
                  </a:lnTo>
                  <a:lnTo>
                    <a:pt x="3082" y="2412"/>
                  </a:lnTo>
                  <a:lnTo>
                    <a:pt x="3086" y="2398"/>
                  </a:lnTo>
                  <a:lnTo>
                    <a:pt x="3073" y="2382"/>
                  </a:lnTo>
                  <a:lnTo>
                    <a:pt x="3081" y="2369"/>
                  </a:lnTo>
                  <a:lnTo>
                    <a:pt x="3079" y="2352"/>
                  </a:lnTo>
                  <a:lnTo>
                    <a:pt x="3068" y="2329"/>
                  </a:lnTo>
                  <a:lnTo>
                    <a:pt x="3068" y="2275"/>
                  </a:lnTo>
                  <a:lnTo>
                    <a:pt x="3055" y="2243"/>
                  </a:lnTo>
                  <a:lnTo>
                    <a:pt x="3066" y="2217"/>
                  </a:lnTo>
                  <a:lnTo>
                    <a:pt x="3084" y="2216"/>
                  </a:lnTo>
                  <a:lnTo>
                    <a:pt x="3079" y="2246"/>
                  </a:lnTo>
                  <a:lnTo>
                    <a:pt x="3084" y="2286"/>
                  </a:lnTo>
                  <a:lnTo>
                    <a:pt x="3091" y="2313"/>
                  </a:lnTo>
                  <a:lnTo>
                    <a:pt x="3098" y="2318"/>
                  </a:lnTo>
                  <a:lnTo>
                    <a:pt x="3112" y="2285"/>
                  </a:lnTo>
                  <a:lnTo>
                    <a:pt x="3116" y="2250"/>
                  </a:lnTo>
                  <a:lnTo>
                    <a:pt x="3105" y="2228"/>
                  </a:lnTo>
                  <a:lnTo>
                    <a:pt x="3111" y="2221"/>
                  </a:lnTo>
                  <a:lnTo>
                    <a:pt x="3123" y="2235"/>
                  </a:lnTo>
                  <a:lnTo>
                    <a:pt x="3141" y="2216"/>
                  </a:lnTo>
                  <a:lnTo>
                    <a:pt x="3146" y="2193"/>
                  </a:lnTo>
                  <a:lnTo>
                    <a:pt x="3163" y="2169"/>
                  </a:lnTo>
                  <a:lnTo>
                    <a:pt x="3159" y="2150"/>
                  </a:lnTo>
                  <a:lnTo>
                    <a:pt x="3152" y="2144"/>
                  </a:lnTo>
                  <a:lnTo>
                    <a:pt x="3166" y="2136"/>
                  </a:lnTo>
                  <a:lnTo>
                    <a:pt x="3173" y="2116"/>
                  </a:lnTo>
                  <a:lnTo>
                    <a:pt x="3186" y="2115"/>
                  </a:lnTo>
                  <a:lnTo>
                    <a:pt x="3200" y="2124"/>
                  </a:lnTo>
                  <a:lnTo>
                    <a:pt x="3218" y="2119"/>
                  </a:lnTo>
                  <a:lnTo>
                    <a:pt x="3236" y="2104"/>
                  </a:lnTo>
                  <a:lnTo>
                    <a:pt x="3246" y="2119"/>
                  </a:lnTo>
                  <a:lnTo>
                    <a:pt x="3263" y="2112"/>
                  </a:lnTo>
                  <a:lnTo>
                    <a:pt x="3276" y="2097"/>
                  </a:lnTo>
                  <a:lnTo>
                    <a:pt x="3260" y="2090"/>
                  </a:lnTo>
                  <a:lnTo>
                    <a:pt x="3260" y="2073"/>
                  </a:lnTo>
                  <a:lnTo>
                    <a:pt x="3248" y="2061"/>
                  </a:lnTo>
                  <a:lnTo>
                    <a:pt x="3263" y="2032"/>
                  </a:lnTo>
                  <a:lnTo>
                    <a:pt x="3267" y="2017"/>
                  </a:lnTo>
                  <a:lnTo>
                    <a:pt x="3280" y="1997"/>
                  </a:lnTo>
                  <a:lnTo>
                    <a:pt x="3281" y="1981"/>
                  </a:lnTo>
                  <a:lnTo>
                    <a:pt x="3310" y="1981"/>
                  </a:lnTo>
                  <a:lnTo>
                    <a:pt x="3316" y="1973"/>
                  </a:lnTo>
                  <a:lnTo>
                    <a:pt x="3321" y="1955"/>
                  </a:lnTo>
                  <a:lnTo>
                    <a:pt x="3326" y="1951"/>
                  </a:lnTo>
                  <a:lnTo>
                    <a:pt x="3333" y="1959"/>
                  </a:lnTo>
                  <a:lnTo>
                    <a:pt x="3346" y="1957"/>
                  </a:lnTo>
                  <a:lnTo>
                    <a:pt x="3378" y="1936"/>
                  </a:lnTo>
                  <a:lnTo>
                    <a:pt x="3390" y="1927"/>
                  </a:lnTo>
                  <a:lnTo>
                    <a:pt x="3402" y="1908"/>
                  </a:lnTo>
                  <a:lnTo>
                    <a:pt x="3423" y="1903"/>
                  </a:lnTo>
                  <a:lnTo>
                    <a:pt x="3443" y="1888"/>
                  </a:lnTo>
                  <a:lnTo>
                    <a:pt x="3461" y="1876"/>
                  </a:lnTo>
                  <a:lnTo>
                    <a:pt x="3466" y="1881"/>
                  </a:lnTo>
                  <a:lnTo>
                    <a:pt x="3462" y="1893"/>
                  </a:lnTo>
                  <a:lnTo>
                    <a:pt x="3471" y="1897"/>
                  </a:lnTo>
                  <a:lnTo>
                    <a:pt x="3477" y="1893"/>
                  </a:lnTo>
                  <a:lnTo>
                    <a:pt x="3480" y="1901"/>
                  </a:lnTo>
                  <a:lnTo>
                    <a:pt x="3467" y="1916"/>
                  </a:lnTo>
                  <a:lnTo>
                    <a:pt x="3453" y="1916"/>
                  </a:lnTo>
                  <a:lnTo>
                    <a:pt x="3431" y="1946"/>
                  </a:lnTo>
                  <a:lnTo>
                    <a:pt x="3419" y="1950"/>
                  </a:lnTo>
                  <a:lnTo>
                    <a:pt x="3412" y="1984"/>
                  </a:lnTo>
                  <a:lnTo>
                    <a:pt x="3426" y="1999"/>
                  </a:lnTo>
                  <a:lnTo>
                    <a:pt x="3445" y="1997"/>
                  </a:lnTo>
                  <a:lnTo>
                    <a:pt x="3460" y="1981"/>
                  </a:lnTo>
                  <a:lnTo>
                    <a:pt x="3465" y="1970"/>
                  </a:lnTo>
                  <a:lnTo>
                    <a:pt x="3493" y="1934"/>
                  </a:lnTo>
                  <a:lnTo>
                    <a:pt x="3503" y="1944"/>
                  </a:lnTo>
                  <a:lnTo>
                    <a:pt x="3511" y="1946"/>
                  </a:lnTo>
                  <a:lnTo>
                    <a:pt x="3520" y="1937"/>
                  </a:lnTo>
                  <a:lnTo>
                    <a:pt x="3538" y="1934"/>
                  </a:lnTo>
                  <a:lnTo>
                    <a:pt x="3553" y="1931"/>
                  </a:lnTo>
                  <a:lnTo>
                    <a:pt x="3572" y="1911"/>
                  </a:lnTo>
                  <a:lnTo>
                    <a:pt x="3572" y="1889"/>
                  </a:lnTo>
                  <a:lnTo>
                    <a:pt x="3559" y="1892"/>
                  </a:lnTo>
                  <a:lnTo>
                    <a:pt x="3555" y="1877"/>
                  </a:lnTo>
                  <a:lnTo>
                    <a:pt x="3538" y="1886"/>
                  </a:lnTo>
                  <a:lnTo>
                    <a:pt x="3514" y="1884"/>
                  </a:lnTo>
                  <a:lnTo>
                    <a:pt x="3498" y="1872"/>
                  </a:lnTo>
                  <a:lnTo>
                    <a:pt x="3487" y="1858"/>
                  </a:lnTo>
                  <a:lnTo>
                    <a:pt x="3453" y="1828"/>
                  </a:lnTo>
                  <a:lnTo>
                    <a:pt x="3448" y="1791"/>
                  </a:lnTo>
                  <a:lnTo>
                    <a:pt x="3456" y="1780"/>
                  </a:lnTo>
                  <a:lnTo>
                    <a:pt x="3456" y="1761"/>
                  </a:lnTo>
                  <a:lnTo>
                    <a:pt x="3435" y="1766"/>
                  </a:lnTo>
                  <a:lnTo>
                    <a:pt x="3419" y="1755"/>
                  </a:lnTo>
                  <a:lnTo>
                    <a:pt x="3399" y="1748"/>
                  </a:lnTo>
                  <a:lnTo>
                    <a:pt x="3397" y="1738"/>
                  </a:lnTo>
                  <a:lnTo>
                    <a:pt x="3412" y="1727"/>
                  </a:lnTo>
                  <a:lnTo>
                    <a:pt x="3436" y="1733"/>
                  </a:lnTo>
                  <a:lnTo>
                    <a:pt x="3450" y="1742"/>
                  </a:lnTo>
                  <a:lnTo>
                    <a:pt x="3480" y="1712"/>
                  </a:lnTo>
                  <a:lnTo>
                    <a:pt x="3474" y="1696"/>
                  </a:lnTo>
                  <a:lnTo>
                    <a:pt x="3467" y="1692"/>
                  </a:lnTo>
                  <a:lnTo>
                    <a:pt x="3442" y="1668"/>
                  </a:lnTo>
                  <a:lnTo>
                    <a:pt x="3404" y="1672"/>
                  </a:lnTo>
                  <a:lnTo>
                    <a:pt x="3388" y="1692"/>
                  </a:lnTo>
                  <a:lnTo>
                    <a:pt x="3354" y="1703"/>
                  </a:lnTo>
                  <a:lnTo>
                    <a:pt x="3333" y="1731"/>
                  </a:lnTo>
                  <a:lnTo>
                    <a:pt x="3326" y="1733"/>
                  </a:lnTo>
                  <a:lnTo>
                    <a:pt x="3291" y="1776"/>
                  </a:lnTo>
                  <a:lnTo>
                    <a:pt x="3290" y="1791"/>
                  </a:lnTo>
                  <a:lnTo>
                    <a:pt x="3273" y="1799"/>
                  </a:lnTo>
                  <a:lnTo>
                    <a:pt x="3256" y="1823"/>
                  </a:lnTo>
                  <a:lnTo>
                    <a:pt x="3248" y="1819"/>
                  </a:lnTo>
                  <a:lnTo>
                    <a:pt x="3254" y="1781"/>
                  </a:lnTo>
                  <a:lnTo>
                    <a:pt x="3281" y="1757"/>
                  </a:lnTo>
                  <a:lnTo>
                    <a:pt x="3287" y="1745"/>
                  </a:lnTo>
                  <a:lnTo>
                    <a:pt x="3310" y="1719"/>
                  </a:lnTo>
                  <a:lnTo>
                    <a:pt x="3329" y="1680"/>
                  </a:lnTo>
                  <a:lnTo>
                    <a:pt x="3374" y="1672"/>
                  </a:lnTo>
                  <a:lnTo>
                    <a:pt x="3375" y="1653"/>
                  </a:lnTo>
                  <a:lnTo>
                    <a:pt x="3389" y="1641"/>
                  </a:lnTo>
                  <a:lnTo>
                    <a:pt x="3411" y="1614"/>
                  </a:lnTo>
                  <a:lnTo>
                    <a:pt x="3432" y="1615"/>
                  </a:lnTo>
                  <a:lnTo>
                    <a:pt x="3437" y="1621"/>
                  </a:lnTo>
                  <a:lnTo>
                    <a:pt x="3487" y="1615"/>
                  </a:lnTo>
                  <a:lnTo>
                    <a:pt x="3515" y="1607"/>
                  </a:lnTo>
                  <a:lnTo>
                    <a:pt x="3533" y="1619"/>
                  </a:lnTo>
                  <a:lnTo>
                    <a:pt x="3563" y="1614"/>
                  </a:lnTo>
                  <a:lnTo>
                    <a:pt x="3583" y="1619"/>
                  </a:lnTo>
                  <a:lnTo>
                    <a:pt x="3618" y="1619"/>
                  </a:lnTo>
                  <a:lnTo>
                    <a:pt x="3642" y="1604"/>
                  </a:lnTo>
                  <a:lnTo>
                    <a:pt x="3665" y="1556"/>
                  </a:lnTo>
                  <a:lnTo>
                    <a:pt x="3689" y="1541"/>
                  </a:lnTo>
                  <a:lnTo>
                    <a:pt x="3728" y="1531"/>
                  </a:lnTo>
                  <a:lnTo>
                    <a:pt x="3756" y="1504"/>
                  </a:lnTo>
                  <a:lnTo>
                    <a:pt x="3762" y="1503"/>
                  </a:lnTo>
                  <a:lnTo>
                    <a:pt x="3768" y="1486"/>
                  </a:lnTo>
                  <a:lnTo>
                    <a:pt x="3756" y="1456"/>
                  </a:lnTo>
                  <a:lnTo>
                    <a:pt x="3767" y="1436"/>
                  </a:lnTo>
                  <a:lnTo>
                    <a:pt x="3758" y="1398"/>
                  </a:lnTo>
                  <a:lnTo>
                    <a:pt x="3729" y="1384"/>
                  </a:lnTo>
                  <a:lnTo>
                    <a:pt x="3708" y="1402"/>
                  </a:lnTo>
                  <a:lnTo>
                    <a:pt x="3707" y="1391"/>
                  </a:lnTo>
                  <a:lnTo>
                    <a:pt x="3713" y="1363"/>
                  </a:lnTo>
                  <a:lnTo>
                    <a:pt x="3693" y="1361"/>
                  </a:lnTo>
                  <a:lnTo>
                    <a:pt x="3663" y="1381"/>
                  </a:lnTo>
                  <a:lnTo>
                    <a:pt x="3660" y="1391"/>
                  </a:lnTo>
                  <a:lnTo>
                    <a:pt x="3650" y="1391"/>
                  </a:lnTo>
                  <a:lnTo>
                    <a:pt x="3623" y="1417"/>
                  </a:lnTo>
                  <a:lnTo>
                    <a:pt x="3607" y="1415"/>
                  </a:lnTo>
                  <a:lnTo>
                    <a:pt x="3602" y="1391"/>
                  </a:lnTo>
                  <a:lnTo>
                    <a:pt x="3617" y="1395"/>
                  </a:lnTo>
                  <a:lnTo>
                    <a:pt x="3639" y="1379"/>
                  </a:lnTo>
                  <a:lnTo>
                    <a:pt x="3678" y="1353"/>
                  </a:lnTo>
                  <a:lnTo>
                    <a:pt x="3710" y="1340"/>
                  </a:lnTo>
                  <a:lnTo>
                    <a:pt x="3714" y="1325"/>
                  </a:lnTo>
                  <a:lnTo>
                    <a:pt x="3686" y="1318"/>
                  </a:lnTo>
                  <a:lnTo>
                    <a:pt x="3673" y="1305"/>
                  </a:lnTo>
                  <a:lnTo>
                    <a:pt x="3647" y="1294"/>
                  </a:lnTo>
                  <a:lnTo>
                    <a:pt x="3632" y="1299"/>
                  </a:lnTo>
                  <a:lnTo>
                    <a:pt x="3613" y="1284"/>
                  </a:lnTo>
                  <a:lnTo>
                    <a:pt x="3612" y="1267"/>
                  </a:lnTo>
                  <a:lnTo>
                    <a:pt x="3596" y="1236"/>
                  </a:lnTo>
                  <a:lnTo>
                    <a:pt x="3582" y="1228"/>
                  </a:lnTo>
                  <a:lnTo>
                    <a:pt x="3581" y="1221"/>
                  </a:lnTo>
                  <a:lnTo>
                    <a:pt x="3562" y="1211"/>
                  </a:lnTo>
                  <a:lnTo>
                    <a:pt x="3559" y="1178"/>
                  </a:lnTo>
                  <a:lnTo>
                    <a:pt x="3576" y="1167"/>
                  </a:lnTo>
                  <a:lnTo>
                    <a:pt x="3572" y="1149"/>
                  </a:lnTo>
                  <a:lnTo>
                    <a:pt x="3558" y="1144"/>
                  </a:lnTo>
                  <a:lnTo>
                    <a:pt x="3552" y="1101"/>
                  </a:lnTo>
                  <a:lnTo>
                    <a:pt x="3529" y="1078"/>
                  </a:lnTo>
                  <a:lnTo>
                    <a:pt x="3533" y="1055"/>
                  </a:lnTo>
                  <a:lnTo>
                    <a:pt x="3515" y="1043"/>
                  </a:lnTo>
                  <a:lnTo>
                    <a:pt x="3515" y="1005"/>
                  </a:lnTo>
                  <a:lnTo>
                    <a:pt x="3503" y="1005"/>
                  </a:lnTo>
                  <a:lnTo>
                    <a:pt x="3495" y="960"/>
                  </a:lnTo>
                  <a:lnTo>
                    <a:pt x="3479" y="944"/>
                  </a:lnTo>
                  <a:lnTo>
                    <a:pt x="3472" y="908"/>
                  </a:lnTo>
                  <a:lnTo>
                    <a:pt x="3461" y="902"/>
                  </a:lnTo>
                  <a:lnTo>
                    <a:pt x="3450" y="925"/>
                  </a:lnTo>
                  <a:lnTo>
                    <a:pt x="3450" y="941"/>
                  </a:lnTo>
                  <a:lnTo>
                    <a:pt x="3437" y="953"/>
                  </a:lnTo>
                  <a:lnTo>
                    <a:pt x="3441" y="985"/>
                  </a:lnTo>
                  <a:lnTo>
                    <a:pt x="3424" y="1029"/>
                  </a:lnTo>
                  <a:lnTo>
                    <a:pt x="3414" y="1041"/>
                  </a:lnTo>
                  <a:lnTo>
                    <a:pt x="3413" y="1029"/>
                  </a:lnTo>
                  <a:lnTo>
                    <a:pt x="3404" y="1028"/>
                  </a:lnTo>
                  <a:lnTo>
                    <a:pt x="3390" y="1032"/>
                  </a:lnTo>
                  <a:lnTo>
                    <a:pt x="3390" y="1052"/>
                  </a:lnTo>
                  <a:lnTo>
                    <a:pt x="3375" y="1063"/>
                  </a:lnTo>
                  <a:lnTo>
                    <a:pt x="3364" y="1078"/>
                  </a:lnTo>
                  <a:lnTo>
                    <a:pt x="3348" y="1066"/>
                  </a:lnTo>
                  <a:lnTo>
                    <a:pt x="3348" y="1047"/>
                  </a:lnTo>
                  <a:lnTo>
                    <a:pt x="3317" y="1010"/>
                  </a:lnTo>
                  <a:lnTo>
                    <a:pt x="3300" y="1029"/>
                  </a:lnTo>
                  <a:lnTo>
                    <a:pt x="3281" y="1036"/>
                  </a:lnTo>
                  <a:lnTo>
                    <a:pt x="3280" y="1028"/>
                  </a:lnTo>
                  <a:lnTo>
                    <a:pt x="3302" y="1010"/>
                  </a:lnTo>
                  <a:lnTo>
                    <a:pt x="3309" y="998"/>
                  </a:lnTo>
                  <a:lnTo>
                    <a:pt x="3299" y="990"/>
                  </a:lnTo>
                  <a:lnTo>
                    <a:pt x="3287" y="990"/>
                  </a:lnTo>
                  <a:lnTo>
                    <a:pt x="3287" y="990"/>
                  </a:lnTo>
                  <a:lnTo>
                    <a:pt x="3286" y="987"/>
                  </a:lnTo>
                  <a:lnTo>
                    <a:pt x="3283" y="981"/>
                  </a:lnTo>
                  <a:lnTo>
                    <a:pt x="3285" y="979"/>
                  </a:lnTo>
                  <a:lnTo>
                    <a:pt x="3285" y="979"/>
                  </a:lnTo>
                  <a:lnTo>
                    <a:pt x="3290" y="978"/>
                  </a:lnTo>
                  <a:lnTo>
                    <a:pt x="3296" y="973"/>
                  </a:lnTo>
                  <a:lnTo>
                    <a:pt x="3299" y="970"/>
                  </a:lnTo>
                  <a:lnTo>
                    <a:pt x="3299" y="970"/>
                  </a:lnTo>
                  <a:lnTo>
                    <a:pt x="3297" y="951"/>
                  </a:lnTo>
                  <a:lnTo>
                    <a:pt x="3285" y="936"/>
                  </a:lnTo>
                  <a:lnTo>
                    <a:pt x="3297" y="921"/>
                  </a:lnTo>
                  <a:lnTo>
                    <a:pt x="3296" y="886"/>
                  </a:lnTo>
                  <a:lnTo>
                    <a:pt x="3307" y="874"/>
                  </a:lnTo>
                  <a:lnTo>
                    <a:pt x="3307" y="854"/>
                  </a:lnTo>
                  <a:lnTo>
                    <a:pt x="3294" y="851"/>
                  </a:lnTo>
                  <a:lnTo>
                    <a:pt x="3285" y="856"/>
                  </a:lnTo>
                  <a:lnTo>
                    <a:pt x="3277" y="844"/>
                  </a:lnTo>
                  <a:lnTo>
                    <a:pt x="3237" y="843"/>
                  </a:lnTo>
                  <a:lnTo>
                    <a:pt x="3227" y="824"/>
                  </a:lnTo>
                  <a:lnTo>
                    <a:pt x="3231" y="804"/>
                  </a:lnTo>
                  <a:lnTo>
                    <a:pt x="3217" y="798"/>
                  </a:lnTo>
                  <a:lnTo>
                    <a:pt x="3207" y="770"/>
                  </a:lnTo>
                  <a:lnTo>
                    <a:pt x="3189" y="762"/>
                  </a:lnTo>
                  <a:lnTo>
                    <a:pt x="3181" y="750"/>
                  </a:lnTo>
                  <a:lnTo>
                    <a:pt x="3164" y="736"/>
                  </a:lnTo>
                  <a:lnTo>
                    <a:pt x="3134" y="740"/>
                  </a:lnTo>
                  <a:lnTo>
                    <a:pt x="3126" y="756"/>
                  </a:lnTo>
                  <a:lnTo>
                    <a:pt x="3110" y="755"/>
                  </a:lnTo>
                  <a:lnTo>
                    <a:pt x="3081" y="754"/>
                  </a:lnTo>
                  <a:lnTo>
                    <a:pt x="3055" y="735"/>
                  </a:lnTo>
                  <a:lnTo>
                    <a:pt x="3048" y="725"/>
                  </a:lnTo>
                  <a:lnTo>
                    <a:pt x="3027" y="725"/>
                  </a:lnTo>
                  <a:lnTo>
                    <a:pt x="3015" y="735"/>
                  </a:lnTo>
                  <a:lnTo>
                    <a:pt x="3015" y="783"/>
                  </a:lnTo>
                  <a:lnTo>
                    <a:pt x="3035" y="809"/>
                  </a:lnTo>
                  <a:lnTo>
                    <a:pt x="3033" y="837"/>
                  </a:lnTo>
                  <a:lnTo>
                    <a:pt x="3020" y="848"/>
                  </a:lnTo>
                  <a:lnTo>
                    <a:pt x="3011" y="851"/>
                  </a:lnTo>
                  <a:lnTo>
                    <a:pt x="3015" y="866"/>
                  </a:lnTo>
                  <a:lnTo>
                    <a:pt x="3028" y="883"/>
                  </a:lnTo>
                  <a:lnTo>
                    <a:pt x="3033" y="913"/>
                  </a:lnTo>
                  <a:lnTo>
                    <a:pt x="3042" y="932"/>
                  </a:lnTo>
                  <a:lnTo>
                    <a:pt x="3035" y="960"/>
                  </a:lnTo>
                  <a:lnTo>
                    <a:pt x="3018" y="985"/>
                  </a:lnTo>
                  <a:lnTo>
                    <a:pt x="3015" y="1000"/>
                  </a:lnTo>
                  <a:lnTo>
                    <a:pt x="3003" y="1021"/>
                  </a:lnTo>
                  <a:lnTo>
                    <a:pt x="3005" y="1043"/>
                  </a:lnTo>
                  <a:lnTo>
                    <a:pt x="3032" y="1072"/>
                  </a:lnTo>
                  <a:lnTo>
                    <a:pt x="3057" y="1101"/>
                  </a:lnTo>
                  <a:lnTo>
                    <a:pt x="3072" y="1172"/>
                  </a:lnTo>
                  <a:lnTo>
                    <a:pt x="3062" y="1237"/>
                  </a:lnTo>
                  <a:lnTo>
                    <a:pt x="3042" y="1257"/>
                  </a:lnTo>
                  <a:lnTo>
                    <a:pt x="3035" y="1271"/>
                  </a:lnTo>
                  <a:lnTo>
                    <a:pt x="3018" y="1291"/>
                  </a:lnTo>
                  <a:lnTo>
                    <a:pt x="3000" y="1301"/>
                  </a:lnTo>
                  <a:lnTo>
                    <a:pt x="2996" y="1315"/>
                  </a:lnTo>
                  <a:lnTo>
                    <a:pt x="2976" y="1318"/>
                  </a:lnTo>
                  <a:lnTo>
                    <a:pt x="2970" y="1333"/>
                  </a:lnTo>
                  <a:lnTo>
                    <a:pt x="2985" y="1356"/>
                  </a:lnTo>
                  <a:lnTo>
                    <a:pt x="2990" y="1391"/>
                  </a:lnTo>
                  <a:lnTo>
                    <a:pt x="2990" y="1436"/>
                  </a:lnTo>
                  <a:lnTo>
                    <a:pt x="2998" y="1458"/>
                  </a:lnTo>
                  <a:lnTo>
                    <a:pt x="3008" y="1475"/>
                  </a:lnTo>
                  <a:lnTo>
                    <a:pt x="3006" y="1493"/>
                  </a:lnTo>
                  <a:lnTo>
                    <a:pt x="2992" y="1518"/>
                  </a:lnTo>
                  <a:lnTo>
                    <a:pt x="2987" y="1541"/>
                  </a:lnTo>
                  <a:lnTo>
                    <a:pt x="2974" y="1523"/>
                  </a:lnTo>
                  <a:lnTo>
                    <a:pt x="2964" y="1548"/>
                  </a:lnTo>
                  <a:lnTo>
                    <a:pt x="2955" y="1543"/>
                  </a:lnTo>
                  <a:lnTo>
                    <a:pt x="2937" y="1546"/>
                  </a:lnTo>
                  <a:lnTo>
                    <a:pt x="2940" y="1529"/>
                  </a:lnTo>
                  <a:lnTo>
                    <a:pt x="2921" y="1495"/>
                  </a:lnTo>
                  <a:lnTo>
                    <a:pt x="2904" y="1490"/>
                  </a:lnTo>
                  <a:lnTo>
                    <a:pt x="2904" y="1475"/>
                  </a:lnTo>
                  <a:lnTo>
                    <a:pt x="2883" y="1454"/>
                  </a:lnTo>
                  <a:lnTo>
                    <a:pt x="2883" y="1439"/>
                  </a:lnTo>
                  <a:lnTo>
                    <a:pt x="2890" y="1429"/>
                  </a:lnTo>
                  <a:lnTo>
                    <a:pt x="2892" y="1374"/>
                  </a:lnTo>
                  <a:lnTo>
                    <a:pt x="2885" y="1349"/>
                  </a:lnTo>
                  <a:lnTo>
                    <a:pt x="2888" y="1294"/>
                  </a:lnTo>
                  <a:lnTo>
                    <a:pt x="2870" y="1280"/>
                  </a:lnTo>
                  <a:lnTo>
                    <a:pt x="2843" y="1285"/>
                  </a:lnTo>
                  <a:lnTo>
                    <a:pt x="2814" y="1282"/>
                  </a:lnTo>
                  <a:lnTo>
                    <a:pt x="2800" y="1271"/>
                  </a:lnTo>
                  <a:lnTo>
                    <a:pt x="2773" y="1269"/>
                  </a:lnTo>
                  <a:lnTo>
                    <a:pt x="2754" y="1243"/>
                  </a:lnTo>
                  <a:lnTo>
                    <a:pt x="2720" y="1237"/>
                  </a:lnTo>
                  <a:lnTo>
                    <a:pt x="2702" y="1223"/>
                  </a:lnTo>
                  <a:lnTo>
                    <a:pt x="2697" y="1196"/>
                  </a:lnTo>
                  <a:lnTo>
                    <a:pt x="2689" y="1192"/>
                  </a:lnTo>
                  <a:lnTo>
                    <a:pt x="2680" y="1192"/>
                  </a:lnTo>
                  <a:lnTo>
                    <a:pt x="2661" y="1175"/>
                  </a:lnTo>
                  <a:lnTo>
                    <a:pt x="2622" y="1148"/>
                  </a:lnTo>
                  <a:lnTo>
                    <a:pt x="2608" y="1148"/>
                  </a:lnTo>
                  <a:lnTo>
                    <a:pt x="2598" y="1141"/>
                  </a:lnTo>
                  <a:lnTo>
                    <a:pt x="2573" y="1141"/>
                  </a:lnTo>
                  <a:lnTo>
                    <a:pt x="2542" y="1157"/>
                  </a:lnTo>
                  <a:lnTo>
                    <a:pt x="2539" y="1148"/>
                  </a:lnTo>
                  <a:lnTo>
                    <a:pt x="2547" y="1116"/>
                  </a:lnTo>
                  <a:lnTo>
                    <a:pt x="2532" y="1089"/>
                  </a:lnTo>
                  <a:lnTo>
                    <a:pt x="2523" y="1033"/>
                  </a:lnTo>
                  <a:lnTo>
                    <a:pt x="2506" y="1027"/>
                  </a:lnTo>
                  <a:lnTo>
                    <a:pt x="2485" y="1024"/>
                  </a:lnTo>
                  <a:lnTo>
                    <a:pt x="2462" y="997"/>
                  </a:lnTo>
                  <a:lnTo>
                    <a:pt x="2462" y="954"/>
                  </a:lnTo>
                  <a:lnTo>
                    <a:pt x="2465" y="945"/>
                  </a:lnTo>
                  <a:lnTo>
                    <a:pt x="2467" y="881"/>
                  </a:lnTo>
                  <a:lnTo>
                    <a:pt x="2485" y="851"/>
                  </a:lnTo>
                  <a:lnTo>
                    <a:pt x="2494" y="805"/>
                  </a:lnTo>
                  <a:lnTo>
                    <a:pt x="2508" y="789"/>
                  </a:lnTo>
                  <a:lnTo>
                    <a:pt x="2510" y="766"/>
                  </a:lnTo>
                  <a:lnTo>
                    <a:pt x="2525" y="764"/>
                  </a:lnTo>
                  <a:lnTo>
                    <a:pt x="2534" y="738"/>
                  </a:lnTo>
                  <a:lnTo>
                    <a:pt x="2553" y="727"/>
                  </a:lnTo>
                  <a:lnTo>
                    <a:pt x="2547" y="696"/>
                  </a:lnTo>
                  <a:lnTo>
                    <a:pt x="2555" y="684"/>
                  </a:lnTo>
                  <a:lnTo>
                    <a:pt x="2563" y="693"/>
                  </a:lnTo>
                  <a:lnTo>
                    <a:pt x="2576" y="693"/>
                  </a:lnTo>
                  <a:lnTo>
                    <a:pt x="2603" y="682"/>
                  </a:lnTo>
                  <a:lnTo>
                    <a:pt x="2603" y="665"/>
                  </a:lnTo>
                  <a:lnTo>
                    <a:pt x="2592" y="645"/>
                  </a:lnTo>
                  <a:lnTo>
                    <a:pt x="2573" y="629"/>
                  </a:lnTo>
                  <a:lnTo>
                    <a:pt x="2587" y="623"/>
                  </a:lnTo>
                  <a:lnTo>
                    <a:pt x="2598" y="629"/>
                  </a:lnTo>
                  <a:lnTo>
                    <a:pt x="2621" y="626"/>
                  </a:lnTo>
                  <a:lnTo>
                    <a:pt x="2637" y="597"/>
                  </a:lnTo>
                  <a:lnTo>
                    <a:pt x="2649" y="611"/>
                  </a:lnTo>
                  <a:lnTo>
                    <a:pt x="2673" y="609"/>
                  </a:lnTo>
                  <a:lnTo>
                    <a:pt x="2689" y="581"/>
                  </a:lnTo>
                  <a:lnTo>
                    <a:pt x="2709" y="558"/>
                  </a:lnTo>
                  <a:lnTo>
                    <a:pt x="2712" y="542"/>
                  </a:lnTo>
                  <a:lnTo>
                    <a:pt x="2718" y="510"/>
                  </a:lnTo>
                  <a:lnTo>
                    <a:pt x="2712" y="494"/>
                  </a:lnTo>
                  <a:lnTo>
                    <a:pt x="2702" y="485"/>
                  </a:lnTo>
                  <a:lnTo>
                    <a:pt x="2668" y="483"/>
                  </a:lnTo>
                  <a:lnTo>
                    <a:pt x="2635" y="446"/>
                  </a:lnTo>
                  <a:lnTo>
                    <a:pt x="2621" y="435"/>
                  </a:lnTo>
                  <a:lnTo>
                    <a:pt x="2630" y="426"/>
                  </a:lnTo>
                  <a:lnTo>
                    <a:pt x="2659" y="437"/>
                  </a:lnTo>
                  <a:lnTo>
                    <a:pt x="2685" y="466"/>
                  </a:lnTo>
                  <a:lnTo>
                    <a:pt x="2715" y="471"/>
                  </a:lnTo>
                  <a:lnTo>
                    <a:pt x="2734" y="446"/>
                  </a:lnTo>
                  <a:lnTo>
                    <a:pt x="2763" y="421"/>
                  </a:lnTo>
                  <a:lnTo>
                    <a:pt x="2766" y="393"/>
                  </a:lnTo>
                  <a:lnTo>
                    <a:pt x="2749" y="390"/>
                  </a:lnTo>
                  <a:lnTo>
                    <a:pt x="2739" y="380"/>
                  </a:lnTo>
                  <a:lnTo>
                    <a:pt x="2742" y="364"/>
                  </a:lnTo>
                  <a:lnTo>
                    <a:pt x="2768" y="362"/>
                  </a:lnTo>
                  <a:lnTo>
                    <a:pt x="2778" y="382"/>
                  </a:lnTo>
                  <a:lnTo>
                    <a:pt x="2792" y="390"/>
                  </a:lnTo>
                  <a:lnTo>
                    <a:pt x="2806" y="393"/>
                  </a:lnTo>
                  <a:lnTo>
                    <a:pt x="2828" y="382"/>
                  </a:lnTo>
                  <a:lnTo>
                    <a:pt x="2825" y="368"/>
                  </a:lnTo>
                  <a:lnTo>
                    <a:pt x="2804" y="349"/>
                  </a:lnTo>
                  <a:lnTo>
                    <a:pt x="2797" y="342"/>
                  </a:lnTo>
                  <a:lnTo>
                    <a:pt x="2806" y="335"/>
                  </a:lnTo>
                  <a:lnTo>
                    <a:pt x="2821" y="339"/>
                  </a:lnTo>
                  <a:lnTo>
                    <a:pt x="2830" y="347"/>
                  </a:lnTo>
                  <a:lnTo>
                    <a:pt x="2843" y="364"/>
                  </a:lnTo>
                  <a:lnTo>
                    <a:pt x="2862" y="368"/>
                  </a:lnTo>
                  <a:lnTo>
                    <a:pt x="2875" y="357"/>
                  </a:lnTo>
                  <a:lnTo>
                    <a:pt x="2902" y="344"/>
                  </a:lnTo>
                  <a:lnTo>
                    <a:pt x="2904" y="330"/>
                  </a:lnTo>
                  <a:lnTo>
                    <a:pt x="2923" y="301"/>
                  </a:lnTo>
                  <a:lnTo>
                    <a:pt x="2904" y="276"/>
                  </a:lnTo>
                  <a:lnTo>
                    <a:pt x="2890" y="270"/>
                  </a:lnTo>
                  <a:lnTo>
                    <a:pt x="2880" y="250"/>
                  </a:lnTo>
                  <a:lnTo>
                    <a:pt x="2890" y="246"/>
                  </a:lnTo>
                  <a:lnTo>
                    <a:pt x="2909" y="245"/>
                  </a:lnTo>
                  <a:lnTo>
                    <a:pt x="2914" y="228"/>
                  </a:lnTo>
                  <a:lnTo>
                    <a:pt x="2899" y="216"/>
                  </a:lnTo>
                  <a:lnTo>
                    <a:pt x="2912" y="201"/>
                  </a:lnTo>
                  <a:lnTo>
                    <a:pt x="2909" y="187"/>
                  </a:lnTo>
                  <a:lnTo>
                    <a:pt x="2893" y="187"/>
                  </a:lnTo>
                  <a:lnTo>
                    <a:pt x="2880" y="181"/>
                  </a:lnTo>
                  <a:lnTo>
                    <a:pt x="2875" y="170"/>
                  </a:lnTo>
                  <a:lnTo>
                    <a:pt x="2885" y="165"/>
                  </a:lnTo>
                  <a:lnTo>
                    <a:pt x="2875" y="159"/>
                  </a:lnTo>
                  <a:lnTo>
                    <a:pt x="2845" y="159"/>
                  </a:lnTo>
                  <a:lnTo>
                    <a:pt x="2828" y="155"/>
                  </a:lnTo>
                  <a:lnTo>
                    <a:pt x="2814" y="147"/>
                  </a:lnTo>
                  <a:lnTo>
                    <a:pt x="2790" y="150"/>
                  </a:lnTo>
                  <a:lnTo>
                    <a:pt x="2785" y="155"/>
                  </a:lnTo>
                  <a:lnTo>
                    <a:pt x="2782" y="196"/>
                  </a:lnTo>
                  <a:lnTo>
                    <a:pt x="2792" y="201"/>
                  </a:lnTo>
                  <a:lnTo>
                    <a:pt x="2790" y="211"/>
                  </a:lnTo>
                  <a:lnTo>
                    <a:pt x="2773" y="223"/>
                  </a:lnTo>
                  <a:lnTo>
                    <a:pt x="2771" y="241"/>
                  </a:lnTo>
                  <a:lnTo>
                    <a:pt x="2761" y="266"/>
                  </a:lnTo>
                  <a:lnTo>
                    <a:pt x="2747" y="289"/>
                  </a:lnTo>
                  <a:lnTo>
                    <a:pt x="2739" y="301"/>
                  </a:lnTo>
                  <a:lnTo>
                    <a:pt x="2723" y="306"/>
                  </a:lnTo>
                  <a:lnTo>
                    <a:pt x="2720" y="322"/>
                  </a:lnTo>
                  <a:lnTo>
                    <a:pt x="2713" y="322"/>
                  </a:lnTo>
                  <a:lnTo>
                    <a:pt x="2683" y="290"/>
                  </a:lnTo>
                  <a:lnTo>
                    <a:pt x="2685" y="254"/>
                  </a:lnTo>
                  <a:lnTo>
                    <a:pt x="2704" y="251"/>
                  </a:lnTo>
                  <a:lnTo>
                    <a:pt x="2702" y="238"/>
                  </a:lnTo>
                  <a:lnTo>
                    <a:pt x="2691" y="223"/>
                  </a:lnTo>
                  <a:lnTo>
                    <a:pt x="2661" y="203"/>
                  </a:lnTo>
                  <a:lnTo>
                    <a:pt x="2654" y="194"/>
                  </a:lnTo>
                  <a:lnTo>
                    <a:pt x="2635" y="206"/>
                  </a:lnTo>
                  <a:lnTo>
                    <a:pt x="2635" y="223"/>
                  </a:lnTo>
                  <a:lnTo>
                    <a:pt x="2630" y="245"/>
                  </a:lnTo>
                  <a:lnTo>
                    <a:pt x="2618" y="250"/>
                  </a:lnTo>
                  <a:lnTo>
                    <a:pt x="2608" y="243"/>
                  </a:lnTo>
                  <a:lnTo>
                    <a:pt x="2608" y="209"/>
                  </a:lnTo>
                  <a:lnTo>
                    <a:pt x="2584" y="191"/>
                  </a:lnTo>
                  <a:lnTo>
                    <a:pt x="2589" y="184"/>
                  </a:lnTo>
                  <a:lnTo>
                    <a:pt x="2608" y="184"/>
                  </a:lnTo>
                  <a:lnTo>
                    <a:pt x="2606" y="177"/>
                  </a:lnTo>
                  <a:lnTo>
                    <a:pt x="2587" y="162"/>
                  </a:lnTo>
                  <a:lnTo>
                    <a:pt x="2563" y="169"/>
                  </a:lnTo>
                  <a:lnTo>
                    <a:pt x="2537" y="154"/>
                  </a:lnTo>
                  <a:lnTo>
                    <a:pt x="2547" y="139"/>
                  </a:lnTo>
                  <a:lnTo>
                    <a:pt x="2544" y="130"/>
                  </a:lnTo>
                  <a:lnTo>
                    <a:pt x="2552" y="129"/>
                  </a:lnTo>
                  <a:lnTo>
                    <a:pt x="2571" y="130"/>
                  </a:lnTo>
                  <a:lnTo>
                    <a:pt x="2571" y="115"/>
                  </a:lnTo>
                  <a:lnTo>
                    <a:pt x="2530" y="80"/>
                  </a:lnTo>
                  <a:lnTo>
                    <a:pt x="2528" y="45"/>
                  </a:lnTo>
                  <a:lnTo>
                    <a:pt x="2520" y="38"/>
                  </a:lnTo>
                  <a:lnTo>
                    <a:pt x="2515" y="19"/>
                  </a:lnTo>
                  <a:lnTo>
                    <a:pt x="2501" y="14"/>
                  </a:lnTo>
                  <a:lnTo>
                    <a:pt x="2485" y="12"/>
                  </a:lnTo>
                  <a:lnTo>
                    <a:pt x="2475" y="2"/>
                  </a:lnTo>
                  <a:lnTo>
                    <a:pt x="2461" y="0"/>
                  </a:lnTo>
                  <a:lnTo>
                    <a:pt x="2453" y="12"/>
                  </a:lnTo>
                  <a:lnTo>
                    <a:pt x="2441" y="12"/>
                  </a:lnTo>
                  <a:lnTo>
                    <a:pt x="2432" y="24"/>
                  </a:lnTo>
                  <a:lnTo>
                    <a:pt x="2443" y="33"/>
                  </a:lnTo>
                  <a:lnTo>
                    <a:pt x="2432" y="41"/>
                  </a:lnTo>
                  <a:lnTo>
                    <a:pt x="2422" y="39"/>
                  </a:lnTo>
                  <a:lnTo>
                    <a:pt x="2416" y="43"/>
                  </a:lnTo>
                  <a:lnTo>
                    <a:pt x="2403" y="84"/>
                  </a:lnTo>
                  <a:lnTo>
                    <a:pt x="2416" y="94"/>
                  </a:lnTo>
                  <a:lnTo>
                    <a:pt x="2424" y="94"/>
                  </a:lnTo>
                  <a:lnTo>
                    <a:pt x="2424" y="101"/>
                  </a:lnTo>
                  <a:lnTo>
                    <a:pt x="2411" y="100"/>
                  </a:lnTo>
                  <a:lnTo>
                    <a:pt x="2403" y="129"/>
                  </a:lnTo>
                  <a:lnTo>
                    <a:pt x="2417" y="141"/>
                  </a:lnTo>
                  <a:lnTo>
                    <a:pt x="2437" y="154"/>
                  </a:lnTo>
                  <a:lnTo>
                    <a:pt x="2453" y="155"/>
                  </a:lnTo>
                  <a:lnTo>
                    <a:pt x="2465" y="157"/>
                  </a:lnTo>
                  <a:lnTo>
                    <a:pt x="2467" y="169"/>
                  </a:lnTo>
                  <a:lnTo>
                    <a:pt x="2486" y="172"/>
                  </a:lnTo>
                  <a:lnTo>
                    <a:pt x="2501" y="167"/>
                  </a:lnTo>
                  <a:lnTo>
                    <a:pt x="2504" y="177"/>
                  </a:lnTo>
                  <a:lnTo>
                    <a:pt x="2480" y="187"/>
                  </a:lnTo>
                  <a:lnTo>
                    <a:pt x="2467" y="216"/>
                  </a:lnTo>
                  <a:lnTo>
                    <a:pt x="2480" y="223"/>
                  </a:lnTo>
                  <a:lnTo>
                    <a:pt x="2491" y="216"/>
                  </a:lnTo>
                  <a:lnTo>
                    <a:pt x="2499" y="209"/>
                  </a:lnTo>
                  <a:lnTo>
                    <a:pt x="2506" y="221"/>
                  </a:lnTo>
                  <a:lnTo>
                    <a:pt x="2501" y="238"/>
                  </a:lnTo>
                  <a:lnTo>
                    <a:pt x="2486" y="250"/>
                  </a:lnTo>
                  <a:lnTo>
                    <a:pt x="2472" y="261"/>
                  </a:lnTo>
                  <a:lnTo>
                    <a:pt x="2456" y="261"/>
                  </a:lnTo>
                  <a:lnTo>
                    <a:pt x="2437" y="271"/>
                  </a:lnTo>
                  <a:lnTo>
                    <a:pt x="2435" y="281"/>
                  </a:lnTo>
                  <a:lnTo>
                    <a:pt x="2453" y="301"/>
                  </a:lnTo>
                  <a:lnTo>
                    <a:pt x="2446" y="314"/>
                  </a:lnTo>
                  <a:lnTo>
                    <a:pt x="2417" y="306"/>
                  </a:lnTo>
                  <a:lnTo>
                    <a:pt x="2413" y="285"/>
                  </a:lnTo>
                  <a:lnTo>
                    <a:pt x="2422" y="276"/>
                  </a:lnTo>
                  <a:lnTo>
                    <a:pt x="2422" y="261"/>
                  </a:lnTo>
                  <a:lnTo>
                    <a:pt x="2408" y="259"/>
                  </a:lnTo>
                  <a:lnTo>
                    <a:pt x="2384" y="246"/>
                  </a:lnTo>
                  <a:lnTo>
                    <a:pt x="2368" y="240"/>
                  </a:lnTo>
                  <a:lnTo>
                    <a:pt x="2358" y="245"/>
                  </a:lnTo>
                  <a:lnTo>
                    <a:pt x="2336" y="246"/>
                  </a:lnTo>
                  <a:lnTo>
                    <a:pt x="2327" y="286"/>
                  </a:lnTo>
                  <a:lnTo>
                    <a:pt x="2310" y="285"/>
                  </a:lnTo>
                  <a:lnTo>
                    <a:pt x="2291" y="279"/>
                  </a:lnTo>
                  <a:lnTo>
                    <a:pt x="2253" y="286"/>
                  </a:lnTo>
                  <a:lnTo>
                    <a:pt x="2237" y="281"/>
                  </a:lnTo>
                  <a:lnTo>
                    <a:pt x="2223" y="289"/>
                  </a:lnTo>
                  <a:lnTo>
                    <a:pt x="2191" y="281"/>
                  </a:lnTo>
                  <a:lnTo>
                    <a:pt x="2179" y="266"/>
                  </a:lnTo>
                  <a:lnTo>
                    <a:pt x="2147" y="266"/>
                  </a:lnTo>
                  <a:lnTo>
                    <a:pt x="2134" y="265"/>
                  </a:lnTo>
                  <a:lnTo>
                    <a:pt x="2107" y="245"/>
                  </a:lnTo>
                  <a:lnTo>
                    <a:pt x="2105" y="238"/>
                  </a:lnTo>
                  <a:lnTo>
                    <a:pt x="2098" y="236"/>
                  </a:lnTo>
                  <a:lnTo>
                    <a:pt x="2086" y="240"/>
                  </a:lnTo>
                  <a:lnTo>
                    <a:pt x="2083" y="249"/>
                  </a:lnTo>
                  <a:lnTo>
                    <a:pt x="2057" y="269"/>
                  </a:lnTo>
                  <a:lnTo>
                    <a:pt x="2026" y="270"/>
                  </a:lnTo>
                  <a:lnTo>
                    <a:pt x="2021" y="290"/>
                  </a:lnTo>
                  <a:lnTo>
                    <a:pt x="2033" y="315"/>
                  </a:lnTo>
                  <a:lnTo>
                    <a:pt x="2048" y="327"/>
                  </a:lnTo>
                  <a:lnTo>
                    <a:pt x="2035" y="337"/>
                  </a:lnTo>
                  <a:lnTo>
                    <a:pt x="2035" y="357"/>
                  </a:lnTo>
                  <a:lnTo>
                    <a:pt x="2014" y="344"/>
                  </a:lnTo>
                  <a:lnTo>
                    <a:pt x="2005" y="332"/>
                  </a:lnTo>
                  <a:lnTo>
                    <a:pt x="2016" y="319"/>
                  </a:lnTo>
                  <a:lnTo>
                    <a:pt x="1998" y="301"/>
                  </a:lnTo>
                  <a:lnTo>
                    <a:pt x="1990" y="300"/>
                  </a:lnTo>
                  <a:lnTo>
                    <a:pt x="1976" y="286"/>
                  </a:lnTo>
                  <a:lnTo>
                    <a:pt x="1960" y="280"/>
                  </a:lnTo>
                  <a:lnTo>
                    <a:pt x="1947" y="275"/>
                  </a:lnTo>
                  <a:lnTo>
                    <a:pt x="1902" y="290"/>
                  </a:lnTo>
                  <a:lnTo>
                    <a:pt x="1875" y="291"/>
                  </a:lnTo>
                  <a:lnTo>
                    <a:pt x="1821" y="290"/>
                  </a:lnTo>
                  <a:lnTo>
                    <a:pt x="1805" y="285"/>
                  </a:lnTo>
                  <a:lnTo>
                    <a:pt x="1771" y="284"/>
                  </a:lnTo>
                  <a:lnTo>
                    <a:pt x="1766" y="274"/>
                  </a:lnTo>
                  <a:lnTo>
                    <a:pt x="1773" y="265"/>
                  </a:lnTo>
                  <a:lnTo>
                    <a:pt x="1787" y="260"/>
                  </a:lnTo>
                  <a:lnTo>
                    <a:pt x="1792" y="254"/>
                  </a:lnTo>
                  <a:lnTo>
                    <a:pt x="1819" y="246"/>
                  </a:lnTo>
                  <a:lnTo>
                    <a:pt x="1768" y="206"/>
                  </a:lnTo>
                  <a:lnTo>
                    <a:pt x="1747" y="207"/>
                  </a:lnTo>
                  <a:lnTo>
                    <a:pt x="1742" y="213"/>
                  </a:lnTo>
                  <a:lnTo>
                    <a:pt x="1723" y="213"/>
                  </a:lnTo>
                  <a:lnTo>
                    <a:pt x="1702" y="207"/>
                  </a:lnTo>
                  <a:lnTo>
                    <a:pt x="1685" y="207"/>
                  </a:lnTo>
                  <a:lnTo>
                    <a:pt x="1654" y="191"/>
                  </a:lnTo>
                  <a:lnTo>
                    <a:pt x="1621" y="182"/>
                  </a:lnTo>
                  <a:lnTo>
                    <a:pt x="1606" y="182"/>
                  </a:lnTo>
                  <a:lnTo>
                    <a:pt x="1552" y="149"/>
                  </a:lnTo>
                  <a:lnTo>
                    <a:pt x="1515" y="152"/>
                  </a:lnTo>
                  <a:lnTo>
                    <a:pt x="1515" y="169"/>
                  </a:lnTo>
                  <a:lnTo>
                    <a:pt x="1494" y="186"/>
                  </a:lnTo>
                  <a:lnTo>
                    <a:pt x="1467" y="184"/>
                  </a:lnTo>
                  <a:lnTo>
                    <a:pt x="1466" y="179"/>
                  </a:lnTo>
                  <a:lnTo>
                    <a:pt x="1477" y="165"/>
                  </a:lnTo>
                  <a:lnTo>
                    <a:pt x="1458" y="157"/>
                  </a:lnTo>
                  <a:lnTo>
                    <a:pt x="1463" y="149"/>
                  </a:lnTo>
                  <a:lnTo>
                    <a:pt x="1470" y="145"/>
                  </a:lnTo>
                  <a:lnTo>
                    <a:pt x="1466" y="130"/>
                  </a:lnTo>
                  <a:lnTo>
                    <a:pt x="1440" y="139"/>
                  </a:lnTo>
                  <a:lnTo>
                    <a:pt x="1442" y="165"/>
                  </a:lnTo>
                  <a:lnTo>
                    <a:pt x="1435" y="165"/>
                  </a:lnTo>
                  <a:lnTo>
                    <a:pt x="1432" y="186"/>
                  </a:lnTo>
                  <a:lnTo>
                    <a:pt x="1411" y="181"/>
                  </a:lnTo>
                  <a:lnTo>
                    <a:pt x="1384" y="157"/>
                  </a:lnTo>
                  <a:lnTo>
                    <a:pt x="1384" y="134"/>
                  </a:lnTo>
                  <a:lnTo>
                    <a:pt x="1341" y="100"/>
                  </a:lnTo>
                  <a:lnTo>
                    <a:pt x="1341" y="114"/>
                  </a:lnTo>
                  <a:lnTo>
                    <a:pt x="1351" y="121"/>
                  </a:lnTo>
                  <a:lnTo>
                    <a:pt x="1349" y="126"/>
                  </a:lnTo>
                  <a:lnTo>
                    <a:pt x="1336" y="126"/>
                  </a:lnTo>
                  <a:lnTo>
                    <a:pt x="1336" y="141"/>
                  </a:lnTo>
                  <a:lnTo>
                    <a:pt x="1312" y="155"/>
                  </a:lnTo>
                  <a:lnTo>
                    <a:pt x="1315" y="145"/>
                  </a:lnTo>
                  <a:lnTo>
                    <a:pt x="1299" y="150"/>
                  </a:lnTo>
                  <a:lnTo>
                    <a:pt x="1265" y="162"/>
                  </a:lnTo>
                  <a:lnTo>
                    <a:pt x="1243" y="182"/>
                  </a:lnTo>
                  <a:lnTo>
                    <a:pt x="1237" y="179"/>
                  </a:lnTo>
                  <a:lnTo>
                    <a:pt x="1198" y="202"/>
                  </a:lnTo>
                  <a:lnTo>
                    <a:pt x="1189" y="218"/>
                  </a:lnTo>
                  <a:lnTo>
                    <a:pt x="1168" y="223"/>
                  </a:lnTo>
                  <a:lnTo>
                    <a:pt x="1165" y="209"/>
                  </a:lnTo>
                  <a:lnTo>
                    <a:pt x="1176" y="202"/>
                  </a:lnTo>
                  <a:lnTo>
                    <a:pt x="1174" y="197"/>
                  </a:lnTo>
                  <a:lnTo>
                    <a:pt x="1196" y="191"/>
                  </a:lnTo>
                  <a:lnTo>
                    <a:pt x="1198" y="179"/>
                  </a:lnTo>
                  <a:lnTo>
                    <a:pt x="1227" y="165"/>
                  </a:lnTo>
                  <a:lnTo>
                    <a:pt x="1243" y="165"/>
                  </a:lnTo>
                  <a:lnTo>
                    <a:pt x="1288" y="141"/>
                  </a:lnTo>
                  <a:lnTo>
                    <a:pt x="1288" y="131"/>
                  </a:lnTo>
                  <a:lnTo>
                    <a:pt x="1272" y="135"/>
                  </a:lnTo>
                  <a:lnTo>
                    <a:pt x="1265" y="131"/>
                  </a:lnTo>
                  <a:lnTo>
                    <a:pt x="1246" y="145"/>
                  </a:lnTo>
                  <a:lnTo>
                    <a:pt x="1234" y="145"/>
                  </a:lnTo>
                  <a:lnTo>
                    <a:pt x="1215" y="159"/>
                  </a:lnTo>
                  <a:lnTo>
                    <a:pt x="1198" y="159"/>
                  </a:lnTo>
                  <a:lnTo>
                    <a:pt x="1173" y="172"/>
                  </a:lnTo>
                  <a:lnTo>
                    <a:pt x="1170" y="181"/>
                  </a:lnTo>
                  <a:lnTo>
                    <a:pt x="1146" y="181"/>
                  </a:lnTo>
                  <a:lnTo>
                    <a:pt x="1151" y="172"/>
                  </a:lnTo>
                  <a:lnTo>
                    <a:pt x="1127" y="167"/>
                  </a:lnTo>
                  <a:lnTo>
                    <a:pt x="1107" y="187"/>
                  </a:lnTo>
                  <a:lnTo>
                    <a:pt x="1096" y="187"/>
                  </a:lnTo>
                  <a:lnTo>
                    <a:pt x="1079" y="199"/>
                  </a:lnTo>
                  <a:lnTo>
                    <a:pt x="1083" y="211"/>
                  </a:lnTo>
                  <a:lnTo>
                    <a:pt x="1107" y="220"/>
                  </a:lnTo>
                  <a:lnTo>
                    <a:pt x="1107" y="228"/>
                  </a:lnTo>
                  <a:lnTo>
                    <a:pt x="1098" y="230"/>
                  </a:lnTo>
                  <a:lnTo>
                    <a:pt x="1067" y="225"/>
                  </a:lnTo>
                  <a:lnTo>
                    <a:pt x="1045" y="213"/>
                  </a:lnTo>
                  <a:lnTo>
                    <a:pt x="1019" y="209"/>
                  </a:lnTo>
                  <a:lnTo>
                    <a:pt x="991" y="194"/>
                  </a:lnTo>
                  <a:lnTo>
                    <a:pt x="965" y="174"/>
                  </a:lnTo>
                  <a:lnTo>
                    <a:pt x="926" y="174"/>
                  </a:lnTo>
                  <a:lnTo>
                    <a:pt x="917" y="170"/>
                  </a:lnTo>
                  <a:lnTo>
                    <a:pt x="907" y="170"/>
                  </a:lnTo>
                  <a:lnTo>
                    <a:pt x="869" y="154"/>
                  </a:lnTo>
                  <a:lnTo>
                    <a:pt x="855" y="149"/>
                  </a:lnTo>
                  <a:lnTo>
                    <a:pt x="848" y="141"/>
                  </a:lnTo>
                  <a:lnTo>
                    <a:pt x="816" y="140"/>
                  </a:lnTo>
                  <a:lnTo>
                    <a:pt x="773" y="149"/>
                  </a:lnTo>
                  <a:lnTo>
                    <a:pt x="736" y="134"/>
                  </a:lnTo>
                  <a:lnTo>
                    <a:pt x="712" y="131"/>
                  </a:lnTo>
                  <a:lnTo>
                    <a:pt x="702" y="135"/>
                  </a:lnTo>
                  <a:lnTo>
                    <a:pt x="661" y="126"/>
                  </a:lnTo>
                  <a:lnTo>
                    <a:pt x="637" y="111"/>
                  </a:lnTo>
                  <a:lnTo>
                    <a:pt x="607" y="110"/>
                  </a:lnTo>
                  <a:lnTo>
                    <a:pt x="571" y="115"/>
                  </a:lnTo>
                  <a:lnTo>
                    <a:pt x="547" y="120"/>
                  </a:lnTo>
                  <a:lnTo>
                    <a:pt x="530" y="115"/>
                  </a:lnTo>
                  <a:lnTo>
                    <a:pt x="544" y="105"/>
                  </a:lnTo>
                  <a:lnTo>
                    <a:pt x="511" y="96"/>
                  </a:lnTo>
                  <a:lnTo>
                    <a:pt x="520" y="84"/>
                  </a:lnTo>
                  <a:lnTo>
                    <a:pt x="490" y="84"/>
                  </a:lnTo>
                  <a:lnTo>
                    <a:pt x="466" y="91"/>
                  </a:lnTo>
                  <a:lnTo>
                    <a:pt x="440" y="75"/>
                  </a:lnTo>
                  <a:lnTo>
                    <a:pt x="423" y="76"/>
                  </a:lnTo>
                  <a:lnTo>
                    <a:pt x="418" y="89"/>
                  </a:lnTo>
                  <a:lnTo>
                    <a:pt x="406" y="89"/>
                  </a:lnTo>
                  <a:lnTo>
                    <a:pt x="389" y="79"/>
                  </a:lnTo>
                  <a:lnTo>
                    <a:pt x="413" y="65"/>
                  </a:lnTo>
                  <a:lnTo>
                    <a:pt x="399" y="63"/>
                  </a:lnTo>
                  <a:lnTo>
                    <a:pt x="380" y="55"/>
                  </a:lnTo>
                  <a:lnTo>
                    <a:pt x="338" y="86"/>
                  </a:lnTo>
                  <a:lnTo>
                    <a:pt x="301" y="89"/>
                  </a:lnTo>
                  <a:lnTo>
                    <a:pt x="293" y="85"/>
                  </a:lnTo>
                  <a:lnTo>
                    <a:pt x="261" y="105"/>
                  </a:lnTo>
                  <a:lnTo>
                    <a:pt x="227" y="125"/>
                  </a:lnTo>
                  <a:lnTo>
                    <a:pt x="215" y="125"/>
                  </a:lnTo>
                  <a:lnTo>
                    <a:pt x="181" y="139"/>
                  </a:lnTo>
                  <a:lnTo>
                    <a:pt x="165" y="160"/>
                  </a:lnTo>
                  <a:lnTo>
                    <a:pt x="154" y="204"/>
                  </a:lnTo>
                  <a:lnTo>
                    <a:pt x="122" y="225"/>
                  </a:lnTo>
                  <a:lnTo>
                    <a:pt x="53" y="226"/>
                  </a:lnTo>
                  <a:lnTo>
                    <a:pt x="50" y="251"/>
                  </a:lnTo>
                  <a:lnTo>
                    <a:pt x="37" y="255"/>
                  </a:lnTo>
                  <a:lnTo>
                    <a:pt x="53" y="265"/>
                  </a:lnTo>
                  <a:lnTo>
                    <a:pt x="69" y="271"/>
                  </a:lnTo>
                  <a:lnTo>
                    <a:pt x="101" y="286"/>
                  </a:lnTo>
                  <a:lnTo>
                    <a:pt x="132" y="312"/>
                  </a:lnTo>
                  <a:lnTo>
                    <a:pt x="133" y="335"/>
                  </a:lnTo>
                  <a:lnTo>
                    <a:pt x="149" y="339"/>
                  </a:lnTo>
                  <a:lnTo>
                    <a:pt x="162" y="340"/>
                  </a:lnTo>
                  <a:lnTo>
                    <a:pt x="194" y="340"/>
                  </a:lnTo>
                  <a:lnTo>
                    <a:pt x="203" y="339"/>
                  </a:lnTo>
                  <a:lnTo>
                    <a:pt x="215" y="344"/>
                  </a:lnTo>
                  <a:lnTo>
                    <a:pt x="210" y="352"/>
                  </a:lnTo>
                  <a:lnTo>
                    <a:pt x="202" y="364"/>
                  </a:lnTo>
                  <a:lnTo>
                    <a:pt x="223" y="382"/>
                  </a:lnTo>
                  <a:lnTo>
                    <a:pt x="242" y="371"/>
                  </a:lnTo>
                  <a:lnTo>
                    <a:pt x="270" y="368"/>
                  </a:lnTo>
                  <a:lnTo>
                    <a:pt x="280" y="382"/>
                  </a:lnTo>
                  <a:lnTo>
                    <a:pt x="270" y="390"/>
                  </a:lnTo>
                  <a:lnTo>
                    <a:pt x="237" y="396"/>
                  </a:lnTo>
                  <a:lnTo>
                    <a:pt x="229" y="421"/>
                  </a:lnTo>
                  <a:lnTo>
                    <a:pt x="215" y="421"/>
                  </a:lnTo>
                  <a:lnTo>
                    <a:pt x="202" y="435"/>
                  </a:lnTo>
                  <a:lnTo>
                    <a:pt x="162" y="421"/>
                  </a:lnTo>
                  <a:lnTo>
                    <a:pt x="130" y="426"/>
                  </a:lnTo>
                  <a:lnTo>
                    <a:pt x="132" y="410"/>
                  </a:lnTo>
                  <a:lnTo>
                    <a:pt x="133" y="390"/>
                  </a:lnTo>
                  <a:lnTo>
                    <a:pt x="103" y="393"/>
                  </a:lnTo>
                  <a:lnTo>
                    <a:pt x="74" y="401"/>
                  </a:lnTo>
                  <a:lnTo>
                    <a:pt x="65" y="419"/>
                  </a:lnTo>
                  <a:lnTo>
                    <a:pt x="42" y="421"/>
                  </a:lnTo>
                  <a:lnTo>
                    <a:pt x="34" y="444"/>
                  </a:lnTo>
                  <a:lnTo>
                    <a:pt x="21" y="449"/>
                  </a:lnTo>
                  <a:lnTo>
                    <a:pt x="0" y="474"/>
                  </a:lnTo>
                  <a:lnTo>
                    <a:pt x="20" y="494"/>
                  </a:lnTo>
                  <a:lnTo>
                    <a:pt x="31" y="494"/>
                  </a:lnTo>
                  <a:lnTo>
                    <a:pt x="53" y="497"/>
                  </a:lnTo>
                  <a:lnTo>
                    <a:pt x="63" y="508"/>
                  </a:lnTo>
                  <a:lnTo>
                    <a:pt x="53" y="513"/>
                  </a:lnTo>
                  <a:lnTo>
                    <a:pt x="31" y="513"/>
                  </a:lnTo>
                  <a:lnTo>
                    <a:pt x="63" y="567"/>
                  </a:lnTo>
                  <a:lnTo>
                    <a:pt x="96" y="567"/>
                  </a:lnTo>
                  <a:lnTo>
                    <a:pt x="120" y="558"/>
                  </a:lnTo>
                  <a:lnTo>
                    <a:pt x="139" y="570"/>
                  </a:lnTo>
                  <a:lnTo>
                    <a:pt x="170" y="572"/>
                  </a:lnTo>
                  <a:lnTo>
                    <a:pt x="181" y="553"/>
                  </a:lnTo>
                  <a:lnTo>
                    <a:pt x="202" y="547"/>
                  </a:lnTo>
                  <a:lnTo>
                    <a:pt x="213" y="533"/>
                  </a:lnTo>
                  <a:lnTo>
                    <a:pt x="242" y="544"/>
                  </a:lnTo>
                  <a:lnTo>
                    <a:pt x="242" y="567"/>
                  </a:lnTo>
                  <a:lnTo>
                    <a:pt x="223" y="567"/>
                  </a:lnTo>
                  <a:lnTo>
                    <a:pt x="220" y="575"/>
                  </a:lnTo>
                  <a:lnTo>
                    <a:pt x="242" y="604"/>
                  </a:lnTo>
                  <a:lnTo>
                    <a:pt x="244" y="634"/>
                  </a:lnTo>
                  <a:lnTo>
                    <a:pt x="213" y="679"/>
                  </a:lnTo>
                  <a:lnTo>
                    <a:pt x="194" y="670"/>
                  </a:lnTo>
                  <a:lnTo>
                    <a:pt x="173" y="682"/>
                  </a:lnTo>
                  <a:lnTo>
                    <a:pt x="141" y="698"/>
                  </a:lnTo>
                  <a:lnTo>
                    <a:pt x="127" y="682"/>
                  </a:lnTo>
                  <a:lnTo>
                    <a:pt x="103" y="718"/>
                  </a:lnTo>
                  <a:lnTo>
                    <a:pt x="98" y="749"/>
                  </a:lnTo>
                  <a:lnTo>
                    <a:pt x="87" y="757"/>
                  </a:lnTo>
                  <a:lnTo>
                    <a:pt x="69" y="805"/>
                  </a:lnTo>
                  <a:lnTo>
                    <a:pt x="63" y="814"/>
                  </a:lnTo>
                  <a:lnTo>
                    <a:pt x="67" y="839"/>
                  </a:lnTo>
                  <a:lnTo>
                    <a:pt x="82" y="864"/>
                  </a:lnTo>
                  <a:lnTo>
                    <a:pt x="91" y="862"/>
                  </a:lnTo>
                  <a:lnTo>
                    <a:pt x="98" y="873"/>
                  </a:lnTo>
                  <a:lnTo>
                    <a:pt x="91" y="903"/>
                  </a:lnTo>
                  <a:lnTo>
                    <a:pt x="77" y="906"/>
                  </a:lnTo>
                  <a:lnTo>
                    <a:pt x="130" y="963"/>
                  </a:lnTo>
                  <a:lnTo>
                    <a:pt x="154" y="960"/>
                  </a:lnTo>
                  <a:lnTo>
                    <a:pt x="179" y="951"/>
                  </a:lnTo>
                  <a:lnTo>
                    <a:pt x="181" y="935"/>
                  </a:lnTo>
                  <a:lnTo>
                    <a:pt x="190" y="931"/>
                  </a:lnTo>
                  <a:lnTo>
                    <a:pt x="190" y="956"/>
                  </a:lnTo>
                  <a:lnTo>
                    <a:pt x="196" y="983"/>
                  </a:lnTo>
                  <a:lnTo>
                    <a:pt x="203" y="1024"/>
                  </a:lnTo>
                  <a:lnTo>
                    <a:pt x="196" y="1055"/>
                  </a:lnTo>
                  <a:lnTo>
                    <a:pt x="217" y="1047"/>
                  </a:lnTo>
                  <a:lnTo>
                    <a:pt x="251" y="1024"/>
                  </a:lnTo>
                  <a:lnTo>
                    <a:pt x="263" y="1036"/>
                  </a:lnTo>
                  <a:lnTo>
                    <a:pt x="277" y="1039"/>
                  </a:lnTo>
                  <a:lnTo>
                    <a:pt x="290" y="1061"/>
                  </a:lnTo>
                  <a:lnTo>
                    <a:pt x="298" y="1065"/>
                  </a:lnTo>
                  <a:lnTo>
                    <a:pt x="309" y="1032"/>
                  </a:lnTo>
                  <a:lnTo>
                    <a:pt x="324" y="1043"/>
                  </a:lnTo>
                  <a:lnTo>
                    <a:pt x="334" y="1047"/>
                  </a:lnTo>
                  <a:lnTo>
                    <a:pt x="350" y="1043"/>
                  </a:lnTo>
                  <a:lnTo>
                    <a:pt x="365" y="1028"/>
                  </a:lnTo>
                  <a:lnTo>
                    <a:pt x="369" y="1043"/>
                  </a:lnTo>
                  <a:lnTo>
                    <a:pt x="350" y="1099"/>
                  </a:lnTo>
                  <a:lnTo>
                    <a:pt x="350" y="1136"/>
                  </a:lnTo>
                  <a:lnTo>
                    <a:pt x="324" y="1148"/>
                  </a:lnTo>
                  <a:lnTo>
                    <a:pt x="302" y="1182"/>
                  </a:lnTo>
                  <a:lnTo>
                    <a:pt x="270" y="1207"/>
                  </a:lnTo>
                  <a:lnTo>
                    <a:pt x="256" y="1226"/>
                  </a:lnTo>
                  <a:lnTo>
                    <a:pt x="251" y="1248"/>
                  </a:lnTo>
                  <a:lnTo>
                    <a:pt x="242" y="1254"/>
                  </a:lnTo>
                  <a:lnTo>
                    <a:pt x="227" y="1246"/>
                  </a:lnTo>
                  <a:lnTo>
                    <a:pt x="205" y="1251"/>
                  </a:lnTo>
                  <a:lnTo>
                    <a:pt x="179" y="1276"/>
                  </a:lnTo>
                  <a:lnTo>
                    <a:pt x="165" y="1301"/>
                  </a:lnTo>
                  <a:lnTo>
                    <a:pt x="149" y="1318"/>
                  </a:lnTo>
                  <a:lnTo>
                    <a:pt x="133" y="1314"/>
                  </a:lnTo>
                  <a:lnTo>
                    <a:pt x="113" y="1327"/>
                  </a:lnTo>
                  <a:lnTo>
                    <a:pt x="107" y="1348"/>
                  </a:lnTo>
                  <a:lnTo>
                    <a:pt x="108" y="1359"/>
                  </a:lnTo>
                  <a:lnTo>
                    <a:pt x="133" y="1350"/>
                  </a:lnTo>
                  <a:lnTo>
                    <a:pt x="152" y="1332"/>
                  </a:lnTo>
                  <a:lnTo>
                    <a:pt x="157" y="1319"/>
                  </a:lnTo>
                  <a:lnTo>
                    <a:pt x="168" y="1319"/>
                  </a:lnTo>
                  <a:lnTo>
                    <a:pt x="199" y="1299"/>
                  </a:lnTo>
                  <a:lnTo>
                    <a:pt x="205" y="1274"/>
                  </a:lnTo>
                  <a:lnTo>
                    <a:pt x="215" y="1276"/>
                  </a:lnTo>
                  <a:lnTo>
                    <a:pt x="223" y="1285"/>
                  </a:lnTo>
                  <a:lnTo>
                    <a:pt x="239" y="1285"/>
                  </a:lnTo>
                  <a:lnTo>
                    <a:pt x="272" y="1262"/>
                  </a:lnTo>
                  <a:lnTo>
                    <a:pt x="292" y="1248"/>
                  </a:lnTo>
                  <a:lnTo>
                    <a:pt x="314" y="1240"/>
                  </a:lnTo>
                  <a:lnTo>
                    <a:pt x="315" y="1228"/>
                  </a:lnTo>
                  <a:lnTo>
                    <a:pt x="368" y="1182"/>
                  </a:lnTo>
                  <a:lnTo>
                    <a:pt x="382" y="1167"/>
                  </a:lnTo>
                  <a:lnTo>
                    <a:pt x="382" y="1148"/>
                  </a:lnTo>
                  <a:lnTo>
                    <a:pt x="413" y="1123"/>
                  </a:lnTo>
                  <a:lnTo>
                    <a:pt x="435" y="1102"/>
                  </a:lnTo>
                  <a:lnTo>
                    <a:pt x="461" y="1086"/>
                  </a:lnTo>
                  <a:lnTo>
                    <a:pt x="466" y="1055"/>
                  </a:lnTo>
                  <a:lnTo>
                    <a:pt x="482" y="1049"/>
                  </a:lnTo>
                  <a:lnTo>
                    <a:pt x="480" y="1015"/>
                  </a:lnTo>
                  <a:lnTo>
                    <a:pt x="463" y="1015"/>
                  </a:lnTo>
                  <a:lnTo>
                    <a:pt x="461" y="1002"/>
                  </a:lnTo>
                  <a:lnTo>
                    <a:pt x="477" y="974"/>
                  </a:lnTo>
                  <a:lnTo>
                    <a:pt x="499" y="974"/>
                  </a:lnTo>
                  <a:lnTo>
                    <a:pt x="516" y="951"/>
                  </a:lnTo>
                  <a:lnTo>
                    <a:pt x="511" y="926"/>
                  </a:lnTo>
                  <a:lnTo>
                    <a:pt x="573" y="833"/>
                  </a:lnTo>
                  <a:lnTo>
                    <a:pt x="597" y="837"/>
                  </a:lnTo>
                  <a:lnTo>
                    <a:pt x="608" y="819"/>
                  </a:lnTo>
                  <a:lnTo>
                    <a:pt x="621" y="819"/>
                  </a:lnTo>
                  <a:lnTo>
                    <a:pt x="613" y="862"/>
                  </a:lnTo>
                  <a:lnTo>
                    <a:pt x="592" y="858"/>
                  </a:lnTo>
                  <a:lnTo>
                    <a:pt x="559" y="887"/>
                  </a:lnTo>
                  <a:lnTo>
                    <a:pt x="562" y="903"/>
                  </a:lnTo>
                  <a:lnTo>
                    <a:pt x="542" y="960"/>
                  </a:lnTo>
                  <a:lnTo>
                    <a:pt x="544" y="970"/>
                  </a:lnTo>
                  <a:lnTo>
                    <a:pt x="552" y="968"/>
                  </a:lnTo>
                  <a:lnTo>
                    <a:pt x="559" y="974"/>
                  </a:lnTo>
                  <a:lnTo>
                    <a:pt x="552" y="981"/>
                  </a:lnTo>
                  <a:lnTo>
                    <a:pt x="542" y="988"/>
                  </a:lnTo>
                  <a:lnTo>
                    <a:pt x="538" y="999"/>
                  </a:lnTo>
                  <a:lnTo>
                    <a:pt x="565" y="999"/>
                  </a:lnTo>
                  <a:lnTo>
                    <a:pt x="602" y="974"/>
                  </a:lnTo>
                  <a:lnTo>
                    <a:pt x="618" y="945"/>
                  </a:lnTo>
                  <a:lnTo>
                    <a:pt x="654" y="945"/>
                  </a:lnTo>
                  <a:lnTo>
                    <a:pt x="664" y="912"/>
                  </a:lnTo>
                  <a:lnTo>
                    <a:pt x="659" y="895"/>
                  </a:lnTo>
                  <a:lnTo>
                    <a:pt x="664" y="887"/>
                  </a:lnTo>
                  <a:lnTo>
                    <a:pt x="652" y="881"/>
                  </a:lnTo>
                  <a:lnTo>
                    <a:pt x="676" y="851"/>
                  </a:lnTo>
                  <a:lnTo>
                    <a:pt x="685" y="853"/>
                  </a:lnTo>
                  <a:lnTo>
                    <a:pt x="680" y="869"/>
                  </a:lnTo>
                  <a:lnTo>
                    <a:pt x="695" y="869"/>
                  </a:lnTo>
                  <a:lnTo>
                    <a:pt x="717" y="862"/>
                  </a:lnTo>
                  <a:lnTo>
                    <a:pt x="723" y="881"/>
                  </a:lnTo>
                  <a:lnTo>
                    <a:pt x="757" y="906"/>
                  </a:lnTo>
                  <a:lnTo>
                    <a:pt x="776" y="901"/>
                  </a:lnTo>
                  <a:lnTo>
                    <a:pt x="783" y="908"/>
                  </a:lnTo>
                  <a:lnTo>
                    <a:pt x="788" y="940"/>
                  </a:lnTo>
                  <a:lnTo>
                    <a:pt x="831" y="940"/>
                  </a:lnTo>
                  <a:lnTo>
                    <a:pt x="850" y="942"/>
                  </a:lnTo>
                  <a:lnTo>
                    <a:pt x="861" y="949"/>
                  </a:lnTo>
                  <a:lnTo>
                    <a:pt x="895" y="949"/>
                  </a:lnTo>
                  <a:lnTo>
                    <a:pt x="902" y="956"/>
                  </a:lnTo>
                  <a:lnTo>
                    <a:pt x="936" y="965"/>
                  </a:lnTo>
                  <a:lnTo>
                    <a:pt x="955" y="951"/>
                  </a:lnTo>
                  <a:lnTo>
                    <a:pt x="957" y="988"/>
                  </a:lnTo>
                  <a:lnTo>
                    <a:pt x="1000" y="1007"/>
                  </a:lnTo>
                  <a:lnTo>
                    <a:pt x="1010" y="1038"/>
                  </a:lnTo>
                  <a:lnTo>
                    <a:pt x="1031" y="1066"/>
                  </a:lnTo>
                  <a:lnTo>
                    <a:pt x="1072" y="1063"/>
                  </a:lnTo>
                  <a:lnTo>
                    <a:pt x="1060" y="1047"/>
                  </a:lnTo>
                  <a:lnTo>
                    <a:pt x="1062" y="1038"/>
                  </a:lnTo>
                  <a:lnTo>
                    <a:pt x="1074" y="1038"/>
                  </a:lnTo>
                  <a:lnTo>
                    <a:pt x="1088" y="1058"/>
                  </a:lnTo>
                  <a:lnTo>
                    <a:pt x="1096" y="1058"/>
                  </a:lnTo>
                  <a:lnTo>
                    <a:pt x="1103" y="1024"/>
                  </a:lnTo>
                  <a:lnTo>
                    <a:pt x="1112" y="1052"/>
                  </a:lnTo>
                  <a:lnTo>
                    <a:pt x="1127" y="1058"/>
                  </a:lnTo>
                  <a:lnTo>
                    <a:pt x="1141" y="1068"/>
                  </a:lnTo>
                  <a:lnTo>
                    <a:pt x="1160" y="1123"/>
                  </a:lnTo>
                  <a:lnTo>
                    <a:pt x="1165" y="1159"/>
                  </a:lnTo>
                  <a:lnTo>
                    <a:pt x="1181" y="1178"/>
                  </a:lnTo>
                  <a:lnTo>
                    <a:pt x="1194" y="1187"/>
                  </a:lnTo>
                  <a:lnTo>
                    <a:pt x="1196" y="1221"/>
                  </a:lnTo>
                  <a:lnTo>
                    <a:pt x="1208" y="1243"/>
                  </a:lnTo>
                  <a:lnTo>
                    <a:pt x="1210" y="1262"/>
                  </a:lnTo>
                  <a:lnTo>
                    <a:pt x="1218" y="1265"/>
                  </a:lnTo>
                  <a:lnTo>
                    <a:pt x="1222" y="1280"/>
                  </a:lnTo>
                  <a:lnTo>
                    <a:pt x="1243" y="1285"/>
                  </a:lnTo>
                  <a:lnTo>
                    <a:pt x="1248" y="1315"/>
                  </a:lnTo>
                  <a:lnTo>
                    <a:pt x="1256" y="1315"/>
                  </a:lnTo>
                  <a:lnTo>
                    <a:pt x="1270" y="1319"/>
                  </a:lnTo>
                  <a:lnTo>
                    <a:pt x="1267" y="1344"/>
                  </a:lnTo>
                  <a:lnTo>
                    <a:pt x="1272" y="1377"/>
                  </a:lnTo>
                  <a:lnTo>
                    <a:pt x="1280" y="1400"/>
                  </a:lnTo>
                  <a:lnTo>
                    <a:pt x="1293" y="1411"/>
                  </a:lnTo>
                  <a:lnTo>
                    <a:pt x="1301" y="1400"/>
                  </a:lnTo>
                  <a:lnTo>
                    <a:pt x="1310" y="1397"/>
                  </a:lnTo>
                  <a:lnTo>
                    <a:pt x="1312" y="1425"/>
                  </a:lnTo>
                  <a:lnTo>
                    <a:pt x="1304" y="1434"/>
                  </a:lnTo>
                  <a:lnTo>
                    <a:pt x="1304" y="1454"/>
                  </a:lnTo>
                  <a:lnTo>
                    <a:pt x="1320" y="1459"/>
                  </a:lnTo>
                  <a:lnTo>
                    <a:pt x="1336" y="1454"/>
                  </a:lnTo>
                  <a:lnTo>
                    <a:pt x="1341" y="1473"/>
                  </a:lnTo>
                  <a:lnTo>
                    <a:pt x="1349" y="1490"/>
                  </a:lnTo>
                  <a:lnTo>
                    <a:pt x="1346" y="1520"/>
                  </a:lnTo>
                  <a:lnTo>
                    <a:pt x="1351" y="1552"/>
                  </a:lnTo>
                  <a:lnTo>
                    <a:pt x="1368" y="1562"/>
                  </a:lnTo>
                  <a:lnTo>
                    <a:pt x="1399" y="1571"/>
                  </a:lnTo>
                  <a:lnTo>
                    <a:pt x="1411" y="1594"/>
                  </a:lnTo>
                  <a:lnTo>
                    <a:pt x="1435" y="1594"/>
                  </a:lnTo>
                  <a:lnTo>
                    <a:pt x="1448" y="1602"/>
                  </a:lnTo>
                  <a:lnTo>
                    <a:pt x="1461" y="1628"/>
                  </a:lnTo>
                  <a:lnTo>
                    <a:pt x="1480" y="1633"/>
                  </a:lnTo>
                  <a:lnTo>
                    <a:pt x="1487" y="1655"/>
                  </a:lnTo>
                  <a:lnTo>
                    <a:pt x="1499" y="1655"/>
                  </a:lnTo>
                  <a:lnTo>
                    <a:pt x="1518" y="1685"/>
                  </a:lnTo>
                  <a:lnTo>
                    <a:pt x="1535" y="1697"/>
                  </a:lnTo>
                  <a:lnTo>
                    <a:pt x="1538" y="1733"/>
                  </a:lnTo>
                  <a:lnTo>
                    <a:pt x="1547" y="1759"/>
                  </a:lnTo>
                  <a:lnTo>
                    <a:pt x="1542" y="1784"/>
                  </a:lnTo>
                  <a:lnTo>
                    <a:pt x="1530" y="1784"/>
                  </a:lnTo>
                  <a:lnTo>
                    <a:pt x="1535" y="1740"/>
                  </a:lnTo>
                  <a:lnTo>
                    <a:pt x="1499" y="1742"/>
                  </a:lnTo>
                  <a:lnTo>
                    <a:pt x="1477" y="1733"/>
                  </a:lnTo>
                  <a:lnTo>
                    <a:pt x="1461" y="1733"/>
                  </a:lnTo>
                  <a:lnTo>
                    <a:pt x="1456" y="1748"/>
                  </a:lnTo>
                  <a:lnTo>
                    <a:pt x="1480" y="1799"/>
                  </a:lnTo>
                  <a:lnTo>
                    <a:pt x="1485" y="1843"/>
                  </a:lnTo>
                  <a:lnTo>
                    <a:pt x="1477" y="1891"/>
                  </a:lnTo>
                  <a:lnTo>
                    <a:pt x="1480" y="1964"/>
                  </a:lnTo>
                  <a:lnTo>
                    <a:pt x="1463" y="2020"/>
                  </a:lnTo>
                  <a:lnTo>
                    <a:pt x="1467" y="2053"/>
                  </a:lnTo>
                  <a:lnTo>
                    <a:pt x="1480" y="2107"/>
                  </a:lnTo>
                  <a:lnTo>
                    <a:pt x="1477" y="2144"/>
                  </a:lnTo>
                  <a:lnTo>
                    <a:pt x="1472" y="2172"/>
                  </a:lnTo>
                  <a:lnTo>
                    <a:pt x="1485" y="2194"/>
                  </a:lnTo>
                  <a:lnTo>
                    <a:pt x="1487" y="2224"/>
                  </a:lnTo>
                  <a:lnTo>
                    <a:pt x="1511" y="2247"/>
                  </a:lnTo>
                  <a:lnTo>
                    <a:pt x="1518" y="2281"/>
                  </a:lnTo>
                  <a:lnTo>
                    <a:pt x="1539" y="2285"/>
                  </a:lnTo>
                  <a:lnTo>
                    <a:pt x="1545" y="2292"/>
                  </a:lnTo>
                  <a:lnTo>
                    <a:pt x="1539" y="2310"/>
                  </a:lnTo>
                  <a:lnTo>
                    <a:pt x="1544" y="2335"/>
                  </a:lnTo>
                  <a:lnTo>
                    <a:pt x="1555" y="2348"/>
                  </a:lnTo>
                  <a:lnTo>
                    <a:pt x="1557" y="2371"/>
                  </a:lnTo>
                  <a:lnTo>
                    <a:pt x="1569" y="2389"/>
                  </a:lnTo>
                  <a:lnTo>
                    <a:pt x="1592" y="2420"/>
                  </a:lnTo>
                  <a:lnTo>
                    <a:pt x="1598" y="2456"/>
                  </a:lnTo>
                  <a:lnTo>
                    <a:pt x="1616" y="2456"/>
                  </a:lnTo>
                  <a:lnTo>
                    <a:pt x="1635" y="2464"/>
                  </a:lnTo>
                  <a:lnTo>
                    <a:pt x="1649" y="2485"/>
                  </a:lnTo>
                  <a:lnTo>
                    <a:pt x="1659" y="2486"/>
                  </a:lnTo>
                  <a:lnTo>
                    <a:pt x="1670" y="2486"/>
                  </a:lnTo>
                  <a:lnTo>
                    <a:pt x="1695" y="2503"/>
                  </a:lnTo>
                  <a:lnTo>
                    <a:pt x="1707" y="2536"/>
                  </a:lnTo>
                  <a:lnTo>
                    <a:pt x="1715" y="2551"/>
                  </a:lnTo>
                  <a:lnTo>
                    <a:pt x="1719" y="2567"/>
                  </a:lnTo>
                  <a:lnTo>
                    <a:pt x="1725" y="2599"/>
                  </a:lnTo>
                  <a:lnTo>
                    <a:pt x="1761" y="2640"/>
                  </a:lnTo>
                  <a:lnTo>
                    <a:pt x="1766" y="2660"/>
                  </a:lnTo>
                  <a:lnTo>
                    <a:pt x="1778" y="2680"/>
                  </a:lnTo>
                  <a:lnTo>
                    <a:pt x="1787" y="2683"/>
                  </a:lnTo>
                  <a:lnTo>
                    <a:pt x="1815" y="2717"/>
                  </a:lnTo>
                  <a:lnTo>
                    <a:pt x="1816" y="2735"/>
                  </a:lnTo>
                  <a:lnTo>
                    <a:pt x="1817" y="2766"/>
                  </a:lnTo>
                  <a:lnTo>
                    <a:pt x="1817" y="2766"/>
                  </a:lnTo>
                  <a:lnTo>
                    <a:pt x="1814" y="2766"/>
                  </a:lnTo>
                  <a:lnTo>
                    <a:pt x="1804" y="2766"/>
                  </a:lnTo>
                  <a:lnTo>
                    <a:pt x="1793" y="2766"/>
                  </a:lnTo>
                  <a:lnTo>
                    <a:pt x="1793" y="2766"/>
                  </a:lnTo>
                  <a:lnTo>
                    <a:pt x="1791" y="2767"/>
                  </a:lnTo>
                  <a:lnTo>
                    <a:pt x="1791" y="2771"/>
                  </a:lnTo>
                  <a:lnTo>
                    <a:pt x="1792" y="2774"/>
                  </a:lnTo>
                  <a:lnTo>
                    <a:pt x="1792" y="2774"/>
                  </a:lnTo>
                  <a:lnTo>
                    <a:pt x="1824" y="2800"/>
                  </a:lnTo>
                  <a:lnTo>
                    <a:pt x="1845" y="2809"/>
                  </a:lnTo>
                  <a:lnTo>
                    <a:pt x="1869" y="2828"/>
                  </a:lnTo>
                  <a:lnTo>
                    <a:pt x="1882" y="2847"/>
                  </a:lnTo>
                  <a:lnTo>
                    <a:pt x="1888" y="2886"/>
                  </a:lnTo>
                  <a:lnTo>
                    <a:pt x="1906" y="2912"/>
                  </a:lnTo>
                  <a:lnTo>
                    <a:pt x="1919" y="2917"/>
                  </a:lnTo>
                  <a:lnTo>
                    <a:pt x="1948" y="2947"/>
                  </a:lnTo>
                  <a:lnTo>
                    <a:pt x="1951" y="2975"/>
                  </a:lnTo>
                  <a:lnTo>
                    <a:pt x="1969" y="2970"/>
                  </a:lnTo>
                  <a:lnTo>
                    <a:pt x="1969" y="2951"/>
                  </a:lnTo>
                  <a:lnTo>
                    <a:pt x="1961" y="2932"/>
                  </a:lnTo>
                  <a:lnTo>
                    <a:pt x="1948" y="2913"/>
                  </a:lnTo>
                  <a:lnTo>
                    <a:pt x="1936" y="2905"/>
                  </a:lnTo>
                  <a:lnTo>
                    <a:pt x="1930" y="2879"/>
                  </a:lnTo>
                  <a:lnTo>
                    <a:pt x="1918" y="2862"/>
                  </a:lnTo>
                  <a:lnTo>
                    <a:pt x="1913" y="2847"/>
                  </a:lnTo>
                  <a:lnTo>
                    <a:pt x="1904" y="2813"/>
                  </a:lnTo>
                  <a:lnTo>
                    <a:pt x="1869" y="2766"/>
                  </a:lnTo>
                  <a:lnTo>
                    <a:pt x="1865" y="2752"/>
                  </a:lnTo>
                  <a:lnTo>
                    <a:pt x="1851" y="2736"/>
                  </a:lnTo>
                  <a:lnTo>
                    <a:pt x="1851" y="2721"/>
                  </a:lnTo>
                  <a:lnTo>
                    <a:pt x="1802" y="2663"/>
                  </a:lnTo>
                  <a:lnTo>
                    <a:pt x="1797" y="2651"/>
                  </a:lnTo>
                  <a:lnTo>
                    <a:pt x="1791" y="2582"/>
                  </a:lnTo>
                  <a:lnTo>
                    <a:pt x="1797" y="2578"/>
                  </a:lnTo>
                  <a:lnTo>
                    <a:pt x="1809" y="2591"/>
                  </a:lnTo>
                  <a:lnTo>
                    <a:pt x="1822" y="2587"/>
                  </a:lnTo>
                  <a:lnTo>
                    <a:pt x="1829" y="2586"/>
                  </a:lnTo>
                  <a:lnTo>
                    <a:pt x="1834" y="2602"/>
                  </a:lnTo>
                  <a:lnTo>
                    <a:pt x="1845" y="2605"/>
                  </a:lnTo>
                  <a:lnTo>
                    <a:pt x="1851" y="2625"/>
                  </a:lnTo>
                  <a:lnTo>
                    <a:pt x="1846" y="2644"/>
                  </a:lnTo>
                  <a:lnTo>
                    <a:pt x="1860" y="2660"/>
                  </a:lnTo>
                  <a:lnTo>
                    <a:pt x="1867" y="2685"/>
                  </a:lnTo>
                  <a:lnTo>
                    <a:pt x="1883" y="2712"/>
                  </a:lnTo>
                  <a:lnTo>
                    <a:pt x="1893" y="2719"/>
                  </a:lnTo>
                  <a:lnTo>
                    <a:pt x="1911" y="2747"/>
                  </a:lnTo>
                  <a:lnTo>
                    <a:pt x="1935" y="2755"/>
                  </a:lnTo>
                  <a:lnTo>
                    <a:pt x="1936" y="2774"/>
                  </a:lnTo>
                  <a:lnTo>
                    <a:pt x="1957" y="2805"/>
                  </a:lnTo>
                  <a:lnTo>
                    <a:pt x="1971" y="2804"/>
                  </a:lnTo>
                  <a:lnTo>
                    <a:pt x="1984" y="2821"/>
                  </a:lnTo>
                  <a:lnTo>
                    <a:pt x="1975" y="2831"/>
                  </a:lnTo>
                  <a:lnTo>
                    <a:pt x="1974" y="2850"/>
                  </a:lnTo>
                  <a:lnTo>
                    <a:pt x="1992" y="2862"/>
                  </a:lnTo>
                  <a:lnTo>
                    <a:pt x="2010" y="2867"/>
                  </a:lnTo>
                  <a:lnTo>
                    <a:pt x="2020" y="2879"/>
                  </a:lnTo>
                  <a:lnTo>
                    <a:pt x="2025" y="2901"/>
                  </a:lnTo>
                  <a:lnTo>
                    <a:pt x="2040" y="2920"/>
                  </a:lnTo>
                  <a:lnTo>
                    <a:pt x="2048" y="2921"/>
                  </a:lnTo>
                  <a:lnTo>
                    <a:pt x="2062" y="2947"/>
                  </a:lnTo>
                  <a:lnTo>
                    <a:pt x="2094" y="2985"/>
                  </a:lnTo>
                  <a:lnTo>
                    <a:pt x="2098" y="2999"/>
                  </a:lnTo>
                  <a:lnTo>
                    <a:pt x="2112" y="3029"/>
                  </a:lnTo>
                  <a:lnTo>
                    <a:pt x="2108" y="3063"/>
                  </a:lnTo>
                  <a:lnTo>
                    <a:pt x="2100" y="3080"/>
                  </a:lnTo>
                  <a:lnTo>
                    <a:pt x="2107" y="3090"/>
                  </a:lnTo>
                  <a:lnTo>
                    <a:pt x="2108" y="3102"/>
                  </a:lnTo>
                  <a:lnTo>
                    <a:pt x="2128" y="3116"/>
                  </a:lnTo>
                  <a:lnTo>
                    <a:pt x="2144" y="3121"/>
                  </a:lnTo>
                  <a:lnTo>
                    <a:pt x="2159" y="3132"/>
                  </a:lnTo>
                  <a:lnTo>
                    <a:pt x="2166" y="3153"/>
                  </a:lnTo>
                  <a:lnTo>
                    <a:pt x="2185" y="3156"/>
                  </a:lnTo>
                  <a:lnTo>
                    <a:pt x="2204" y="3170"/>
                  </a:lnTo>
                  <a:lnTo>
                    <a:pt x="2225" y="3174"/>
                  </a:lnTo>
                  <a:lnTo>
                    <a:pt x="2241" y="3187"/>
                  </a:lnTo>
                  <a:lnTo>
                    <a:pt x="2258" y="3199"/>
                  </a:lnTo>
                  <a:lnTo>
                    <a:pt x="2270" y="3213"/>
                  </a:lnTo>
                  <a:lnTo>
                    <a:pt x="2286" y="3217"/>
                  </a:lnTo>
                  <a:lnTo>
                    <a:pt x="2293" y="3226"/>
                  </a:lnTo>
                  <a:lnTo>
                    <a:pt x="2319" y="3228"/>
                  </a:lnTo>
                  <a:lnTo>
                    <a:pt x="2340" y="3245"/>
                  </a:lnTo>
                  <a:lnTo>
                    <a:pt x="2349" y="3243"/>
                  </a:lnTo>
                  <a:lnTo>
                    <a:pt x="2367" y="3253"/>
                  </a:lnTo>
                  <a:lnTo>
                    <a:pt x="2384" y="3257"/>
                  </a:lnTo>
                  <a:lnTo>
                    <a:pt x="2394" y="3267"/>
                  </a:lnTo>
                  <a:lnTo>
                    <a:pt x="2428" y="3261"/>
                  </a:lnTo>
                  <a:lnTo>
                    <a:pt x="2465" y="3237"/>
                  </a:lnTo>
                  <a:lnTo>
                    <a:pt x="2475" y="3237"/>
                  </a:lnTo>
                  <a:lnTo>
                    <a:pt x="2482" y="3248"/>
                  </a:lnTo>
                  <a:lnTo>
                    <a:pt x="2506" y="3253"/>
                  </a:lnTo>
                  <a:lnTo>
                    <a:pt x="2510" y="3271"/>
                  </a:lnTo>
                  <a:lnTo>
                    <a:pt x="2543" y="3306"/>
                  </a:lnTo>
                  <a:lnTo>
                    <a:pt x="2559" y="3325"/>
                  </a:lnTo>
                  <a:lnTo>
                    <a:pt x="2620" y="3338"/>
                  </a:lnTo>
                  <a:lnTo>
                    <a:pt x="2673" y="3372"/>
                  </a:lnTo>
                  <a:lnTo>
                    <a:pt x="2686" y="3367"/>
                  </a:lnTo>
                  <a:lnTo>
                    <a:pt x="2695" y="3359"/>
                  </a:lnTo>
                  <a:lnTo>
                    <a:pt x="2707" y="3367"/>
                  </a:lnTo>
                  <a:lnTo>
                    <a:pt x="2708" y="3371"/>
                  </a:lnTo>
                  <a:lnTo>
                    <a:pt x="2705" y="3381"/>
                  </a:lnTo>
                  <a:lnTo>
                    <a:pt x="2724" y="3394"/>
                  </a:lnTo>
                  <a:lnTo>
                    <a:pt x="2747" y="3422"/>
                  </a:lnTo>
                  <a:lnTo>
                    <a:pt x="2766" y="3454"/>
                  </a:lnTo>
                  <a:lnTo>
                    <a:pt x="2767" y="3480"/>
                  </a:lnTo>
                  <a:lnTo>
                    <a:pt x="2791" y="3496"/>
                  </a:lnTo>
                  <a:lnTo>
                    <a:pt x="2801" y="3491"/>
                  </a:lnTo>
                  <a:lnTo>
                    <a:pt x="2816" y="3503"/>
                  </a:lnTo>
                  <a:lnTo>
                    <a:pt x="2830" y="3529"/>
                  </a:lnTo>
                  <a:lnTo>
                    <a:pt x="2855" y="3557"/>
                  </a:lnTo>
                  <a:lnTo>
                    <a:pt x="2869" y="3553"/>
                  </a:lnTo>
                  <a:lnTo>
                    <a:pt x="2897" y="3569"/>
                  </a:lnTo>
                  <a:lnTo>
                    <a:pt x="2898" y="3583"/>
                  </a:lnTo>
                  <a:lnTo>
                    <a:pt x="2917" y="3592"/>
                  </a:lnTo>
                  <a:lnTo>
                    <a:pt x="2928" y="3606"/>
                  </a:lnTo>
                  <a:lnTo>
                    <a:pt x="2952" y="3585"/>
                  </a:lnTo>
                  <a:lnTo>
                    <a:pt x="2946" y="3566"/>
                  </a:lnTo>
                  <a:lnTo>
                    <a:pt x="2951" y="3553"/>
                  </a:lnTo>
                  <a:lnTo>
                    <a:pt x="2965" y="3548"/>
                  </a:lnTo>
                  <a:lnTo>
                    <a:pt x="2982" y="3541"/>
                  </a:lnTo>
                  <a:lnTo>
                    <a:pt x="3001" y="3552"/>
                  </a:lnTo>
                  <a:lnTo>
                    <a:pt x="3009" y="3581"/>
                  </a:lnTo>
                  <a:lnTo>
                    <a:pt x="3024" y="3596"/>
                  </a:lnTo>
                  <a:lnTo>
                    <a:pt x="3030" y="3624"/>
                  </a:lnTo>
                  <a:lnTo>
                    <a:pt x="3030" y="3669"/>
                  </a:lnTo>
                  <a:lnTo>
                    <a:pt x="3035" y="3707"/>
                  </a:lnTo>
                  <a:lnTo>
                    <a:pt x="3039" y="3733"/>
                  </a:lnTo>
                  <a:lnTo>
                    <a:pt x="3025" y="3753"/>
                  </a:lnTo>
                  <a:lnTo>
                    <a:pt x="3025" y="3766"/>
                  </a:lnTo>
                  <a:lnTo>
                    <a:pt x="3015" y="3777"/>
                  </a:lnTo>
                  <a:lnTo>
                    <a:pt x="2998" y="3781"/>
                  </a:lnTo>
                  <a:lnTo>
                    <a:pt x="2982" y="3808"/>
                  </a:lnTo>
                  <a:lnTo>
                    <a:pt x="2981" y="3843"/>
                  </a:lnTo>
                  <a:lnTo>
                    <a:pt x="2967" y="3843"/>
                  </a:lnTo>
                  <a:lnTo>
                    <a:pt x="2953" y="3849"/>
                  </a:lnTo>
                  <a:lnTo>
                    <a:pt x="2940" y="3858"/>
                  </a:lnTo>
                  <a:lnTo>
                    <a:pt x="2940" y="3904"/>
                  </a:lnTo>
                  <a:lnTo>
                    <a:pt x="2923" y="3920"/>
                  </a:lnTo>
                  <a:lnTo>
                    <a:pt x="2923" y="3974"/>
                  </a:lnTo>
                  <a:lnTo>
                    <a:pt x="2935" y="3991"/>
                  </a:lnTo>
                  <a:lnTo>
                    <a:pt x="2948" y="3993"/>
                  </a:lnTo>
                  <a:lnTo>
                    <a:pt x="2957" y="3984"/>
                  </a:lnTo>
                  <a:lnTo>
                    <a:pt x="2961" y="4000"/>
                  </a:lnTo>
                  <a:lnTo>
                    <a:pt x="2958" y="4020"/>
                  </a:lnTo>
                  <a:lnTo>
                    <a:pt x="2941" y="4024"/>
                  </a:lnTo>
                  <a:lnTo>
                    <a:pt x="2923" y="4030"/>
                  </a:lnTo>
                  <a:lnTo>
                    <a:pt x="2922" y="4042"/>
                  </a:lnTo>
                  <a:lnTo>
                    <a:pt x="2907" y="4053"/>
                  </a:lnTo>
                  <a:lnTo>
                    <a:pt x="2912" y="4078"/>
                  </a:lnTo>
                  <a:lnTo>
                    <a:pt x="2907" y="4093"/>
                  </a:lnTo>
                  <a:lnTo>
                    <a:pt x="2917" y="4105"/>
                  </a:lnTo>
                  <a:lnTo>
                    <a:pt x="2917" y="4112"/>
                  </a:lnTo>
                  <a:lnTo>
                    <a:pt x="2907" y="4120"/>
                  </a:lnTo>
                  <a:lnTo>
                    <a:pt x="2923" y="4142"/>
                  </a:lnTo>
                  <a:lnTo>
                    <a:pt x="2942" y="4145"/>
                  </a:lnTo>
                  <a:lnTo>
                    <a:pt x="2966" y="4202"/>
                  </a:lnTo>
                  <a:lnTo>
                    <a:pt x="2987" y="4229"/>
                  </a:lnTo>
                  <a:lnTo>
                    <a:pt x="3003" y="4291"/>
                  </a:lnTo>
                  <a:lnTo>
                    <a:pt x="3021" y="4333"/>
                  </a:lnTo>
                  <a:lnTo>
                    <a:pt x="3024" y="4350"/>
                  </a:lnTo>
                  <a:lnTo>
                    <a:pt x="3040" y="4369"/>
                  </a:lnTo>
                  <a:lnTo>
                    <a:pt x="3043" y="4387"/>
                  </a:lnTo>
                  <a:lnTo>
                    <a:pt x="3064" y="4415"/>
                  </a:lnTo>
                  <a:lnTo>
                    <a:pt x="3062" y="4433"/>
                  </a:lnTo>
                  <a:lnTo>
                    <a:pt x="3069" y="4470"/>
                  </a:lnTo>
                  <a:lnTo>
                    <a:pt x="3093" y="4481"/>
                  </a:lnTo>
                  <a:lnTo>
                    <a:pt x="3100" y="4493"/>
                  </a:lnTo>
                  <a:lnTo>
                    <a:pt x="3134" y="4524"/>
                  </a:lnTo>
                  <a:lnTo>
                    <a:pt x="3157" y="4524"/>
                  </a:lnTo>
                  <a:lnTo>
                    <a:pt x="3190" y="4568"/>
                  </a:lnTo>
                  <a:lnTo>
                    <a:pt x="3214" y="4572"/>
                  </a:lnTo>
                  <a:lnTo>
                    <a:pt x="3265" y="4627"/>
                  </a:lnTo>
                  <a:lnTo>
                    <a:pt x="3262" y="4692"/>
                  </a:lnTo>
                  <a:lnTo>
                    <a:pt x="3272" y="4703"/>
                  </a:lnTo>
                  <a:lnTo>
                    <a:pt x="3265" y="4810"/>
                  </a:lnTo>
                  <a:lnTo>
                    <a:pt x="3253" y="4821"/>
                  </a:lnTo>
                  <a:lnTo>
                    <a:pt x="3257" y="4917"/>
                  </a:lnTo>
                  <a:lnTo>
                    <a:pt x="3251" y="4959"/>
                  </a:lnTo>
                  <a:lnTo>
                    <a:pt x="3224" y="5066"/>
                  </a:lnTo>
                  <a:lnTo>
                    <a:pt x="3229" y="5079"/>
                  </a:lnTo>
                  <a:lnTo>
                    <a:pt x="3231" y="5119"/>
                  </a:lnTo>
                  <a:lnTo>
                    <a:pt x="3217" y="5132"/>
                  </a:lnTo>
                  <a:lnTo>
                    <a:pt x="3227" y="5194"/>
                  </a:lnTo>
                  <a:lnTo>
                    <a:pt x="3227" y="5258"/>
                  </a:lnTo>
                  <a:lnTo>
                    <a:pt x="3209" y="5290"/>
                  </a:lnTo>
                  <a:lnTo>
                    <a:pt x="3198" y="5329"/>
                  </a:lnTo>
                  <a:lnTo>
                    <a:pt x="3190" y="5362"/>
                  </a:lnTo>
                  <a:lnTo>
                    <a:pt x="3179" y="5388"/>
                  </a:lnTo>
                  <a:lnTo>
                    <a:pt x="3166" y="5411"/>
                  </a:lnTo>
                  <a:lnTo>
                    <a:pt x="3164" y="5442"/>
                  </a:lnTo>
                  <a:lnTo>
                    <a:pt x="3151" y="5450"/>
                  </a:lnTo>
                  <a:lnTo>
                    <a:pt x="3151" y="5494"/>
                  </a:lnTo>
                  <a:lnTo>
                    <a:pt x="3163" y="5535"/>
                  </a:lnTo>
                  <a:lnTo>
                    <a:pt x="3160" y="5578"/>
                  </a:lnTo>
                  <a:lnTo>
                    <a:pt x="3149" y="5596"/>
                  </a:lnTo>
                  <a:lnTo>
                    <a:pt x="3145" y="5636"/>
                  </a:lnTo>
                  <a:lnTo>
                    <a:pt x="3135" y="5665"/>
                  </a:lnTo>
                  <a:lnTo>
                    <a:pt x="3159" y="5693"/>
                  </a:lnTo>
                  <a:lnTo>
                    <a:pt x="3175" y="5681"/>
                  </a:lnTo>
                  <a:lnTo>
                    <a:pt x="3184" y="5685"/>
                  </a:lnTo>
                  <a:lnTo>
                    <a:pt x="3181" y="5700"/>
                  </a:lnTo>
                  <a:lnTo>
                    <a:pt x="3185" y="5723"/>
                  </a:lnTo>
                  <a:lnTo>
                    <a:pt x="3176" y="5736"/>
                  </a:lnTo>
                  <a:lnTo>
                    <a:pt x="3179" y="5777"/>
                  </a:lnTo>
                  <a:lnTo>
                    <a:pt x="3164" y="5809"/>
                  </a:lnTo>
                  <a:lnTo>
                    <a:pt x="3169" y="5831"/>
                  </a:lnTo>
                  <a:lnTo>
                    <a:pt x="3181" y="5839"/>
                  </a:lnTo>
                  <a:lnTo>
                    <a:pt x="3183" y="5851"/>
                  </a:lnTo>
                  <a:lnTo>
                    <a:pt x="3170" y="5862"/>
                  </a:lnTo>
                  <a:lnTo>
                    <a:pt x="3170" y="5884"/>
                  </a:lnTo>
                  <a:lnTo>
                    <a:pt x="3159" y="5889"/>
                  </a:lnTo>
                  <a:lnTo>
                    <a:pt x="3151" y="5898"/>
                  </a:lnTo>
                  <a:lnTo>
                    <a:pt x="3152" y="5921"/>
                  </a:lnTo>
                  <a:lnTo>
                    <a:pt x="3142" y="5941"/>
                  </a:lnTo>
                  <a:lnTo>
                    <a:pt x="3134" y="5945"/>
                  </a:lnTo>
                  <a:lnTo>
                    <a:pt x="3130" y="5932"/>
                  </a:lnTo>
                  <a:lnTo>
                    <a:pt x="3130" y="5911"/>
                  </a:lnTo>
                  <a:lnTo>
                    <a:pt x="3108" y="5904"/>
                  </a:lnTo>
                  <a:lnTo>
                    <a:pt x="3105" y="5926"/>
                  </a:lnTo>
                  <a:lnTo>
                    <a:pt x="3087" y="5943"/>
                  </a:lnTo>
                  <a:lnTo>
                    <a:pt x="3087" y="5950"/>
                  </a:lnTo>
                  <a:lnTo>
                    <a:pt x="3106" y="5946"/>
                  </a:lnTo>
                  <a:lnTo>
                    <a:pt x="3112" y="5952"/>
                  </a:lnTo>
                  <a:lnTo>
                    <a:pt x="3130" y="5957"/>
                  </a:lnTo>
                  <a:lnTo>
                    <a:pt x="3132" y="5969"/>
                  </a:lnTo>
                  <a:lnTo>
                    <a:pt x="3121" y="5986"/>
                  </a:lnTo>
                  <a:lnTo>
                    <a:pt x="3116" y="5995"/>
                  </a:lnTo>
                  <a:lnTo>
                    <a:pt x="3122" y="6001"/>
                  </a:lnTo>
                  <a:lnTo>
                    <a:pt x="3132" y="5999"/>
                  </a:lnTo>
                  <a:lnTo>
                    <a:pt x="3142" y="5989"/>
                  </a:lnTo>
                  <a:lnTo>
                    <a:pt x="3151" y="6001"/>
                  </a:lnTo>
                  <a:lnTo>
                    <a:pt x="3152" y="6021"/>
                  </a:lnTo>
                  <a:lnTo>
                    <a:pt x="3141" y="6025"/>
                  </a:lnTo>
                  <a:lnTo>
                    <a:pt x="3141" y="6025"/>
                  </a:lnTo>
                  <a:lnTo>
                    <a:pt x="3139" y="6023"/>
                  </a:lnTo>
                  <a:lnTo>
                    <a:pt x="3134" y="6016"/>
                  </a:lnTo>
                  <a:lnTo>
                    <a:pt x="3129" y="6013"/>
                  </a:lnTo>
                  <a:lnTo>
                    <a:pt x="3129" y="6013"/>
                  </a:lnTo>
                  <a:lnTo>
                    <a:pt x="3125" y="6014"/>
                  </a:lnTo>
                  <a:lnTo>
                    <a:pt x="3122" y="6016"/>
                  </a:lnTo>
                  <a:lnTo>
                    <a:pt x="3122" y="6018"/>
                  </a:lnTo>
                  <a:lnTo>
                    <a:pt x="3122" y="6018"/>
                  </a:lnTo>
                  <a:lnTo>
                    <a:pt x="3129" y="6037"/>
                  </a:lnTo>
                  <a:lnTo>
                    <a:pt x="3125" y="6058"/>
                  </a:lnTo>
                  <a:lnTo>
                    <a:pt x="3123" y="6088"/>
                  </a:lnTo>
                  <a:lnTo>
                    <a:pt x="3129" y="6121"/>
                  </a:lnTo>
                  <a:lnTo>
                    <a:pt x="3122" y="6137"/>
                  </a:lnTo>
                  <a:lnTo>
                    <a:pt x="3139" y="6142"/>
                  </a:lnTo>
                  <a:lnTo>
                    <a:pt x="3145" y="6159"/>
                  </a:lnTo>
                  <a:lnTo>
                    <a:pt x="3134" y="6168"/>
                  </a:lnTo>
                  <a:lnTo>
                    <a:pt x="3146" y="6183"/>
                  </a:lnTo>
                  <a:lnTo>
                    <a:pt x="3146" y="6213"/>
                  </a:lnTo>
                  <a:lnTo>
                    <a:pt x="3160" y="6222"/>
                  </a:lnTo>
                  <a:lnTo>
                    <a:pt x="3169" y="6212"/>
                  </a:lnTo>
                  <a:lnTo>
                    <a:pt x="3178" y="6213"/>
                  </a:lnTo>
                  <a:lnTo>
                    <a:pt x="3181" y="6228"/>
                  </a:lnTo>
                  <a:lnTo>
                    <a:pt x="3166" y="6232"/>
                  </a:lnTo>
                  <a:lnTo>
                    <a:pt x="3152" y="6237"/>
                  </a:lnTo>
                  <a:lnTo>
                    <a:pt x="3155" y="6272"/>
                  </a:lnTo>
                  <a:lnTo>
                    <a:pt x="3165" y="6271"/>
                  </a:lnTo>
                  <a:lnTo>
                    <a:pt x="3181" y="6249"/>
                  </a:lnTo>
                  <a:lnTo>
                    <a:pt x="3205" y="6248"/>
                  </a:lnTo>
                  <a:lnTo>
                    <a:pt x="3224" y="6261"/>
                  </a:lnTo>
                  <a:lnTo>
                    <a:pt x="3225" y="6282"/>
                  </a:lnTo>
                  <a:lnTo>
                    <a:pt x="3219" y="6292"/>
                  </a:lnTo>
                  <a:lnTo>
                    <a:pt x="3193" y="6295"/>
                  </a:lnTo>
                  <a:lnTo>
                    <a:pt x="3193" y="6304"/>
                  </a:lnTo>
                  <a:lnTo>
                    <a:pt x="3208" y="6319"/>
                  </a:lnTo>
                  <a:lnTo>
                    <a:pt x="3238" y="6316"/>
                  </a:lnTo>
                  <a:lnTo>
                    <a:pt x="3238" y="6295"/>
                  </a:lnTo>
                  <a:lnTo>
                    <a:pt x="3248" y="6278"/>
                  </a:lnTo>
                  <a:lnTo>
                    <a:pt x="3242" y="6261"/>
                  </a:lnTo>
                  <a:lnTo>
                    <a:pt x="3257" y="6249"/>
                  </a:lnTo>
                  <a:lnTo>
                    <a:pt x="3275" y="6249"/>
                  </a:lnTo>
                  <a:lnTo>
                    <a:pt x="3285" y="6242"/>
                  </a:lnTo>
                  <a:lnTo>
                    <a:pt x="3290" y="6229"/>
                  </a:lnTo>
                  <a:lnTo>
                    <a:pt x="3316" y="6234"/>
                  </a:lnTo>
                  <a:lnTo>
                    <a:pt x="3317" y="6224"/>
                  </a:lnTo>
                  <a:lnTo>
                    <a:pt x="3310" y="6212"/>
                  </a:lnTo>
                  <a:lnTo>
                    <a:pt x="3302" y="6198"/>
                  </a:lnTo>
                  <a:lnTo>
                    <a:pt x="3299" y="6183"/>
                  </a:lnTo>
                  <a:lnTo>
                    <a:pt x="3306" y="6164"/>
                  </a:lnTo>
                  <a:lnTo>
                    <a:pt x="3304" y="6144"/>
                  </a:lnTo>
                  <a:lnTo>
                    <a:pt x="3317" y="6127"/>
                  </a:lnTo>
                  <a:lnTo>
                    <a:pt x="3321" y="6108"/>
                  </a:lnTo>
                  <a:lnTo>
                    <a:pt x="3335" y="6113"/>
                  </a:lnTo>
                  <a:lnTo>
                    <a:pt x="3350" y="6103"/>
                  </a:lnTo>
                  <a:lnTo>
                    <a:pt x="3350" y="6088"/>
                  </a:lnTo>
                  <a:lnTo>
                    <a:pt x="3350" y="6064"/>
                  </a:lnTo>
                  <a:lnTo>
                    <a:pt x="3365" y="6055"/>
                  </a:lnTo>
                  <a:lnTo>
                    <a:pt x="3375" y="6042"/>
                  </a:lnTo>
                  <a:lnTo>
                    <a:pt x="3382" y="6032"/>
                  </a:lnTo>
                  <a:lnTo>
                    <a:pt x="3397" y="6015"/>
                  </a:lnTo>
                  <a:lnTo>
                    <a:pt x="3411" y="6006"/>
                  </a:lnTo>
                  <a:lnTo>
                    <a:pt x="3417" y="5999"/>
                  </a:lnTo>
                  <a:lnTo>
                    <a:pt x="3412" y="5962"/>
                  </a:lnTo>
                  <a:lnTo>
                    <a:pt x="3382" y="5961"/>
                  </a:lnTo>
                  <a:lnTo>
                    <a:pt x="3367" y="5952"/>
                  </a:lnTo>
                  <a:lnTo>
                    <a:pt x="3353" y="5919"/>
                  </a:lnTo>
                  <a:lnTo>
                    <a:pt x="3354" y="5903"/>
                  </a:lnTo>
                  <a:lnTo>
                    <a:pt x="3365" y="5885"/>
                  </a:lnTo>
                  <a:lnTo>
                    <a:pt x="3377" y="5883"/>
                  </a:lnTo>
                  <a:lnTo>
                    <a:pt x="3384" y="5870"/>
                  </a:lnTo>
                  <a:lnTo>
                    <a:pt x="3418" y="5867"/>
                  </a:lnTo>
                  <a:lnTo>
                    <a:pt x="3427" y="5860"/>
                  </a:lnTo>
                  <a:lnTo>
                    <a:pt x="3427" y="5843"/>
                  </a:lnTo>
                  <a:lnTo>
                    <a:pt x="3432" y="5824"/>
                  </a:lnTo>
                  <a:lnTo>
                    <a:pt x="3427" y="5794"/>
                  </a:lnTo>
                  <a:lnTo>
                    <a:pt x="3460" y="5766"/>
                  </a:lnTo>
                  <a:lnTo>
                    <a:pt x="3448" y="5754"/>
                  </a:lnTo>
                  <a:lnTo>
                    <a:pt x="3455" y="5743"/>
                  </a:lnTo>
                  <a:lnTo>
                    <a:pt x="3471" y="5747"/>
                  </a:lnTo>
                  <a:lnTo>
                    <a:pt x="3481" y="5744"/>
                  </a:lnTo>
                  <a:lnTo>
                    <a:pt x="3480" y="5715"/>
                  </a:lnTo>
                  <a:lnTo>
                    <a:pt x="3469" y="5713"/>
                  </a:lnTo>
                  <a:lnTo>
                    <a:pt x="3455" y="5724"/>
                  </a:lnTo>
                  <a:lnTo>
                    <a:pt x="3442" y="5712"/>
                  </a:lnTo>
                  <a:lnTo>
                    <a:pt x="3436" y="5646"/>
                  </a:lnTo>
                  <a:lnTo>
                    <a:pt x="3445" y="5636"/>
                  </a:lnTo>
                  <a:lnTo>
                    <a:pt x="3455" y="5636"/>
                  </a:lnTo>
                  <a:lnTo>
                    <a:pt x="3491" y="5659"/>
                  </a:lnTo>
                  <a:lnTo>
                    <a:pt x="3516" y="5658"/>
                  </a:lnTo>
                  <a:lnTo>
                    <a:pt x="3532" y="5646"/>
                  </a:lnTo>
                  <a:lnTo>
                    <a:pt x="3532" y="5586"/>
                  </a:lnTo>
                  <a:lnTo>
                    <a:pt x="3547" y="5567"/>
                  </a:lnTo>
                  <a:lnTo>
                    <a:pt x="3550" y="5549"/>
                  </a:lnTo>
                  <a:lnTo>
                    <a:pt x="3593" y="5549"/>
                  </a:lnTo>
                  <a:lnTo>
                    <a:pt x="3620" y="5534"/>
                  </a:lnTo>
                  <a:lnTo>
                    <a:pt x="3652" y="5530"/>
                  </a:lnTo>
                  <a:lnTo>
                    <a:pt x="3675" y="5508"/>
                  </a:lnTo>
                  <a:lnTo>
                    <a:pt x="3686" y="5505"/>
                  </a:lnTo>
                  <a:lnTo>
                    <a:pt x="3709" y="5466"/>
                  </a:lnTo>
                  <a:lnTo>
                    <a:pt x="3726" y="5436"/>
                  </a:lnTo>
                  <a:lnTo>
                    <a:pt x="3704" y="5416"/>
                  </a:lnTo>
                  <a:lnTo>
                    <a:pt x="3703" y="5403"/>
                  </a:lnTo>
                  <a:lnTo>
                    <a:pt x="3715" y="5378"/>
                  </a:lnTo>
                  <a:lnTo>
                    <a:pt x="3697" y="5346"/>
                  </a:lnTo>
                  <a:lnTo>
                    <a:pt x="3684" y="5345"/>
                  </a:lnTo>
                  <a:lnTo>
                    <a:pt x="3668" y="5326"/>
                  </a:lnTo>
                  <a:lnTo>
                    <a:pt x="3666" y="5315"/>
                  </a:lnTo>
                  <a:lnTo>
                    <a:pt x="3683" y="5309"/>
                  </a:lnTo>
                  <a:lnTo>
                    <a:pt x="3699" y="5334"/>
                  </a:lnTo>
                  <a:lnTo>
                    <a:pt x="3720" y="5331"/>
                  </a:lnTo>
                  <a:lnTo>
                    <a:pt x="3749" y="5346"/>
                  </a:lnTo>
                  <a:lnTo>
                    <a:pt x="3775" y="5354"/>
                  </a:lnTo>
                  <a:lnTo>
                    <a:pt x="3804" y="5353"/>
                  </a:lnTo>
                  <a:lnTo>
                    <a:pt x="3825" y="5323"/>
                  </a:lnTo>
                  <a:lnTo>
                    <a:pt x="3825" y="5312"/>
                  </a:lnTo>
                  <a:lnTo>
                    <a:pt x="3846" y="5285"/>
                  </a:lnTo>
                  <a:lnTo>
                    <a:pt x="3848" y="5276"/>
                  </a:lnTo>
                  <a:lnTo>
                    <a:pt x="3883" y="5234"/>
                  </a:lnTo>
                  <a:lnTo>
                    <a:pt x="3883" y="5222"/>
                  </a:lnTo>
                  <a:lnTo>
                    <a:pt x="3873" y="5204"/>
                  </a:lnTo>
                  <a:lnTo>
                    <a:pt x="3887" y="5180"/>
                  </a:lnTo>
                  <a:lnTo>
                    <a:pt x="3896" y="5161"/>
                  </a:lnTo>
                  <a:lnTo>
                    <a:pt x="3921" y="5130"/>
                  </a:lnTo>
                  <a:lnTo>
                    <a:pt x="3928" y="5135"/>
                  </a:lnTo>
                  <a:lnTo>
                    <a:pt x="3916" y="5164"/>
                  </a:lnTo>
                  <a:lnTo>
                    <a:pt x="3913" y="5180"/>
                  </a:lnTo>
                  <a:lnTo>
                    <a:pt x="3892" y="5203"/>
                  </a:lnTo>
                  <a:lnTo>
                    <a:pt x="3894" y="5214"/>
                  </a:lnTo>
                  <a:lnTo>
                    <a:pt x="3917" y="5185"/>
                  </a:lnTo>
                  <a:lnTo>
                    <a:pt x="3943" y="5130"/>
                  </a:lnTo>
                  <a:lnTo>
                    <a:pt x="3950" y="5103"/>
                  </a:lnTo>
                  <a:lnTo>
                    <a:pt x="3959" y="5081"/>
                  </a:lnTo>
                  <a:lnTo>
                    <a:pt x="3975" y="5077"/>
                  </a:lnTo>
                  <a:lnTo>
                    <a:pt x="4000" y="5040"/>
                  </a:lnTo>
                  <a:lnTo>
                    <a:pt x="4005" y="4996"/>
                  </a:lnTo>
                  <a:lnTo>
                    <a:pt x="3999" y="4974"/>
                  </a:lnTo>
                  <a:lnTo>
                    <a:pt x="4005" y="4923"/>
                  </a:lnTo>
                  <a:lnTo>
                    <a:pt x="4023" y="4916"/>
                  </a:lnTo>
                  <a:lnTo>
                    <a:pt x="4039" y="4896"/>
                  </a:lnTo>
                  <a:lnTo>
                    <a:pt x="4048" y="4892"/>
                  </a:lnTo>
                  <a:lnTo>
                    <a:pt x="4049" y="4880"/>
                  </a:lnTo>
                  <a:lnTo>
                    <a:pt x="4077" y="4854"/>
                  </a:lnTo>
                  <a:lnTo>
                    <a:pt x="4101" y="4858"/>
                  </a:lnTo>
                  <a:lnTo>
                    <a:pt x="4115" y="4850"/>
                  </a:lnTo>
                  <a:lnTo>
                    <a:pt x="4131" y="4828"/>
                  </a:lnTo>
                  <a:lnTo>
                    <a:pt x="4154" y="4828"/>
                  </a:lnTo>
                  <a:lnTo>
                    <a:pt x="4176" y="4825"/>
                  </a:lnTo>
                  <a:lnTo>
                    <a:pt x="4190" y="4815"/>
                  </a:lnTo>
                  <a:lnTo>
                    <a:pt x="4205" y="4821"/>
                  </a:lnTo>
                  <a:lnTo>
                    <a:pt x="4227" y="4812"/>
                  </a:lnTo>
                  <a:lnTo>
                    <a:pt x="4232" y="4794"/>
                  </a:lnTo>
                  <a:lnTo>
                    <a:pt x="4256" y="4785"/>
                  </a:lnTo>
                  <a:lnTo>
                    <a:pt x="4260" y="4739"/>
                  </a:lnTo>
                  <a:lnTo>
                    <a:pt x="4278" y="4707"/>
                  </a:lnTo>
                  <a:lnTo>
                    <a:pt x="4282" y="4682"/>
                  </a:lnTo>
                  <a:lnTo>
                    <a:pt x="4291" y="4670"/>
                  </a:lnTo>
                  <a:lnTo>
                    <a:pt x="4295" y="4644"/>
                  </a:lnTo>
                  <a:lnTo>
                    <a:pt x="4301" y="4598"/>
                  </a:lnTo>
                  <a:lnTo>
                    <a:pt x="4326" y="4583"/>
                  </a:lnTo>
                  <a:lnTo>
                    <a:pt x="4320" y="4539"/>
                  </a:lnTo>
                  <a:lnTo>
                    <a:pt x="4330" y="4505"/>
                  </a:lnTo>
                  <a:lnTo>
                    <a:pt x="4320" y="4475"/>
                  </a:lnTo>
                  <a:lnTo>
                    <a:pt x="4326" y="4412"/>
                  </a:lnTo>
                  <a:lnTo>
                    <a:pt x="4333" y="4401"/>
                  </a:lnTo>
                  <a:lnTo>
                    <a:pt x="4368" y="4378"/>
                  </a:lnTo>
                  <a:lnTo>
                    <a:pt x="4380" y="4352"/>
                  </a:lnTo>
                  <a:lnTo>
                    <a:pt x="4391" y="4318"/>
                  </a:lnTo>
                  <a:lnTo>
                    <a:pt x="4399" y="4310"/>
                  </a:lnTo>
                  <a:lnTo>
                    <a:pt x="4425" y="4300"/>
                  </a:lnTo>
                  <a:lnTo>
                    <a:pt x="4435" y="4281"/>
                  </a:lnTo>
                  <a:lnTo>
                    <a:pt x="4445" y="4258"/>
                  </a:lnTo>
                  <a:lnTo>
                    <a:pt x="4464" y="4228"/>
                  </a:lnTo>
                  <a:lnTo>
                    <a:pt x="4464" y="4127"/>
                  </a:lnTo>
                  <a:lnTo>
                    <a:pt x="4453" y="4093"/>
                  </a:lnTo>
                  <a:lnTo>
                    <a:pt x="4380" y="4071"/>
                  </a:lnTo>
                  <a:close/>
                </a:path>
              </a:pathLst>
            </a:custGeom>
            <a:solidFill>
              <a:schemeClr val="accent4"/>
            </a:solidFill>
            <a:ln>
              <a:noFill/>
            </a:ln>
          </p:spPr>
          <p:style>
            <a:lnRef idx="0">
              <a:scrgbClr r="0" g="0" b="0"/>
            </a:lnRef>
            <a:fillRef idx="0">
              <a:scrgbClr r="0" g="0" b="0"/>
            </a:fillRef>
            <a:effectRef idx="0">
              <a:scrgbClr r="0" g="0" b="0"/>
            </a:effectRef>
            <a:fontRef idx="minor"/>
          </p:style>
        </p:sp>
        <p:sp>
          <p:nvSpPr>
            <p:cNvPr id="11" name="CustomShape 3">
              <a:extLst>
                <a:ext uri="{FF2B5EF4-FFF2-40B4-BE49-F238E27FC236}">
                  <a16:creationId xmlns:a16="http://schemas.microsoft.com/office/drawing/2014/main" id="{91259788-F26D-4037-973B-A5960D559322}"/>
                </a:ext>
              </a:extLst>
            </p:cNvPr>
            <p:cNvSpPr/>
            <p:nvPr/>
          </p:nvSpPr>
          <p:spPr>
            <a:xfrm>
              <a:off x="-422663" y="4380437"/>
              <a:ext cx="13370040" cy="1941185"/>
            </a:xfrm>
            <a:prstGeom prst="rect">
              <a:avLst/>
            </a:prstGeom>
            <a:solidFill>
              <a:schemeClr val="bg1"/>
            </a:solidFill>
            <a:ln>
              <a:noFill/>
            </a:ln>
            <a:effectLst>
              <a:softEdge rad="317500"/>
            </a:effectLst>
          </p:spPr>
          <p:style>
            <a:lnRef idx="2">
              <a:schemeClr val="accent1">
                <a:shade val="50000"/>
              </a:schemeClr>
            </a:lnRef>
            <a:fillRef idx="1">
              <a:schemeClr val="accent1"/>
            </a:fillRef>
            <a:effectRef idx="0">
              <a:schemeClr val="accent1"/>
            </a:effectRef>
            <a:fontRef idx="minor"/>
          </p:style>
        </p:sp>
        <p:sp>
          <p:nvSpPr>
            <p:cNvPr id="13" name="Line 5">
              <a:extLst>
                <a:ext uri="{FF2B5EF4-FFF2-40B4-BE49-F238E27FC236}">
                  <a16:creationId xmlns:a16="http://schemas.microsoft.com/office/drawing/2014/main" id="{0852EE5B-3271-4BE5-839B-FB7252D0607F}"/>
                </a:ext>
              </a:extLst>
            </p:cNvPr>
            <p:cNvSpPr/>
            <p:nvPr/>
          </p:nvSpPr>
          <p:spPr>
            <a:xfrm>
              <a:off x="8591017" y="1883477"/>
              <a:ext cx="360" cy="2880720"/>
            </a:xfrm>
            <a:prstGeom prst="line">
              <a:avLst/>
            </a:prstGeom>
            <a:ln w="76320">
              <a:solidFill>
                <a:schemeClr val="tx1"/>
              </a:solidFill>
            </a:ln>
          </p:spPr>
          <p:style>
            <a:lnRef idx="1">
              <a:schemeClr val="accent1"/>
            </a:lnRef>
            <a:fillRef idx="0">
              <a:schemeClr val="accent1"/>
            </a:fillRef>
            <a:effectRef idx="0">
              <a:schemeClr val="accent1"/>
            </a:effectRef>
            <a:fontRef idx="minor"/>
          </p:style>
        </p:sp>
        <p:sp>
          <p:nvSpPr>
            <p:cNvPr id="15" name="CustomShape 6">
              <a:extLst>
                <a:ext uri="{FF2B5EF4-FFF2-40B4-BE49-F238E27FC236}">
                  <a16:creationId xmlns:a16="http://schemas.microsoft.com/office/drawing/2014/main" id="{2D198FA8-0423-4BC2-89BB-B3F48CE0EADE}"/>
                </a:ext>
              </a:extLst>
            </p:cNvPr>
            <p:cNvSpPr/>
            <p:nvPr/>
          </p:nvSpPr>
          <p:spPr>
            <a:xfrm flipV="1">
              <a:off x="8591017" y="1403237"/>
              <a:ext cx="28116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17" name="CustomShape 7">
              <a:extLst>
                <a:ext uri="{FF2B5EF4-FFF2-40B4-BE49-F238E27FC236}">
                  <a16:creationId xmlns:a16="http://schemas.microsoft.com/office/drawing/2014/main" id="{A3F8D26B-3B40-4213-A1DB-7A602B7CB033}"/>
                </a:ext>
              </a:extLst>
            </p:cNvPr>
            <p:cNvSpPr/>
            <p:nvPr/>
          </p:nvSpPr>
          <p:spPr>
            <a:xfrm flipH="1" flipV="1">
              <a:off x="8302657" y="140323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19" name="Line 8">
              <a:extLst>
                <a:ext uri="{FF2B5EF4-FFF2-40B4-BE49-F238E27FC236}">
                  <a16:creationId xmlns:a16="http://schemas.microsoft.com/office/drawing/2014/main" id="{0A984E34-19D2-466D-9C26-67008F67E492}"/>
                </a:ext>
              </a:extLst>
            </p:cNvPr>
            <p:cNvSpPr/>
            <p:nvPr/>
          </p:nvSpPr>
          <p:spPr>
            <a:xfrm>
              <a:off x="4863577" y="1904717"/>
              <a:ext cx="360" cy="2880720"/>
            </a:xfrm>
            <a:prstGeom prst="line">
              <a:avLst/>
            </a:prstGeom>
            <a:ln w="76320">
              <a:solidFill>
                <a:schemeClr val="tx1"/>
              </a:solidFill>
            </a:ln>
          </p:spPr>
          <p:style>
            <a:lnRef idx="1">
              <a:schemeClr val="accent1"/>
            </a:lnRef>
            <a:fillRef idx="0">
              <a:schemeClr val="accent1"/>
            </a:fillRef>
            <a:effectRef idx="0">
              <a:schemeClr val="accent1"/>
            </a:effectRef>
            <a:fontRef idx="minor"/>
          </p:style>
        </p:sp>
        <p:sp>
          <p:nvSpPr>
            <p:cNvPr id="21" name="CustomShape 9">
              <a:extLst>
                <a:ext uri="{FF2B5EF4-FFF2-40B4-BE49-F238E27FC236}">
                  <a16:creationId xmlns:a16="http://schemas.microsoft.com/office/drawing/2014/main" id="{37BF34AB-DD63-46AA-9613-26A7F29B80BD}"/>
                </a:ext>
              </a:extLst>
            </p:cNvPr>
            <p:cNvSpPr/>
            <p:nvPr/>
          </p:nvSpPr>
          <p:spPr>
            <a:xfrm flipV="1">
              <a:off x="4863577" y="142447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23" name="CustomShape 10">
              <a:extLst>
                <a:ext uri="{FF2B5EF4-FFF2-40B4-BE49-F238E27FC236}">
                  <a16:creationId xmlns:a16="http://schemas.microsoft.com/office/drawing/2014/main" id="{439BE41D-EB71-43EB-959B-A782A5EEF863}"/>
                </a:ext>
              </a:extLst>
            </p:cNvPr>
            <p:cNvSpPr/>
            <p:nvPr/>
          </p:nvSpPr>
          <p:spPr>
            <a:xfrm flipH="1" flipV="1">
              <a:off x="4573057" y="1424477"/>
              <a:ext cx="2898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25" name="Line 11">
              <a:extLst>
                <a:ext uri="{FF2B5EF4-FFF2-40B4-BE49-F238E27FC236}">
                  <a16:creationId xmlns:a16="http://schemas.microsoft.com/office/drawing/2014/main" id="{665AE9E3-DBAB-442D-A178-ADE33DF88C3B}"/>
                </a:ext>
              </a:extLst>
            </p:cNvPr>
            <p:cNvSpPr/>
            <p:nvPr/>
          </p:nvSpPr>
          <p:spPr>
            <a:xfrm>
              <a:off x="926617" y="1883477"/>
              <a:ext cx="360" cy="2880720"/>
            </a:xfrm>
            <a:prstGeom prst="line">
              <a:avLst/>
            </a:prstGeom>
            <a:ln w="76320">
              <a:solidFill>
                <a:schemeClr val="tx1"/>
              </a:solidFill>
            </a:ln>
          </p:spPr>
          <p:style>
            <a:lnRef idx="1">
              <a:schemeClr val="accent1"/>
            </a:lnRef>
            <a:fillRef idx="0">
              <a:schemeClr val="accent1"/>
            </a:fillRef>
            <a:effectRef idx="0">
              <a:schemeClr val="accent1"/>
            </a:effectRef>
            <a:fontRef idx="minor"/>
          </p:style>
        </p:sp>
        <p:sp>
          <p:nvSpPr>
            <p:cNvPr id="27" name="CustomShape 12">
              <a:extLst>
                <a:ext uri="{FF2B5EF4-FFF2-40B4-BE49-F238E27FC236}">
                  <a16:creationId xmlns:a16="http://schemas.microsoft.com/office/drawing/2014/main" id="{3F89F0BD-09D8-4BD2-B452-8EE8CB6F38B1}"/>
                </a:ext>
              </a:extLst>
            </p:cNvPr>
            <p:cNvSpPr/>
            <p:nvPr/>
          </p:nvSpPr>
          <p:spPr>
            <a:xfrm flipV="1">
              <a:off x="926617" y="140323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29" name="CustomShape 13">
              <a:extLst>
                <a:ext uri="{FF2B5EF4-FFF2-40B4-BE49-F238E27FC236}">
                  <a16:creationId xmlns:a16="http://schemas.microsoft.com/office/drawing/2014/main" id="{E35F26C3-71BE-47C2-AB97-535BEE585903}"/>
                </a:ext>
              </a:extLst>
            </p:cNvPr>
            <p:cNvSpPr/>
            <p:nvPr/>
          </p:nvSpPr>
          <p:spPr>
            <a:xfrm flipH="1" flipV="1">
              <a:off x="637537" y="140323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31" name="CustomShape 14">
              <a:extLst>
                <a:ext uri="{FF2B5EF4-FFF2-40B4-BE49-F238E27FC236}">
                  <a16:creationId xmlns:a16="http://schemas.microsoft.com/office/drawing/2014/main" id="{A0A24A8E-8E6D-4D0F-8161-229428C4DCC8}"/>
                </a:ext>
              </a:extLst>
            </p:cNvPr>
            <p:cNvSpPr/>
            <p:nvPr/>
          </p:nvSpPr>
          <p:spPr>
            <a:xfrm flipV="1">
              <a:off x="4863577" y="238531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33" name="CustomShape 15">
              <a:extLst>
                <a:ext uri="{FF2B5EF4-FFF2-40B4-BE49-F238E27FC236}">
                  <a16:creationId xmlns:a16="http://schemas.microsoft.com/office/drawing/2014/main" id="{CAEE6A56-8237-43CA-AA3E-C7B135B1DD8B}"/>
                </a:ext>
              </a:extLst>
            </p:cNvPr>
            <p:cNvSpPr/>
            <p:nvPr/>
          </p:nvSpPr>
          <p:spPr>
            <a:xfrm flipV="1">
              <a:off x="4863577" y="358555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35" name="CustomShape 16">
              <a:extLst>
                <a:ext uri="{FF2B5EF4-FFF2-40B4-BE49-F238E27FC236}">
                  <a16:creationId xmlns:a16="http://schemas.microsoft.com/office/drawing/2014/main" id="{03AA2A82-3CFB-4957-854C-6B21124E0D6E}"/>
                </a:ext>
              </a:extLst>
            </p:cNvPr>
            <p:cNvSpPr/>
            <p:nvPr/>
          </p:nvSpPr>
          <p:spPr>
            <a:xfrm flipH="1" flipV="1">
              <a:off x="4570897" y="238531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37" name="CustomShape 17">
              <a:extLst>
                <a:ext uri="{FF2B5EF4-FFF2-40B4-BE49-F238E27FC236}">
                  <a16:creationId xmlns:a16="http://schemas.microsoft.com/office/drawing/2014/main" id="{732BE152-777D-4562-9A36-5B68BB63BD70}"/>
                </a:ext>
              </a:extLst>
            </p:cNvPr>
            <p:cNvSpPr/>
            <p:nvPr/>
          </p:nvSpPr>
          <p:spPr>
            <a:xfrm flipH="1" flipV="1">
              <a:off x="4553977" y="353047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39" name="CustomShape 18">
              <a:extLst>
                <a:ext uri="{FF2B5EF4-FFF2-40B4-BE49-F238E27FC236}">
                  <a16:creationId xmlns:a16="http://schemas.microsoft.com/office/drawing/2014/main" id="{BCCFE2A0-1A73-4D2A-A5C8-CD19BBD1CA5B}"/>
                </a:ext>
              </a:extLst>
            </p:cNvPr>
            <p:cNvSpPr/>
            <p:nvPr/>
          </p:nvSpPr>
          <p:spPr>
            <a:xfrm flipV="1">
              <a:off x="928777" y="2014877"/>
              <a:ext cx="28116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41" name="CustomShape 19">
              <a:extLst>
                <a:ext uri="{FF2B5EF4-FFF2-40B4-BE49-F238E27FC236}">
                  <a16:creationId xmlns:a16="http://schemas.microsoft.com/office/drawing/2014/main" id="{CE8AF461-D57B-46E9-991B-538FD9D14E08}"/>
                </a:ext>
              </a:extLst>
            </p:cNvPr>
            <p:cNvSpPr/>
            <p:nvPr/>
          </p:nvSpPr>
          <p:spPr>
            <a:xfrm flipH="1" flipV="1">
              <a:off x="639697" y="201487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43" name="CustomShape 20">
              <a:extLst>
                <a:ext uri="{FF2B5EF4-FFF2-40B4-BE49-F238E27FC236}">
                  <a16:creationId xmlns:a16="http://schemas.microsoft.com/office/drawing/2014/main" id="{D139E3AD-B6D9-4127-940B-F08623944EF2}"/>
                </a:ext>
              </a:extLst>
            </p:cNvPr>
            <p:cNvSpPr/>
            <p:nvPr/>
          </p:nvSpPr>
          <p:spPr>
            <a:xfrm flipV="1">
              <a:off x="926617" y="2736677"/>
              <a:ext cx="279000" cy="47808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45" name="CustomShape 21">
              <a:extLst>
                <a:ext uri="{FF2B5EF4-FFF2-40B4-BE49-F238E27FC236}">
                  <a16:creationId xmlns:a16="http://schemas.microsoft.com/office/drawing/2014/main" id="{E4A8AA74-BB2F-4F5D-8D88-02AB80F7C31F}"/>
                </a:ext>
              </a:extLst>
            </p:cNvPr>
            <p:cNvSpPr/>
            <p:nvPr/>
          </p:nvSpPr>
          <p:spPr>
            <a:xfrm flipH="1" flipV="1">
              <a:off x="637537" y="2736677"/>
              <a:ext cx="287640" cy="47808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47" name="CustomShape 22">
              <a:extLst>
                <a:ext uri="{FF2B5EF4-FFF2-40B4-BE49-F238E27FC236}">
                  <a16:creationId xmlns:a16="http://schemas.microsoft.com/office/drawing/2014/main" id="{1DDAA84A-1990-4D19-BD04-96B6CCF1A082}"/>
                </a:ext>
              </a:extLst>
            </p:cNvPr>
            <p:cNvSpPr/>
            <p:nvPr/>
          </p:nvSpPr>
          <p:spPr>
            <a:xfrm flipV="1">
              <a:off x="926617" y="334399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49" name="CustomShape 23">
              <a:extLst>
                <a:ext uri="{FF2B5EF4-FFF2-40B4-BE49-F238E27FC236}">
                  <a16:creationId xmlns:a16="http://schemas.microsoft.com/office/drawing/2014/main" id="{10914086-6C5B-4630-88C9-573633199DE7}"/>
                </a:ext>
              </a:extLst>
            </p:cNvPr>
            <p:cNvSpPr/>
            <p:nvPr/>
          </p:nvSpPr>
          <p:spPr>
            <a:xfrm flipH="1" flipV="1">
              <a:off x="637537" y="334399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51" name="CustomShape 24">
              <a:extLst>
                <a:ext uri="{FF2B5EF4-FFF2-40B4-BE49-F238E27FC236}">
                  <a16:creationId xmlns:a16="http://schemas.microsoft.com/office/drawing/2014/main" id="{2C58D8FC-A505-4A07-89E4-1A7438B617B3}"/>
                </a:ext>
              </a:extLst>
            </p:cNvPr>
            <p:cNvSpPr/>
            <p:nvPr/>
          </p:nvSpPr>
          <p:spPr>
            <a:xfrm flipV="1">
              <a:off x="926617" y="4042757"/>
              <a:ext cx="27900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53" name="CustomShape 25">
              <a:extLst>
                <a:ext uri="{FF2B5EF4-FFF2-40B4-BE49-F238E27FC236}">
                  <a16:creationId xmlns:a16="http://schemas.microsoft.com/office/drawing/2014/main" id="{058A0871-5062-48EC-BA13-D0E1E2219D8A}"/>
                </a:ext>
              </a:extLst>
            </p:cNvPr>
            <p:cNvSpPr/>
            <p:nvPr/>
          </p:nvSpPr>
          <p:spPr>
            <a:xfrm flipH="1" flipV="1">
              <a:off x="637537" y="4042757"/>
              <a:ext cx="287640" cy="480240"/>
            </a:xfrm>
            <a:custGeom>
              <a:avLst/>
              <a:gdLst/>
              <a:ahLst/>
              <a:cxnLst/>
              <a:rect l="l" t="t" r="r" b="b"/>
              <a:pathLst>
                <a:path w="21600" h="21600">
                  <a:moveTo>
                    <a:pt x="0" y="0"/>
                  </a:moveTo>
                  <a:lnTo>
                    <a:pt x="21600" y="21600"/>
                  </a:lnTo>
                </a:path>
              </a:pathLst>
            </a:custGeom>
            <a:noFill/>
            <a:ln w="57240">
              <a:solidFill>
                <a:schemeClr val="tx1"/>
              </a:solidFill>
              <a:tailEnd type="triangle" w="med" len="med"/>
            </a:ln>
          </p:spPr>
          <p:style>
            <a:lnRef idx="1">
              <a:schemeClr val="accent1"/>
            </a:lnRef>
            <a:fillRef idx="0">
              <a:schemeClr val="accent1"/>
            </a:fillRef>
            <a:effectRef idx="0">
              <a:schemeClr val="accent1"/>
            </a:effectRef>
            <a:fontRef idx="minor"/>
          </p:style>
        </p:sp>
        <p:sp>
          <p:nvSpPr>
            <p:cNvPr id="55" name="CustomShape 26">
              <a:extLst>
                <a:ext uri="{FF2B5EF4-FFF2-40B4-BE49-F238E27FC236}">
                  <a16:creationId xmlns:a16="http://schemas.microsoft.com/office/drawing/2014/main" id="{9C4283AC-F8ED-445C-B2A9-518263A72CCE}"/>
                </a:ext>
              </a:extLst>
            </p:cNvPr>
            <p:cNvSpPr/>
            <p:nvPr/>
          </p:nvSpPr>
          <p:spPr>
            <a:xfrm>
              <a:off x="5392777" y="4633157"/>
              <a:ext cx="3551400" cy="161129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800" b="1" strike="noStrike" spc="-1" dirty="0">
                  <a:solidFill>
                    <a:srgbClr val="000000"/>
                  </a:solidFill>
                  <a:latin typeface="Arial" panose="020B0604020202020204" pitchFamily="34" charset="0"/>
                  <a:cs typeface="Arial" panose="020B0604020202020204" pitchFamily="34" charset="0"/>
                </a:rPr>
                <a:t>Bermuda Style</a:t>
              </a:r>
              <a:endParaRPr lang="de-DE" sz="2800" b="0" strike="noStrike" spc="-1" dirty="0">
                <a:latin typeface="Arial" panose="020B0604020202020204" pitchFamily="34" charset="0"/>
                <a:cs typeface="Arial" panose="020B0604020202020204" pitchFamily="34" charset="0"/>
              </a:endParaRPr>
            </a:p>
            <a:p>
              <a:pPr>
                <a:lnSpc>
                  <a:spcPct val="100000"/>
                </a:lnSpc>
              </a:pPr>
              <a:endParaRPr lang="de-DE" sz="2800" b="0" strike="noStrike" spc="-1" dirty="0">
                <a:latin typeface="Arial" panose="020B0604020202020204" pitchFamily="34" charset="0"/>
                <a:cs typeface="Arial" panose="020B0604020202020204" pitchFamily="34" charset="0"/>
              </a:endParaRPr>
            </a:p>
            <a:p>
              <a:pPr>
                <a:lnSpc>
                  <a:spcPct val="100000"/>
                </a:lnSpc>
              </a:pPr>
              <a:r>
                <a:rPr lang="de-DE" sz="2000" b="0" strike="noStrike" spc="-1" dirty="0">
                  <a:solidFill>
                    <a:srgbClr val="808080"/>
                  </a:solidFill>
                  <a:latin typeface="Arial" panose="020B0604020202020204" pitchFamily="34" charset="0"/>
                  <a:cs typeface="Arial" panose="020B0604020202020204" pitchFamily="34" charset="0"/>
                </a:rPr>
                <a:t>Nur zu bestimmten Zeitpunkten</a:t>
              </a:r>
              <a:endParaRPr lang="de-DE" sz="2000" b="0" strike="noStrike" spc="-1" dirty="0">
                <a:latin typeface="Arial" panose="020B0604020202020204" pitchFamily="34" charset="0"/>
                <a:cs typeface="Arial" panose="020B0604020202020204" pitchFamily="34" charset="0"/>
              </a:endParaRPr>
            </a:p>
          </p:txBody>
        </p:sp>
        <p:sp>
          <p:nvSpPr>
            <p:cNvPr id="57" name="Line 27">
              <a:extLst>
                <a:ext uri="{FF2B5EF4-FFF2-40B4-BE49-F238E27FC236}">
                  <a16:creationId xmlns:a16="http://schemas.microsoft.com/office/drawing/2014/main" id="{56D55314-2287-4887-90B9-BEFE39BD329F}"/>
                </a:ext>
              </a:extLst>
            </p:cNvPr>
            <p:cNvSpPr/>
            <p:nvPr/>
          </p:nvSpPr>
          <p:spPr>
            <a:xfrm flipV="1">
              <a:off x="5392777" y="3919637"/>
              <a:ext cx="360" cy="1686960"/>
            </a:xfrm>
            <a:prstGeom prst="line">
              <a:avLst/>
            </a:prstGeom>
            <a:ln/>
          </p:spPr>
          <p:style>
            <a:lnRef idx="1">
              <a:schemeClr val="accent1"/>
            </a:lnRef>
            <a:fillRef idx="0">
              <a:schemeClr val="accent1"/>
            </a:fillRef>
            <a:effectRef idx="0">
              <a:schemeClr val="accent1"/>
            </a:effectRef>
            <a:fontRef idx="minor"/>
          </p:style>
        </p:sp>
        <p:sp>
          <p:nvSpPr>
            <p:cNvPr id="59" name="CustomShape 28">
              <a:extLst>
                <a:ext uri="{FF2B5EF4-FFF2-40B4-BE49-F238E27FC236}">
                  <a16:creationId xmlns:a16="http://schemas.microsoft.com/office/drawing/2014/main" id="{5FC7F640-6131-49FE-9EE6-DCCEC3061593}"/>
                </a:ext>
              </a:extLst>
            </p:cNvPr>
            <p:cNvSpPr/>
            <p:nvPr/>
          </p:nvSpPr>
          <p:spPr>
            <a:xfrm>
              <a:off x="9149737" y="4622717"/>
              <a:ext cx="3551400" cy="128197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800" b="1" strike="noStrike" spc="-1" dirty="0">
                  <a:solidFill>
                    <a:srgbClr val="000000"/>
                  </a:solidFill>
                  <a:latin typeface="Arial" panose="020B0604020202020204" pitchFamily="34" charset="0"/>
                  <a:cs typeface="Arial" panose="020B0604020202020204" pitchFamily="34" charset="0"/>
                </a:rPr>
                <a:t>European Style</a:t>
              </a:r>
              <a:endParaRPr lang="de-DE" sz="2800" b="0" strike="noStrike" spc="-1" dirty="0">
                <a:latin typeface="Arial" panose="020B0604020202020204" pitchFamily="34" charset="0"/>
                <a:cs typeface="Arial" panose="020B0604020202020204" pitchFamily="34" charset="0"/>
              </a:endParaRPr>
            </a:p>
            <a:p>
              <a:pPr>
                <a:lnSpc>
                  <a:spcPct val="100000"/>
                </a:lnSpc>
              </a:pPr>
              <a:endParaRPr lang="de-DE" sz="2800" b="0" strike="noStrike" spc="-1" dirty="0">
                <a:latin typeface="Arial" panose="020B0604020202020204" pitchFamily="34" charset="0"/>
                <a:cs typeface="Arial" panose="020B0604020202020204" pitchFamily="34" charset="0"/>
              </a:endParaRPr>
            </a:p>
            <a:p>
              <a:pPr>
                <a:lnSpc>
                  <a:spcPct val="100000"/>
                </a:lnSpc>
              </a:pPr>
              <a:r>
                <a:rPr lang="de-DE" sz="2000" b="0" strike="noStrike" spc="-1" dirty="0">
                  <a:solidFill>
                    <a:srgbClr val="808080"/>
                  </a:solidFill>
                  <a:latin typeface="Arial" panose="020B0604020202020204" pitchFamily="34" charset="0"/>
                  <a:cs typeface="Arial" panose="020B0604020202020204" pitchFamily="34" charset="0"/>
                </a:rPr>
                <a:t>Nur am Ende der Laufzeit</a:t>
              </a:r>
              <a:endParaRPr lang="de-DE" sz="2000" b="0" strike="noStrike" spc="-1" dirty="0">
                <a:latin typeface="Arial" panose="020B0604020202020204" pitchFamily="34" charset="0"/>
                <a:cs typeface="Arial" panose="020B0604020202020204" pitchFamily="34" charset="0"/>
              </a:endParaRPr>
            </a:p>
          </p:txBody>
        </p:sp>
        <p:sp>
          <p:nvSpPr>
            <p:cNvPr id="61" name="Line 29">
              <a:extLst>
                <a:ext uri="{FF2B5EF4-FFF2-40B4-BE49-F238E27FC236}">
                  <a16:creationId xmlns:a16="http://schemas.microsoft.com/office/drawing/2014/main" id="{769D2B61-757B-48D3-A650-3DBDBEB04FF9}"/>
                </a:ext>
              </a:extLst>
            </p:cNvPr>
            <p:cNvSpPr/>
            <p:nvPr/>
          </p:nvSpPr>
          <p:spPr>
            <a:xfrm flipV="1">
              <a:off x="9149737" y="3909197"/>
              <a:ext cx="360" cy="1686960"/>
            </a:xfrm>
            <a:prstGeom prst="line">
              <a:avLst/>
            </a:prstGeom>
            <a:ln/>
          </p:spPr>
          <p:style>
            <a:lnRef idx="1">
              <a:schemeClr val="accent1"/>
            </a:lnRef>
            <a:fillRef idx="0">
              <a:schemeClr val="accent1"/>
            </a:fillRef>
            <a:effectRef idx="0">
              <a:schemeClr val="accent1"/>
            </a:effectRef>
            <a:fontRef idx="minor"/>
          </p:style>
        </p:sp>
        <p:sp>
          <p:nvSpPr>
            <p:cNvPr id="63" name="CustomShape 30">
              <a:extLst>
                <a:ext uri="{FF2B5EF4-FFF2-40B4-BE49-F238E27FC236}">
                  <a16:creationId xmlns:a16="http://schemas.microsoft.com/office/drawing/2014/main" id="{E4B9BD3B-CA89-46E6-A699-542584F4DE11}"/>
                </a:ext>
              </a:extLst>
            </p:cNvPr>
            <p:cNvSpPr/>
            <p:nvPr/>
          </p:nvSpPr>
          <p:spPr>
            <a:xfrm>
              <a:off x="1341697" y="4603637"/>
              <a:ext cx="3551400" cy="128197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800" b="1" strike="noStrike" spc="-1" dirty="0">
                  <a:solidFill>
                    <a:srgbClr val="000000"/>
                  </a:solidFill>
                  <a:latin typeface="Arial" panose="020B0604020202020204" pitchFamily="34" charset="0"/>
                  <a:cs typeface="Arial" panose="020B0604020202020204" pitchFamily="34" charset="0"/>
                </a:rPr>
                <a:t>American Style</a:t>
              </a:r>
              <a:endParaRPr lang="de-DE" sz="2800" b="0" strike="noStrike" spc="-1" dirty="0">
                <a:latin typeface="Arial" panose="020B0604020202020204" pitchFamily="34" charset="0"/>
                <a:cs typeface="Arial" panose="020B0604020202020204" pitchFamily="34" charset="0"/>
              </a:endParaRPr>
            </a:p>
            <a:p>
              <a:pPr>
                <a:lnSpc>
                  <a:spcPct val="100000"/>
                </a:lnSpc>
              </a:pPr>
              <a:endParaRPr lang="de-DE" sz="2800" b="0" strike="noStrike" spc="-1" dirty="0">
                <a:latin typeface="Arial" panose="020B0604020202020204" pitchFamily="34" charset="0"/>
                <a:cs typeface="Arial" panose="020B0604020202020204" pitchFamily="34" charset="0"/>
              </a:endParaRPr>
            </a:p>
            <a:p>
              <a:pPr>
                <a:lnSpc>
                  <a:spcPct val="100000"/>
                </a:lnSpc>
              </a:pPr>
              <a:r>
                <a:rPr lang="de-DE" sz="2000" b="0" strike="noStrike" spc="-1" dirty="0">
                  <a:solidFill>
                    <a:srgbClr val="808080"/>
                  </a:solidFill>
                  <a:latin typeface="Arial" panose="020B0604020202020204" pitchFamily="34" charset="0"/>
                  <a:cs typeface="Arial" panose="020B0604020202020204" pitchFamily="34" charset="0"/>
                </a:rPr>
                <a:t>Zu jedem Zeitpunkt</a:t>
              </a:r>
              <a:endParaRPr lang="de-DE" sz="2000" b="0" strike="noStrike" spc="-1" dirty="0">
                <a:latin typeface="Arial" panose="020B0604020202020204" pitchFamily="34" charset="0"/>
                <a:cs typeface="Arial" panose="020B0604020202020204" pitchFamily="34" charset="0"/>
              </a:endParaRPr>
            </a:p>
          </p:txBody>
        </p:sp>
        <p:sp>
          <p:nvSpPr>
            <p:cNvPr id="65" name="Line 31">
              <a:extLst>
                <a:ext uri="{FF2B5EF4-FFF2-40B4-BE49-F238E27FC236}">
                  <a16:creationId xmlns:a16="http://schemas.microsoft.com/office/drawing/2014/main" id="{48ECFB6B-5CE7-46B6-B4CB-4E3D69ADDA4C}"/>
                </a:ext>
              </a:extLst>
            </p:cNvPr>
            <p:cNvSpPr/>
            <p:nvPr/>
          </p:nvSpPr>
          <p:spPr>
            <a:xfrm flipV="1">
              <a:off x="1341337" y="3892277"/>
              <a:ext cx="360" cy="1684800"/>
            </a:xfrm>
            <a:prstGeom prst="line">
              <a:avLst/>
            </a:prstGeom>
            <a:ln/>
          </p:spPr>
          <p:style>
            <a:lnRef idx="1">
              <a:schemeClr val="accent1"/>
            </a:lnRef>
            <a:fillRef idx="0">
              <a:schemeClr val="accent1"/>
            </a:fillRef>
            <a:effectRef idx="0">
              <a:schemeClr val="accent1"/>
            </a:effectRef>
            <a:fontRef idx="minor"/>
          </p:style>
        </p:sp>
      </p:grpSp>
    </p:spTree>
    <p:extLst>
      <p:ext uri="{BB962C8B-B14F-4D97-AF65-F5344CB8AC3E}">
        <p14:creationId xmlns:p14="http://schemas.microsoft.com/office/powerpoint/2010/main" val="657475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45E52D1-4F86-4375-A42D-C7E51FD2DF80}"/>
              </a:ext>
            </a:extLst>
          </p:cNvPr>
          <p:cNvSpPr>
            <a:spLocks noGrp="1"/>
          </p:cNvSpPr>
          <p:nvPr>
            <p:ph type="sldNum" sz="quarter" idx="10"/>
          </p:nvPr>
        </p:nvSpPr>
        <p:spPr/>
        <p:txBody>
          <a:bodyPr/>
          <a:lstStyle/>
          <a:p>
            <a:fld id="{F966D7FF-EADB-4E92-9989-4DE4533DAC48}" type="slidenum">
              <a:rPr lang="de-DE" smtClean="0"/>
              <a:pPr/>
              <a:t>32</a:t>
            </a:fld>
            <a:endParaRPr lang="de-DE" dirty="0"/>
          </a:p>
        </p:txBody>
      </p:sp>
      <p:sp>
        <p:nvSpPr>
          <p:cNvPr id="3" name="Inhaltsplatzhalter 2">
            <a:extLst>
              <a:ext uri="{FF2B5EF4-FFF2-40B4-BE49-F238E27FC236}">
                <a16:creationId xmlns:a16="http://schemas.microsoft.com/office/drawing/2014/main" id="{71B9F4DE-6229-4C10-BDBC-5FB0AE07EA0E}"/>
              </a:ext>
            </a:extLst>
          </p:cNvPr>
          <p:cNvSpPr>
            <a:spLocks noGrp="1"/>
          </p:cNvSpPr>
          <p:nvPr>
            <p:ph idx="11"/>
          </p:nvPr>
        </p:nvSpPr>
        <p:spPr/>
        <p:txBody>
          <a:bodyPr/>
          <a:lstStyle/>
          <a:p>
            <a:r>
              <a:rPr lang="de-DE" sz="1200" dirty="0">
                <a:ea typeface="Verdana"/>
                <a:cs typeface="Arial"/>
              </a:rPr>
              <a:t>Call-Optionen-Chancen &amp; Risiken</a:t>
            </a:r>
            <a:endParaRPr lang="de-DE" sz="1200" dirty="0"/>
          </a:p>
        </p:txBody>
      </p:sp>
      <p:sp>
        <p:nvSpPr>
          <p:cNvPr id="5" name="Inhaltsplatzhalter 4">
            <a:extLst>
              <a:ext uri="{FF2B5EF4-FFF2-40B4-BE49-F238E27FC236}">
                <a16:creationId xmlns:a16="http://schemas.microsoft.com/office/drawing/2014/main" id="{F5F207D9-7991-414B-B9B0-0716D54E104F}"/>
              </a:ext>
            </a:extLst>
          </p:cNvPr>
          <p:cNvSpPr>
            <a:spLocks noGrp="1"/>
          </p:cNvSpPr>
          <p:nvPr>
            <p:ph idx="12"/>
          </p:nvPr>
        </p:nvSpPr>
        <p:spPr/>
        <p:txBody>
          <a:bodyPr/>
          <a:lstStyle/>
          <a:p>
            <a:r>
              <a:rPr lang="de-DE" dirty="0"/>
              <a:t>Mit Call-Optionen kann auf steigende und fallende Kurse spekuliert werden – im Falle eines Short Calls sind mögliche Verluste allerdings theoretisch unbegrenzt</a:t>
            </a:r>
          </a:p>
        </p:txBody>
      </p:sp>
      <p:grpSp>
        <p:nvGrpSpPr>
          <p:cNvPr id="24" name="Gruppieren 23">
            <a:extLst>
              <a:ext uri="{FF2B5EF4-FFF2-40B4-BE49-F238E27FC236}">
                <a16:creationId xmlns:a16="http://schemas.microsoft.com/office/drawing/2014/main" id="{2F74920B-9E84-4333-9DF5-7E704FA8EE96}"/>
              </a:ext>
            </a:extLst>
          </p:cNvPr>
          <p:cNvGrpSpPr/>
          <p:nvPr/>
        </p:nvGrpSpPr>
        <p:grpSpPr>
          <a:xfrm>
            <a:off x="755640" y="1367280"/>
            <a:ext cx="11040480" cy="5063040"/>
            <a:chOff x="527040" y="1367280"/>
            <a:chExt cx="11040480" cy="5063040"/>
          </a:xfrm>
        </p:grpSpPr>
        <p:pic>
          <p:nvPicPr>
            <p:cNvPr id="7" name="Picture 3">
              <a:extLst>
                <a:ext uri="{FF2B5EF4-FFF2-40B4-BE49-F238E27FC236}">
                  <a16:creationId xmlns:a16="http://schemas.microsoft.com/office/drawing/2014/main" id="{08AAE4FD-C846-472A-A330-03C24E27F9BF}"/>
                </a:ext>
              </a:extLst>
            </p:cNvPr>
            <p:cNvPicPr/>
            <p:nvPr/>
          </p:nvPicPr>
          <p:blipFill>
            <a:blip r:embed="rId3"/>
            <a:stretch/>
          </p:blipFill>
          <p:spPr>
            <a:xfrm>
              <a:off x="6430320" y="3873600"/>
              <a:ext cx="3697560" cy="2556720"/>
            </a:xfrm>
            <a:prstGeom prst="rect">
              <a:avLst/>
            </a:prstGeom>
            <a:ln>
              <a:noFill/>
            </a:ln>
          </p:spPr>
        </p:pic>
        <p:pic>
          <p:nvPicPr>
            <p:cNvPr id="9" name="Picture 2">
              <a:extLst>
                <a:ext uri="{FF2B5EF4-FFF2-40B4-BE49-F238E27FC236}">
                  <a16:creationId xmlns:a16="http://schemas.microsoft.com/office/drawing/2014/main" id="{7C015D10-DFA8-49B3-BD52-A62179426BF5}"/>
                </a:ext>
              </a:extLst>
            </p:cNvPr>
            <p:cNvPicPr/>
            <p:nvPr/>
          </p:nvPicPr>
          <p:blipFill>
            <a:blip r:embed="rId4"/>
            <a:stretch/>
          </p:blipFill>
          <p:spPr>
            <a:xfrm>
              <a:off x="2711380" y="3826800"/>
              <a:ext cx="3644640" cy="2577600"/>
            </a:xfrm>
            <a:prstGeom prst="rect">
              <a:avLst/>
            </a:prstGeom>
            <a:ln>
              <a:noFill/>
            </a:ln>
          </p:spPr>
        </p:pic>
        <p:sp>
          <p:nvSpPr>
            <p:cNvPr id="11" name="CustomShape 2">
              <a:extLst>
                <a:ext uri="{FF2B5EF4-FFF2-40B4-BE49-F238E27FC236}">
                  <a16:creationId xmlns:a16="http://schemas.microsoft.com/office/drawing/2014/main" id="{9FE35B89-6441-4DD1-AB4D-F20D419C4896}"/>
                </a:ext>
              </a:extLst>
            </p:cNvPr>
            <p:cNvSpPr/>
            <p:nvPr/>
          </p:nvSpPr>
          <p:spPr>
            <a:xfrm>
              <a:off x="527040" y="1701720"/>
              <a:ext cx="2400120" cy="321481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solidFill>
                    <a:sysClr val="windowText" lastClr="000000"/>
                  </a:solidFill>
                  <a:latin typeface="Calibri"/>
                </a:rPr>
                <a:t>Long Position</a:t>
              </a:r>
              <a:endParaRPr lang="de-DE" sz="2670" b="0" strike="noStrike" spc="-1" dirty="0">
                <a:solidFill>
                  <a:sysClr val="windowText" lastClr="000000"/>
                </a:solidFill>
                <a:latin typeface="Arial"/>
              </a:endParaRPr>
            </a:p>
            <a:p>
              <a:pPr>
                <a:lnSpc>
                  <a:spcPct val="100000"/>
                </a:lnSpc>
              </a:pPr>
              <a:endParaRPr lang="de-DE" sz="2670" b="0" strike="noStrike" spc="-1" dirty="0">
                <a:solidFill>
                  <a:sysClr val="windowText" lastClr="000000"/>
                </a:solidFill>
                <a:latin typeface="Arial"/>
              </a:endParaRPr>
            </a:p>
            <a:p>
              <a:pPr>
                <a:lnSpc>
                  <a:spcPct val="100000"/>
                </a:lnSpc>
              </a:pPr>
              <a:r>
                <a:rPr lang="de-DE" sz="1870" b="1" strike="noStrike" spc="-1" dirty="0">
                  <a:solidFill>
                    <a:sysClr val="windowText" lastClr="000000"/>
                  </a:solidFill>
                  <a:latin typeface="Calibri"/>
                </a:rPr>
                <a:t>Chancen: </a:t>
              </a:r>
              <a:r>
                <a:rPr lang="de-DE" sz="1870" b="0" strike="noStrike" spc="-1" dirty="0">
                  <a:solidFill>
                    <a:sysClr val="windowText" lastClr="000000"/>
                  </a:solidFill>
                  <a:latin typeface="Calibri"/>
                </a:rPr>
                <a:t>unbegrenzt (aktueller Aktienkurs – Basispreis/Strike)</a:t>
              </a:r>
              <a:endParaRPr lang="de-DE" sz="1870" b="0" strike="noStrike" spc="-1" dirty="0">
                <a:solidFill>
                  <a:sysClr val="windowText" lastClr="000000"/>
                </a:solidFill>
                <a:latin typeface="Arial"/>
              </a:endParaRPr>
            </a:p>
            <a:p>
              <a:pPr>
                <a:lnSpc>
                  <a:spcPct val="100000"/>
                </a:lnSpc>
              </a:pPr>
              <a:endParaRPr lang="de-DE" sz="1870" b="0" strike="noStrike" spc="-1" dirty="0">
                <a:solidFill>
                  <a:sysClr val="windowText" lastClr="000000"/>
                </a:solidFill>
                <a:latin typeface="Arial"/>
              </a:endParaRPr>
            </a:p>
            <a:p>
              <a:pPr>
                <a:lnSpc>
                  <a:spcPct val="100000"/>
                </a:lnSpc>
              </a:pPr>
              <a:r>
                <a:rPr lang="de-DE" sz="1870" b="1" strike="noStrike" spc="-1" dirty="0">
                  <a:solidFill>
                    <a:sysClr val="windowText" lastClr="000000"/>
                  </a:solidFill>
                  <a:latin typeface="Calibri"/>
                </a:rPr>
                <a:t>Risiken: </a:t>
              </a:r>
              <a:r>
                <a:rPr lang="de-DE" sz="1870" b="0" strike="noStrike" spc="-1" dirty="0">
                  <a:solidFill>
                    <a:sysClr val="windowText" lastClr="000000"/>
                  </a:solidFill>
                  <a:latin typeface="Calibri"/>
                </a:rPr>
                <a:t>Verlust ist auf die Höhe der Optionsprämie beschränkt</a:t>
              </a:r>
              <a:endParaRPr lang="de-DE" sz="1870" b="0" strike="noStrike" spc="-1" dirty="0">
                <a:solidFill>
                  <a:sysClr val="windowText" lastClr="000000"/>
                </a:solidFill>
                <a:latin typeface="Arial"/>
              </a:endParaRPr>
            </a:p>
          </p:txBody>
        </p:sp>
        <p:sp>
          <p:nvSpPr>
            <p:cNvPr id="13" name="Line 3">
              <a:extLst>
                <a:ext uri="{FF2B5EF4-FFF2-40B4-BE49-F238E27FC236}">
                  <a16:creationId xmlns:a16="http://schemas.microsoft.com/office/drawing/2014/main" id="{D5F1B53E-C61A-4893-A4E8-91D58E957980}"/>
                </a:ext>
              </a:extLst>
            </p:cNvPr>
            <p:cNvSpPr/>
            <p:nvPr/>
          </p:nvSpPr>
          <p:spPr>
            <a:xfrm flipV="1">
              <a:off x="527040" y="1367280"/>
              <a:ext cx="360" cy="16869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5" name="CustomShape 4">
              <a:extLst>
                <a:ext uri="{FF2B5EF4-FFF2-40B4-BE49-F238E27FC236}">
                  <a16:creationId xmlns:a16="http://schemas.microsoft.com/office/drawing/2014/main" id="{ABD01DDA-237D-44BE-98D6-C6BF7A5F250A}"/>
                </a:ext>
              </a:extLst>
            </p:cNvPr>
            <p:cNvSpPr/>
            <p:nvPr/>
          </p:nvSpPr>
          <p:spPr>
            <a:xfrm>
              <a:off x="9167400" y="1701720"/>
              <a:ext cx="2400120" cy="29270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latin typeface="Calibri"/>
                </a:rPr>
                <a:t>Short Position</a:t>
              </a:r>
              <a:endParaRPr lang="de-DE" sz="2670" b="0" strike="noStrike" spc="-1" dirty="0">
                <a:latin typeface="Arial"/>
              </a:endParaRPr>
            </a:p>
            <a:p>
              <a:pPr>
                <a:lnSpc>
                  <a:spcPct val="100000"/>
                </a:lnSpc>
              </a:pPr>
              <a:endParaRPr lang="de-DE" sz="2670" b="0" strike="noStrike" spc="-1" dirty="0">
                <a:latin typeface="Arial"/>
              </a:endParaRPr>
            </a:p>
            <a:p>
              <a:pPr>
                <a:lnSpc>
                  <a:spcPct val="100000"/>
                </a:lnSpc>
              </a:pPr>
              <a:r>
                <a:rPr lang="de-DE" sz="1870" b="1" strike="noStrike" spc="-1" dirty="0">
                  <a:latin typeface="Calibri"/>
                </a:rPr>
                <a:t>Chancen: </a:t>
              </a:r>
              <a:r>
                <a:rPr lang="de-DE" sz="1870" b="0" strike="noStrike" spc="-1" dirty="0">
                  <a:latin typeface="Calibri"/>
                </a:rPr>
                <a:t>begrenzt (auf Höhe der Optionsprämie)</a:t>
              </a:r>
              <a:endParaRPr lang="de-DE" sz="1870" b="0" strike="noStrike" spc="-1" dirty="0">
                <a:latin typeface="Arial"/>
              </a:endParaRPr>
            </a:p>
            <a:p>
              <a:pPr>
                <a:lnSpc>
                  <a:spcPct val="100000"/>
                </a:lnSpc>
              </a:pPr>
              <a:endParaRPr lang="de-DE" sz="1870" b="0" strike="noStrike" spc="-1" dirty="0">
                <a:latin typeface="Arial"/>
              </a:endParaRPr>
            </a:p>
            <a:p>
              <a:pPr>
                <a:lnSpc>
                  <a:spcPct val="100000"/>
                </a:lnSpc>
              </a:pPr>
              <a:r>
                <a:rPr lang="de-DE" sz="1870" b="1" strike="noStrike" spc="-1" dirty="0">
                  <a:latin typeface="Calibri"/>
                </a:rPr>
                <a:t>Risiken: </a:t>
              </a:r>
              <a:endParaRPr lang="de-DE" sz="1870" b="0" strike="noStrike" spc="-1" dirty="0">
                <a:latin typeface="Arial"/>
              </a:endParaRPr>
            </a:p>
            <a:p>
              <a:pPr>
                <a:lnSpc>
                  <a:spcPct val="100000"/>
                </a:lnSpc>
              </a:pPr>
              <a:r>
                <a:rPr lang="de-DE" sz="1870" b="0" strike="noStrike" spc="-1" dirty="0">
                  <a:latin typeface="Calibri"/>
                </a:rPr>
                <a:t>unbegrenzte Risiken bei steigendem Kurs</a:t>
              </a:r>
              <a:endParaRPr lang="de-DE" sz="1870" b="0" strike="noStrike" spc="-1" dirty="0">
                <a:latin typeface="Arial"/>
              </a:endParaRPr>
            </a:p>
          </p:txBody>
        </p:sp>
        <p:sp>
          <p:nvSpPr>
            <p:cNvPr id="17" name="Line 5">
              <a:extLst>
                <a:ext uri="{FF2B5EF4-FFF2-40B4-BE49-F238E27FC236}">
                  <a16:creationId xmlns:a16="http://schemas.microsoft.com/office/drawing/2014/main" id="{53FD6AA2-9E1E-447A-A0BA-D4E611743EEB}"/>
                </a:ext>
              </a:extLst>
            </p:cNvPr>
            <p:cNvSpPr/>
            <p:nvPr/>
          </p:nvSpPr>
          <p:spPr>
            <a:xfrm flipV="1">
              <a:off x="9167040" y="1367280"/>
              <a:ext cx="360" cy="16869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9" name="CustomShape 6">
              <a:extLst>
                <a:ext uri="{FF2B5EF4-FFF2-40B4-BE49-F238E27FC236}">
                  <a16:creationId xmlns:a16="http://schemas.microsoft.com/office/drawing/2014/main" id="{CA3A9E81-BD40-46BC-B613-629098D81474}"/>
                </a:ext>
              </a:extLst>
            </p:cNvPr>
            <p:cNvSpPr/>
            <p:nvPr/>
          </p:nvSpPr>
          <p:spPr>
            <a:xfrm rot="16200000" flipH="1">
              <a:off x="2872800" y="2360880"/>
              <a:ext cx="1527840" cy="1225080"/>
            </a:xfrm>
            <a:prstGeom prst="bentConnector3">
              <a:avLst>
                <a:gd name="adj1" fmla="val -1326"/>
              </a:avLst>
            </a:prstGeom>
            <a:noFill/>
            <a:ln w="76320">
              <a:solidFill>
                <a:schemeClr val="accent4"/>
              </a:solidFill>
              <a:tailEnd type="triangle" w="med" len="med"/>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7">
              <a:extLst>
                <a:ext uri="{FF2B5EF4-FFF2-40B4-BE49-F238E27FC236}">
                  <a16:creationId xmlns:a16="http://schemas.microsoft.com/office/drawing/2014/main" id="{64FAAC35-D0B4-4A82-A5E0-70BD95E1FAA5}"/>
                </a:ext>
              </a:extLst>
            </p:cNvPr>
            <p:cNvSpPr/>
            <p:nvPr/>
          </p:nvSpPr>
          <p:spPr>
            <a:xfrm rot="5400000">
              <a:off x="7635240" y="2368440"/>
              <a:ext cx="1530000" cy="1153080"/>
            </a:xfrm>
            <a:prstGeom prst="bentConnector3">
              <a:avLst>
                <a:gd name="adj1" fmla="val -2209"/>
              </a:avLst>
            </a:prstGeom>
            <a:noFill/>
            <a:ln w="76320">
              <a:solidFill>
                <a:schemeClr val="accent4"/>
              </a:solidFill>
              <a:tailEnd type="triangle" w="med" len="med"/>
            </a:ln>
          </p:spPr>
          <p:style>
            <a:lnRef idx="1">
              <a:schemeClr val="accent1"/>
            </a:lnRef>
            <a:fillRef idx="0">
              <a:schemeClr val="accent1"/>
            </a:fillRef>
            <a:effectRef idx="0">
              <a:schemeClr val="accent1"/>
            </a:effectRef>
            <a:fontRef idx="minor"/>
          </p:style>
          <p:txBody>
            <a:bodyPr/>
            <a:lstStyle/>
            <a:p>
              <a:endParaRPr lang="de-DE"/>
            </a:p>
          </p:txBody>
        </p:sp>
        <p:sp>
          <p:nvSpPr>
            <p:cNvPr id="23" name="Textfeld 22">
              <a:extLst>
                <a:ext uri="{FF2B5EF4-FFF2-40B4-BE49-F238E27FC236}">
                  <a16:creationId xmlns:a16="http://schemas.microsoft.com/office/drawing/2014/main" id="{5BF3327C-69B2-440F-B87A-AAA9E40DFFC4}"/>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solidFill>
                  <a:srgbClr val="000000"/>
                </a:solidFill>
                <a:latin typeface="-webkit-standard"/>
                <a:ea typeface="Verdana" panose="020B0604030504040204" pitchFamily="34" charset="0"/>
                <a:cs typeface="Calibri"/>
              </a:endParaRPr>
            </a:p>
          </p:txBody>
        </p:sp>
      </p:grpSp>
    </p:spTree>
    <p:extLst>
      <p:ext uri="{BB962C8B-B14F-4D97-AF65-F5344CB8AC3E}">
        <p14:creationId xmlns:p14="http://schemas.microsoft.com/office/powerpoint/2010/main" val="16022360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BB66F8E-4630-4E75-84DF-ED52939B91B3}"/>
              </a:ext>
            </a:extLst>
          </p:cNvPr>
          <p:cNvSpPr>
            <a:spLocks noGrp="1"/>
          </p:cNvSpPr>
          <p:nvPr>
            <p:ph type="sldNum" sz="quarter" idx="10"/>
          </p:nvPr>
        </p:nvSpPr>
        <p:spPr/>
        <p:txBody>
          <a:bodyPr/>
          <a:lstStyle/>
          <a:p>
            <a:fld id="{F966D7FF-EADB-4E92-9989-4DE4533DAC48}" type="slidenum">
              <a:rPr lang="de-DE" smtClean="0"/>
              <a:pPr/>
              <a:t>33</a:t>
            </a:fld>
            <a:endParaRPr lang="de-DE" dirty="0"/>
          </a:p>
        </p:txBody>
      </p:sp>
      <p:sp>
        <p:nvSpPr>
          <p:cNvPr id="3" name="Inhaltsplatzhalter 2">
            <a:extLst>
              <a:ext uri="{FF2B5EF4-FFF2-40B4-BE49-F238E27FC236}">
                <a16:creationId xmlns:a16="http://schemas.microsoft.com/office/drawing/2014/main" id="{B69CB76C-41A8-4843-B108-D5E396D234B7}"/>
              </a:ext>
            </a:extLst>
          </p:cNvPr>
          <p:cNvSpPr>
            <a:spLocks noGrp="1"/>
          </p:cNvSpPr>
          <p:nvPr>
            <p:ph idx="11"/>
          </p:nvPr>
        </p:nvSpPr>
        <p:spPr/>
        <p:txBody>
          <a:bodyPr/>
          <a:lstStyle/>
          <a:p>
            <a:r>
              <a:rPr lang="de-DE" sz="1200" dirty="0">
                <a:ea typeface="Verdana"/>
                <a:cs typeface="Arial"/>
              </a:rPr>
              <a:t>Put-Optionen-Chancen &amp; Risiken</a:t>
            </a:r>
            <a:endParaRPr lang="de-DE" sz="1200" dirty="0"/>
          </a:p>
        </p:txBody>
      </p:sp>
      <p:sp>
        <p:nvSpPr>
          <p:cNvPr id="5" name="Inhaltsplatzhalter 4">
            <a:extLst>
              <a:ext uri="{FF2B5EF4-FFF2-40B4-BE49-F238E27FC236}">
                <a16:creationId xmlns:a16="http://schemas.microsoft.com/office/drawing/2014/main" id="{2F8C3149-D1BD-49C1-B995-0C94737F74C6}"/>
              </a:ext>
            </a:extLst>
          </p:cNvPr>
          <p:cNvSpPr>
            <a:spLocks noGrp="1"/>
          </p:cNvSpPr>
          <p:nvPr>
            <p:ph idx="12"/>
          </p:nvPr>
        </p:nvSpPr>
        <p:spPr/>
        <p:txBody>
          <a:bodyPr/>
          <a:lstStyle/>
          <a:p>
            <a:r>
              <a:rPr lang="de-DE" dirty="0"/>
              <a:t>Mit Put-Optionen kann auf steigende und fallende Kurse spekuliert werden – im Falle eines Short Puts sind mögliche Verluste allerdings theoretisch unbegrenzt</a:t>
            </a:r>
          </a:p>
        </p:txBody>
      </p:sp>
      <p:grpSp>
        <p:nvGrpSpPr>
          <p:cNvPr id="22" name="Gruppieren 21">
            <a:extLst>
              <a:ext uri="{FF2B5EF4-FFF2-40B4-BE49-F238E27FC236}">
                <a16:creationId xmlns:a16="http://schemas.microsoft.com/office/drawing/2014/main" id="{21DC59D9-CCED-436D-84D4-0D3901698DA4}"/>
              </a:ext>
            </a:extLst>
          </p:cNvPr>
          <p:cNvGrpSpPr/>
          <p:nvPr/>
        </p:nvGrpSpPr>
        <p:grpSpPr>
          <a:xfrm>
            <a:off x="793740" y="1367280"/>
            <a:ext cx="11040480" cy="4895280"/>
            <a:chOff x="527040" y="1367280"/>
            <a:chExt cx="11040480" cy="4895280"/>
          </a:xfrm>
        </p:grpSpPr>
        <p:pic>
          <p:nvPicPr>
            <p:cNvPr id="7" name="Picture 2">
              <a:extLst>
                <a:ext uri="{FF2B5EF4-FFF2-40B4-BE49-F238E27FC236}">
                  <a16:creationId xmlns:a16="http://schemas.microsoft.com/office/drawing/2014/main" id="{9596F53F-A524-4696-B377-CB9C3B4CCF3B}"/>
                </a:ext>
              </a:extLst>
            </p:cNvPr>
            <p:cNvPicPr/>
            <p:nvPr/>
          </p:nvPicPr>
          <p:blipFill>
            <a:blip r:embed="rId3"/>
            <a:stretch/>
          </p:blipFill>
          <p:spPr>
            <a:xfrm>
              <a:off x="2451240" y="3737880"/>
              <a:ext cx="3595680" cy="2524680"/>
            </a:xfrm>
            <a:prstGeom prst="rect">
              <a:avLst/>
            </a:prstGeom>
            <a:ln>
              <a:noFill/>
            </a:ln>
          </p:spPr>
        </p:pic>
        <p:pic>
          <p:nvPicPr>
            <p:cNvPr id="9" name="Picture 4">
              <a:extLst>
                <a:ext uri="{FF2B5EF4-FFF2-40B4-BE49-F238E27FC236}">
                  <a16:creationId xmlns:a16="http://schemas.microsoft.com/office/drawing/2014/main" id="{D8E1CD1B-2BB7-4608-8A1C-AEE12A24120F}"/>
                </a:ext>
              </a:extLst>
            </p:cNvPr>
            <p:cNvPicPr/>
            <p:nvPr/>
          </p:nvPicPr>
          <p:blipFill>
            <a:blip r:embed="rId4"/>
            <a:stretch/>
          </p:blipFill>
          <p:spPr>
            <a:xfrm>
              <a:off x="6665400" y="3737880"/>
              <a:ext cx="3267720" cy="2414880"/>
            </a:xfrm>
            <a:prstGeom prst="rect">
              <a:avLst/>
            </a:prstGeom>
            <a:ln>
              <a:noFill/>
            </a:ln>
          </p:spPr>
        </p:pic>
        <p:sp>
          <p:nvSpPr>
            <p:cNvPr id="11" name="CustomShape 2">
              <a:extLst>
                <a:ext uri="{FF2B5EF4-FFF2-40B4-BE49-F238E27FC236}">
                  <a16:creationId xmlns:a16="http://schemas.microsoft.com/office/drawing/2014/main" id="{86732266-27D3-46B2-99F8-319F64B6B200}"/>
                </a:ext>
              </a:extLst>
            </p:cNvPr>
            <p:cNvSpPr/>
            <p:nvPr/>
          </p:nvSpPr>
          <p:spPr>
            <a:xfrm>
              <a:off x="527040" y="1701720"/>
              <a:ext cx="2400120" cy="30121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rgbClr val="000000"/>
                  </a:solidFill>
                  <a:latin typeface="Calibri"/>
                </a:rPr>
                <a:t>Long Position</a:t>
              </a:r>
              <a:endParaRPr lang="de-DE" sz="2670" b="0" strike="noStrike" spc="-1">
                <a:latin typeface="Arial"/>
              </a:endParaRPr>
            </a:p>
            <a:p>
              <a:pPr>
                <a:lnSpc>
                  <a:spcPct val="100000"/>
                </a:lnSpc>
              </a:pPr>
              <a:endParaRPr lang="de-DE" sz="2670" b="0" strike="noStrike" spc="-1">
                <a:latin typeface="Arial"/>
              </a:endParaRPr>
            </a:p>
            <a:p>
              <a:pPr>
                <a:lnSpc>
                  <a:spcPct val="100000"/>
                </a:lnSpc>
              </a:pPr>
              <a:r>
                <a:rPr lang="de-DE" sz="1870" b="1" strike="noStrike" spc="-1">
                  <a:solidFill>
                    <a:srgbClr val="808080"/>
                  </a:solidFill>
                  <a:latin typeface="Calibri"/>
                </a:rPr>
                <a:t>Chancen: </a:t>
              </a:r>
              <a:r>
                <a:rPr lang="de-DE" sz="1870" b="0" strike="noStrike" spc="-1">
                  <a:solidFill>
                    <a:srgbClr val="808080"/>
                  </a:solidFill>
                  <a:latin typeface="Calibri"/>
                </a:rPr>
                <a:t>Basispreis – aktueller Aktienkurs (Max. wenn U = 0)</a:t>
              </a:r>
              <a:endParaRPr lang="de-DE" sz="1870" b="0" strike="noStrike" spc="-1">
                <a:latin typeface="Arial"/>
              </a:endParaRPr>
            </a:p>
            <a:p>
              <a:pPr>
                <a:lnSpc>
                  <a:spcPct val="100000"/>
                </a:lnSpc>
              </a:pPr>
              <a:endParaRPr lang="de-DE" sz="1870" b="0" strike="noStrike" spc="-1">
                <a:latin typeface="Arial"/>
              </a:endParaRPr>
            </a:p>
            <a:p>
              <a:pPr>
                <a:lnSpc>
                  <a:spcPct val="100000"/>
                </a:lnSpc>
              </a:pPr>
              <a:r>
                <a:rPr lang="de-DE" sz="1870" b="1" strike="noStrike" spc="-1">
                  <a:solidFill>
                    <a:srgbClr val="808080"/>
                  </a:solidFill>
                  <a:latin typeface="Calibri"/>
                </a:rPr>
                <a:t>Risiken: </a:t>
              </a:r>
              <a:r>
                <a:rPr lang="de-DE" sz="1870" b="0" strike="noStrike" spc="-1">
                  <a:solidFill>
                    <a:srgbClr val="808080"/>
                  </a:solidFill>
                  <a:latin typeface="Calibri"/>
                </a:rPr>
                <a:t>Verlust ist auf die Höhe der Optionsprämie   beschränkt</a:t>
              </a:r>
              <a:endParaRPr lang="de-DE" sz="1870" b="0" strike="noStrike" spc="-1">
                <a:latin typeface="Arial"/>
              </a:endParaRPr>
            </a:p>
          </p:txBody>
        </p:sp>
        <p:sp>
          <p:nvSpPr>
            <p:cNvPr id="13" name="Line 3">
              <a:extLst>
                <a:ext uri="{FF2B5EF4-FFF2-40B4-BE49-F238E27FC236}">
                  <a16:creationId xmlns:a16="http://schemas.microsoft.com/office/drawing/2014/main" id="{0BF73A0E-E01C-42B1-A8BA-40C0ECB62054}"/>
                </a:ext>
              </a:extLst>
            </p:cNvPr>
            <p:cNvSpPr/>
            <p:nvPr/>
          </p:nvSpPr>
          <p:spPr>
            <a:xfrm flipV="1">
              <a:off x="527040" y="1367280"/>
              <a:ext cx="360" cy="16869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5" name="CustomShape 4">
              <a:extLst>
                <a:ext uri="{FF2B5EF4-FFF2-40B4-BE49-F238E27FC236}">
                  <a16:creationId xmlns:a16="http://schemas.microsoft.com/office/drawing/2014/main" id="{41DC6E94-986A-4D7F-B6E3-F0CDB30BD4F1}"/>
                </a:ext>
              </a:extLst>
            </p:cNvPr>
            <p:cNvSpPr/>
            <p:nvPr/>
          </p:nvSpPr>
          <p:spPr>
            <a:xfrm>
              <a:off x="9167400" y="1701720"/>
              <a:ext cx="2400120" cy="27280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rgbClr val="000000"/>
                  </a:solidFill>
                  <a:latin typeface="Calibri"/>
                </a:rPr>
                <a:t>Short Position</a:t>
              </a:r>
              <a:endParaRPr lang="de-DE" sz="2670" b="0" strike="noStrike" spc="-1">
                <a:latin typeface="Arial"/>
              </a:endParaRPr>
            </a:p>
            <a:p>
              <a:pPr>
                <a:lnSpc>
                  <a:spcPct val="100000"/>
                </a:lnSpc>
              </a:pPr>
              <a:endParaRPr lang="de-DE" sz="2670" b="0" strike="noStrike" spc="-1">
                <a:latin typeface="Arial"/>
              </a:endParaRPr>
            </a:p>
            <a:p>
              <a:pPr>
                <a:lnSpc>
                  <a:spcPct val="100000"/>
                </a:lnSpc>
              </a:pPr>
              <a:r>
                <a:rPr lang="de-DE" sz="1870" b="1" strike="noStrike" spc="-1">
                  <a:solidFill>
                    <a:srgbClr val="808080"/>
                  </a:solidFill>
                  <a:latin typeface="Calibri"/>
                </a:rPr>
                <a:t>Chancen: </a:t>
              </a:r>
              <a:r>
                <a:rPr lang="de-DE" sz="1870" b="0" strike="noStrike" spc="-1">
                  <a:solidFill>
                    <a:srgbClr val="808080"/>
                  </a:solidFill>
                  <a:latin typeface="Calibri"/>
                </a:rPr>
                <a:t>begrenzt (auf Höhe der Optionsprämie)</a:t>
              </a:r>
              <a:endParaRPr lang="de-DE" sz="1870" b="0" strike="noStrike" spc="-1">
                <a:latin typeface="Arial"/>
              </a:endParaRPr>
            </a:p>
            <a:p>
              <a:pPr>
                <a:lnSpc>
                  <a:spcPct val="100000"/>
                </a:lnSpc>
              </a:pPr>
              <a:endParaRPr lang="de-DE" sz="1870" b="0" strike="noStrike" spc="-1">
                <a:latin typeface="Arial"/>
              </a:endParaRPr>
            </a:p>
            <a:p>
              <a:pPr>
                <a:lnSpc>
                  <a:spcPct val="100000"/>
                </a:lnSpc>
              </a:pPr>
              <a:r>
                <a:rPr lang="de-DE" sz="1870" b="1" strike="noStrike" spc="-1">
                  <a:solidFill>
                    <a:srgbClr val="808080"/>
                  </a:solidFill>
                  <a:latin typeface="Calibri"/>
                </a:rPr>
                <a:t>Risiken: </a:t>
              </a:r>
              <a:r>
                <a:rPr lang="de-DE" sz="1870" b="0" strike="noStrike" spc="-1">
                  <a:solidFill>
                    <a:srgbClr val="808080"/>
                  </a:solidFill>
                  <a:latin typeface="Calibri"/>
                </a:rPr>
                <a:t>Maximalverlust wenn Underlying = 0</a:t>
              </a:r>
              <a:endParaRPr lang="de-DE" sz="1870" b="0" strike="noStrike" spc="-1">
                <a:latin typeface="Arial"/>
              </a:endParaRPr>
            </a:p>
          </p:txBody>
        </p:sp>
        <p:sp>
          <p:nvSpPr>
            <p:cNvPr id="17" name="Line 5">
              <a:extLst>
                <a:ext uri="{FF2B5EF4-FFF2-40B4-BE49-F238E27FC236}">
                  <a16:creationId xmlns:a16="http://schemas.microsoft.com/office/drawing/2014/main" id="{1C089C9D-E337-4C69-BF80-1D3352F21576}"/>
                </a:ext>
              </a:extLst>
            </p:cNvPr>
            <p:cNvSpPr/>
            <p:nvPr/>
          </p:nvSpPr>
          <p:spPr>
            <a:xfrm flipV="1">
              <a:off x="9167040" y="1367280"/>
              <a:ext cx="360" cy="16869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9" name="CustomShape 6">
              <a:extLst>
                <a:ext uri="{FF2B5EF4-FFF2-40B4-BE49-F238E27FC236}">
                  <a16:creationId xmlns:a16="http://schemas.microsoft.com/office/drawing/2014/main" id="{0EB78BC3-6D2A-41B4-ACBB-3BDEF2CE9A31}"/>
                </a:ext>
              </a:extLst>
            </p:cNvPr>
            <p:cNvSpPr/>
            <p:nvPr/>
          </p:nvSpPr>
          <p:spPr>
            <a:xfrm rot="16200000" flipH="1">
              <a:off x="2872800" y="2360880"/>
              <a:ext cx="1527840" cy="1225080"/>
            </a:xfrm>
            <a:prstGeom prst="bentConnector3">
              <a:avLst>
                <a:gd name="adj1" fmla="val -1326"/>
              </a:avLst>
            </a:prstGeom>
            <a:noFill/>
            <a:ln w="76320">
              <a:solidFill>
                <a:schemeClr val="accent4"/>
              </a:solidFill>
              <a:tailEnd type="triangle" w="med" len="med"/>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7">
              <a:extLst>
                <a:ext uri="{FF2B5EF4-FFF2-40B4-BE49-F238E27FC236}">
                  <a16:creationId xmlns:a16="http://schemas.microsoft.com/office/drawing/2014/main" id="{47708400-9B3A-418F-9E64-465E698FEA8E}"/>
                </a:ext>
              </a:extLst>
            </p:cNvPr>
            <p:cNvSpPr/>
            <p:nvPr/>
          </p:nvSpPr>
          <p:spPr>
            <a:xfrm rot="5400000">
              <a:off x="7635240" y="2368440"/>
              <a:ext cx="1530000" cy="1153080"/>
            </a:xfrm>
            <a:prstGeom prst="bentConnector3">
              <a:avLst>
                <a:gd name="adj1" fmla="val -2209"/>
              </a:avLst>
            </a:prstGeom>
            <a:noFill/>
            <a:ln w="76320">
              <a:solidFill>
                <a:schemeClr val="accent4"/>
              </a:solidFill>
              <a:tailEnd type="triangle" w="med" len="med"/>
            </a:ln>
          </p:spPr>
          <p:style>
            <a:lnRef idx="1">
              <a:schemeClr val="accent1"/>
            </a:lnRef>
            <a:fillRef idx="0">
              <a:schemeClr val="accent1"/>
            </a:fillRef>
            <a:effectRef idx="0">
              <a:schemeClr val="accent1"/>
            </a:effectRef>
            <a:fontRef idx="minor"/>
          </p:style>
          <p:txBody>
            <a:bodyPr/>
            <a:lstStyle/>
            <a:p>
              <a:endParaRPr lang="de-DE"/>
            </a:p>
          </p:txBody>
        </p:sp>
      </p:grpSp>
    </p:spTree>
    <p:extLst>
      <p:ext uri="{BB962C8B-B14F-4D97-AF65-F5344CB8AC3E}">
        <p14:creationId xmlns:p14="http://schemas.microsoft.com/office/powerpoint/2010/main" val="26903385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02DD974-1169-4BF5-9814-19CA9DED9CEC}"/>
              </a:ext>
            </a:extLst>
          </p:cNvPr>
          <p:cNvSpPr>
            <a:spLocks noGrp="1"/>
          </p:cNvSpPr>
          <p:nvPr>
            <p:ph type="sldNum" sz="quarter" idx="10"/>
          </p:nvPr>
        </p:nvSpPr>
        <p:spPr/>
        <p:txBody>
          <a:bodyPr/>
          <a:lstStyle/>
          <a:p>
            <a:fld id="{F966D7FF-EADB-4E92-9989-4DE4533DAC48}" type="slidenum">
              <a:rPr lang="de-DE" smtClean="0"/>
              <a:pPr/>
              <a:t>34</a:t>
            </a:fld>
            <a:endParaRPr lang="de-DE" dirty="0"/>
          </a:p>
        </p:txBody>
      </p:sp>
      <p:sp>
        <p:nvSpPr>
          <p:cNvPr id="3" name="Inhaltsplatzhalter 2">
            <a:extLst>
              <a:ext uri="{FF2B5EF4-FFF2-40B4-BE49-F238E27FC236}">
                <a16:creationId xmlns:a16="http://schemas.microsoft.com/office/drawing/2014/main" id="{0C0C6CE0-725F-4C3F-AC11-042C244331FD}"/>
              </a:ext>
            </a:extLst>
          </p:cNvPr>
          <p:cNvSpPr>
            <a:spLocks noGrp="1"/>
          </p:cNvSpPr>
          <p:nvPr>
            <p:ph idx="11"/>
          </p:nvPr>
        </p:nvSpPr>
        <p:spPr/>
        <p:txBody>
          <a:bodyPr/>
          <a:lstStyle/>
          <a:p>
            <a:r>
              <a:rPr lang="de-DE" dirty="0"/>
              <a:t>Wo steht eine Option?</a:t>
            </a:r>
          </a:p>
        </p:txBody>
      </p:sp>
      <p:sp>
        <p:nvSpPr>
          <p:cNvPr id="5" name="Inhaltsplatzhalter 4">
            <a:extLst>
              <a:ext uri="{FF2B5EF4-FFF2-40B4-BE49-F238E27FC236}">
                <a16:creationId xmlns:a16="http://schemas.microsoft.com/office/drawing/2014/main" id="{18F608FA-5D15-4636-A2F3-899954369442}"/>
              </a:ext>
            </a:extLst>
          </p:cNvPr>
          <p:cNvSpPr>
            <a:spLocks noGrp="1"/>
          </p:cNvSpPr>
          <p:nvPr>
            <p:ph idx="12"/>
          </p:nvPr>
        </p:nvSpPr>
        <p:spPr/>
        <p:txBody>
          <a:bodyPr/>
          <a:lstStyle/>
          <a:p>
            <a:r>
              <a:rPr lang="de-DE" dirty="0"/>
              <a:t>Wie Option „steht“ – also ob man Gewinn oder Verlust macht – wird im Fachjargon mit „in </a:t>
            </a:r>
            <a:r>
              <a:rPr lang="de-DE" dirty="0" err="1"/>
              <a:t>the</a:t>
            </a:r>
            <a:r>
              <a:rPr lang="de-DE" dirty="0"/>
              <a:t> </a:t>
            </a:r>
            <a:r>
              <a:rPr lang="de-DE" dirty="0" err="1"/>
              <a:t>money</a:t>
            </a:r>
            <a:r>
              <a:rPr lang="de-DE" dirty="0"/>
              <a:t>“, „at </a:t>
            </a:r>
            <a:r>
              <a:rPr lang="de-DE" dirty="0" err="1"/>
              <a:t>the</a:t>
            </a:r>
            <a:r>
              <a:rPr lang="de-DE" dirty="0"/>
              <a:t> </a:t>
            </a:r>
            <a:r>
              <a:rPr lang="de-DE" dirty="0" err="1"/>
              <a:t>money</a:t>
            </a:r>
            <a:r>
              <a:rPr lang="de-DE" dirty="0"/>
              <a:t>“ und „out </a:t>
            </a:r>
            <a:r>
              <a:rPr lang="de-DE" dirty="0" err="1"/>
              <a:t>of</a:t>
            </a:r>
            <a:r>
              <a:rPr lang="de-DE" dirty="0"/>
              <a:t> </a:t>
            </a:r>
            <a:r>
              <a:rPr lang="de-DE" dirty="0" err="1"/>
              <a:t>the</a:t>
            </a:r>
            <a:r>
              <a:rPr lang="de-DE" dirty="0"/>
              <a:t> </a:t>
            </a:r>
            <a:r>
              <a:rPr lang="de-DE" dirty="0" err="1"/>
              <a:t>money</a:t>
            </a:r>
            <a:r>
              <a:rPr lang="de-DE" dirty="0"/>
              <a:t>“ bezeichnet</a:t>
            </a:r>
          </a:p>
        </p:txBody>
      </p:sp>
      <p:grpSp>
        <p:nvGrpSpPr>
          <p:cNvPr id="26" name="Gruppieren 25">
            <a:extLst>
              <a:ext uri="{FF2B5EF4-FFF2-40B4-BE49-F238E27FC236}">
                <a16:creationId xmlns:a16="http://schemas.microsoft.com/office/drawing/2014/main" id="{FE838424-95D7-4CC7-9E5B-F59980B771D3}"/>
              </a:ext>
            </a:extLst>
          </p:cNvPr>
          <p:cNvGrpSpPr/>
          <p:nvPr/>
        </p:nvGrpSpPr>
        <p:grpSpPr>
          <a:xfrm>
            <a:off x="662360" y="1348200"/>
            <a:ext cx="11247840" cy="4713480"/>
            <a:chOff x="662360" y="1348200"/>
            <a:chExt cx="11247840" cy="4713480"/>
          </a:xfrm>
        </p:grpSpPr>
        <p:pic>
          <p:nvPicPr>
            <p:cNvPr id="7" name="Grafik 6">
              <a:extLst>
                <a:ext uri="{FF2B5EF4-FFF2-40B4-BE49-F238E27FC236}">
                  <a16:creationId xmlns:a16="http://schemas.microsoft.com/office/drawing/2014/main" id="{C0DC0F70-F378-4CDE-B1E2-B0967724EE94}"/>
                </a:ext>
              </a:extLst>
            </p:cNvPr>
            <p:cNvPicPr/>
            <p:nvPr/>
          </p:nvPicPr>
          <p:blipFill>
            <a:blip r:embed="rId3"/>
            <a:stretch/>
          </p:blipFill>
          <p:spPr>
            <a:xfrm>
              <a:off x="662360" y="2755800"/>
              <a:ext cx="6624720" cy="3305880"/>
            </a:xfrm>
            <a:prstGeom prst="rect">
              <a:avLst/>
            </a:prstGeom>
            <a:ln>
              <a:noFill/>
            </a:ln>
          </p:spPr>
        </p:pic>
        <p:pic>
          <p:nvPicPr>
            <p:cNvPr id="9" name="Picture 5">
              <a:extLst>
                <a:ext uri="{FF2B5EF4-FFF2-40B4-BE49-F238E27FC236}">
                  <a16:creationId xmlns:a16="http://schemas.microsoft.com/office/drawing/2014/main" id="{8648A23A-8B5D-4FA4-9F1A-CB8BBCBDC0CF}"/>
                </a:ext>
              </a:extLst>
            </p:cNvPr>
            <p:cNvPicPr/>
            <p:nvPr/>
          </p:nvPicPr>
          <p:blipFill>
            <a:blip r:embed="rId4"/>
            <a:stretch/>
          </p:blipFill>
          <p:spPr>
            <a:xfrm>
              <a:off x="8056128" y="3480503"/>
              <a:ext cx="2394000" cy="1829160"/>
            </a:xfrm>
            <a:prstGeom prst="rect">
              <a:avLst/>
            </a:prstGeom>
            <a:ln w="9360">
              <a:noFill/>
            </a:ln>
          </p:spPr>
        </p:pic>
        <p:pic>
          <p:nvPicPr>
            <p:cNvPr id="11" name="Picture 12">
              <a:extLst>
                <a:ext uri="{FF2B5EF4-FFF2-40B4-BE49-F238E27FC236}">
                  <a16:creationId xmlns:a16="http://schemas.microsoft.com/office/drawing/2014/main" id="{54A1CCCA-9D40-4DDD-902B-18B63B6241FC}"/>
                </a:ext>
              </a:extLst>
            </p:cNvPr>
            <p:cNvPicPr/>
            <p:nvPr/>
          </p:nvPicPr>
          <p:blipFill>
            <a:blip r:embed="rId5"/>
            <a:srcRect t="6631" r="19780"/>
            <a:stretch/>
          </p:blipFill>
          <p:spPr>
            <a:xfrm>
              <a:off x="3466760" y="1348200"/>
              <a:ext cx="688320" cy="1814760"/>
            </a:xfrm>
            <a:prstGeom prst="rect">
              <a:avLst/>
            </a:prstGeom>
            <a:ln w="9360">
              <a:noFill/>
            </a:ln>
          </p:spPr>
        </p:pic>
        <p:pic>
          <p:nvPicPr>
            <p:cNvPr id="13" name="Picture 12">
              <a:extLst>
                <a:ext uri="{FF2B5EF4-FFF2-40B4-BE49-F238E27FC236}">
                  <a16:creationId xmlns:a16="http://schemas.microsoft.com/office/drawing/2014/main" id="{F8BE99AD-A9F8-4284-9362-7AEEE53E8203}"/>
                </a:ext>
              </a:extLst>
            </p:cNvPr>
            <p:cNvPicPr/>
            <p:nvPr/>
          </p:nvPicPr>
          <p:blipFill>
            <a:blip r:embed="rId6"/>
            <a:srcRect l="-2076" t="6631" r="23810" b="30321"/>
            <a:stretch/>
          </p:blipFill>
          <p:spPr>
            <a:xfrm>
              <a:off x="5751408" y="2427910"/>
              <a:ext cx="671760" cy="1225440"/>
            </a:xfrm>
            <a:prstGeom prst="rect">
              <a:avLst/>
            </a:prstGeom>
            <a:ln w="9360">
              <a:noFill/>
            </a:ln>
          </p:spPr>
        </p:pic>
        <p:sp>
          <p:nvSpPr>
            <p:cNvPr id="15" name="Line 3">
              <a:extLst>
                <a:ext uri="{FF2B5EF4-FFF2-40B4-BE49-F238E27FC236}">
                  <a16:creationId xmlns:a16="http://schemas.microsoft.com/office/drawing/2014/main" id="{74618386-DC08-494B-AE93-B43426D71BD3}"/>
                </a:ext>
              </a:extLst>
            </p:cNvPr>
            <p:cNvSpPr/>
            <p:nvPr/>
          </p:nvSpPr>
          <p:spPr>
            <a:xfrm flipV="1">
              <a:off x="990320" y="2097360"/>
              <a:ext cx="432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7" name="CustomShape 4">
              <a:extLst>
                <a:ext uri="{FF2B5EF4-FFF2-40B4-BE49-F238E27FC236}">
                  <a16:creationId xmlns:a16="http://schemas.microsoft.com/office/drawing/2014/main" id="{57C114B4-EE69-477F-9172-C6A5661A3576}"/>
                </a:ext>
              </a:extLst>
            </p:cNvPr>
            <p:cNvSpPr/>
            <p:nvPr/>
          </p:nvSpPr>
          <p:spPr>
            <a:xfrm>
              <a:off x="6604160" y="2813536"/>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At the money</a:t>
              </a:r>
              <a:endParaRPr lang="de-DE" sz="3200" b="0" strike="noStrike" spc="-1">
                <a:latin typeface="Arial"/>
              </a:endParaRPr>
            </a:p>
          </p:txBody>
        </p:sp>
        <p:sp>
          <p:nvSpPr>
            <p:cNvPr id="19" name="Line 5">
              <a:extLst>
                <a:ext uri="{FF2B5EF4-FFF2-40B4-BE49-F238E27FC236}">
                  <a16:creationId xmlns:a16="http://schemas.microsoft.com/office/drawing/2014/main" id="{6B7424B1-D7D0-46D9-AC55-4EC0B8B78C97}"/>
                </a:ext>
              </a:extLst>
            </p:cNvPr>
            <p:cNvSpPr/>
            <p:nvPr/>
          </p:nvSpPr>
          <p:spPr>
            <a:xfrm flipV="1">
              <a:off x="6597320" y="2647800"/>
              <a:ext cx="648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1" name="CustomShape 6">
              <a:extLst>
                <a:ext uri="{FF2B5EF4-FFF2-40B4-BE49-F238E27FC236}">
                  <a16:creationId xmlns:a16="http://schemas.microsoft.com/office/drawing/2014/main" id="{6A6CC512-566F-497E-8EA0-07A03DFFDCC1}"/>
                </a:ext>
              </a:extLst>
            </p:cNvPr>
            <p:cNvSpPr/>
            <p:nvPr/>
          </p:nvSpPr>
          <p:spPr>
            <a:xfrm>
              <a:off x="995000" y="2242103"/>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In the money</a:t>
              </a:r>
              <a:endParaRPr lang="de-DE" sz="3200" b="0" strike="noStrike" spc="-1">
                <a:latin typeface="Arial"/>
              </a:endParaRPr>
            </a:p>
          </p:txBody>
        </p:sp>
        <p:sp>
          <p:nvSpPr>
            <p:cNvPr id="23" name="Line 7">
              <a:extLst>
                <a:ext uri="{FF2B5EF4-FFF2-40B4-BE49-F238E27FC236}">
                  <a16:creationId xmlns:a16="http://schemas.microsoft.com/office/drawing/2014/main" id="{217B72E0-8367-4E1D-9942-787CF1FD12EC}"/>
                </a:ext>
              </a:extLst>
            </p:cNvPr>
            <p:cNvSpPr/>
            <p:nvPr/>
          </p:nvSpPr>
          <p:spPr>
            <a:xfrm flipV="1">
              <a:off x="8373200" y="5122080"/>
              <a:ext cx="6480" cy="8593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25" name="CustomShape 8">
              <a:extLst>
                <a:ext uri="{FF2B5EF4-FFF2-40B4-BE49-F238E27FC236}">
                  <a16:creationId xmlns:a16="http://schemas.microsoft.com/office/drawing/2014/main" id="{275E0970-52CA-4DA4-9A84-D1B6706B88E8}"/>
                </a:ext>
              </a:extLst>
            </p:cNvPr>
            <p:cNvSpPr/>
            <p:nvPr/>
          </p:nvSpPr>
          <p:spPr>
            <a:xfrm>
              <a:off x="8358800" y="5323320"/>
              <a:ext cx="3551400" cy="577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Out of the money</a:t>
              </a:r>
              <a:endParaRPr lang="de-DE" sz="3200" b="0" strike="noStrike" spc="-1">
                <a:latin typeface="Arial"/>
              </a:endParaRPr>
            </a:p>
          </p:txBody>
        </p:sp>
      </p:grpSp>
    </p:spTree>
    <p:extLst>
      <p:ext uri="{BB962C8B-B14F-4D97-AF65-F5344CB8AC3E}">
        <p14:creationId xmlns:p14="http://schemas.microsoft.com/office/powerpoint/2010/main" val="19835114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23880FB-4203-42C5-8BF6-B65D18098777}"/>
              </a:ext>
            </a:extLst>
          </p:cNvPr>
          <p:cNvSpPr>
            <a:spLocks noGrp="1"/>
          </p:cNvSpPr>
          <p:nvPr>
            <p:ph type="sldNum" sz="quarter" idx="10"/>
          </p:nvPr>
        </p:nvSpPr>
        <p:spPr/>
        <p:txBody>
          <a:bodyPr/>
          <a:lstStyle/>
          <a:p>
            <a:fld id="{F966D7FF-EADB-4E92-9989-4DE4533DAC48}" type="slidenum">
              <a:rPr lang="de-DE" smtClean="0"/>
              <a:pPr/>
              <a:t>35</a:t>
            </a:fld>
            <a:endParaRPr lang="de-DE" dirty="0"/>
          </a:p>
        </p:txBody>
      </p:sp>
      <p:sp>
        <p:nvSpPr>
          <p:cNvPr id="3" name="Inhaltsplatzhalter 2">
            <a:extLst>
              <a:ext uri="{FF2B5EF4-FFF2-40B4-BE49-F238E27FC236}">
                <a16:creationId xmlns:a16="http://schemas.microsoft.com/office/drawing/2014/main" id="{44EDFDF7-32E9-431A-9290-69B4FE2F72AA}"/>
              </a:ext>
            </a:extLst>
          </p:cNvPr>
          <p:cNvSpPr>
            <a:spLocks noGrp="1"/>
          </p:cNvSpPr>
          <p:nvPr>
            <p:ph idx="11"/>
          </p:nvPr>
        </p:nvSpPr>
        <p:spPr/>
        <p:txBody>
          <a:bodyPr/>
          <a:lstStyle/>
          <a:p>
            <a:r>
              <a:rPr lang="de-DE" dirty="0"/>
              <a:t>Wann ergibt eine Option Sinn?</a:t>
            </a:r>
          </a:p>
        </p:txBody>
      </p:sp>
      <p:sp>
        <p:nvSpPr>
          <p:cNvPr id="5" name="Inhaltsplatzhalter 4">
            <a:extLst>
              <a:ext uri="{FF2B5EF4-FFF2-40B4-BE49-F238E27FC236}">
                <a16:creationId xmlns:a16="http://schemas.microsoft.com/office/drawing/2014/main" id="{4B1A0214-F309-4587-9A8C-7F91AAFC2957}"/>
              </a:ext>
            </a:extLst>
          </p:cNvPr>
          <p:cNvSpPr>
            <a:spLocks noGrp="1"/>
          </p:cNvSpPr>
          <p:nvPr>
            <p:ph idx="12"/>
          </p:nvPr>
        </p:nvSpPr>
        <p:spPr/>
        <p:txBody>
          <a:bodyPr/>
          <a:lstStyle/>
          <a:p>
            <a:r>
              <a:rPr lang="de-DE" dirty="0"/>
              <a:t>Mit einer Option lassen sich ungünstige Preisentwicklungen absichern, ohne mit einer Lieferung oder Abnahme des Underlyings verpflichtet zu sein</a:t>
            </a:r>
          </a:p>
        </p:txBody>
      </p:sp>
      <p:pic>
        <p:nvPicPr>
          <p:cNvPr id="7" name="Grafik 6">
            <a:extLst>
              <a:ext uri="{FF2B5EF4-FFF2-40B4-BE49-F238E27FC236}">
                <a16:creationId xmlns:a16="http://schemas.microsoft.com/office/drawing/2014/main" id="{896BBDC2-7AEF-4B0F-A3CD-5044FE385A40}"/>
              </a:ext>
            </a:extLst>
          </p:cNvPr>
          <p:cNvPicPr/>
          <p:nvPr/>
        </p:nvPicPr>
        <p:blipFill>
          <a:blip r:embed="rId2">
            <a:extLst>
              <a:ext uri="{BEBA8EAE-BF5A-486C-A8C5-ECC9F3942E4B}">
                <a14:imgProps xmlns:a14="http://schemas.microsoft.com/office/drawing/2010/main">
                  <a14:imgLayer>
                    <a14:imgEffect>
                      <a14:artisticPaintStrokes/>
                    </a14:imgEffect>
                  </a14:imgLayer>
                </a14:imgProps>
              </a:ext>
            </a:extLst>
          </a:blip>
          <a:stretch/>
        </p:blipFill>
        <p:spPr>
          <a:xfrm>
            <a:off x="500580" y="3401640"/>
            <a:ext cx="4405680" cy="2929680"/>
          </a:xfrm>
          <a:prstGeom prst="rect">
            <a:avLst/>
          </a:prstGeom>
          <a:ln>
            <a:noFill/>
          </a:ln>
        </p:spPr>
      </p:pic>
      <p:sp>
        <p:nvSpPr>
          <p:cNvPr id="9" name="CustomShape 2">
            <a:extLst>
              <a:ext uri="{FF2B5EF4-FFF2-40B4-BE49-F238E27FC236}">
                <a16:creationId xmlns:a16="http://schemas.microsoft.com/office/drawing/2014/main" id="{2D3D4FBF-F8B0-4564-A769-90C536030D35}"/>
              </a:ext>
            </a:extLst>
          </p:cNvPr>
          <p:cNvSpPr/>
          <p:nvPr/>
        </p:nvSpPr>
        <p:spPr>
          <a:xfrm>
            <a:off x="4340340" y="1749600"/>
            <a:ext cx="1972080" cy="1878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1740" b="1" strike="noStrike" spc="-1">
                <a:solidFill>
                  <a:srgbClr val="000000"/>
                </a:solidFill>
                <a:latin typeface="Calibri"/>
              </a:rPr>
              <a:t>?</a:t>
            </a:r>
            <a:endParaRPr lang="de-DE" sz="11740" b="0" strike="noStrike" spc="-1">
              <a:latin typeface="Arial"/>
            </a:endParaRPr>
          </a:p>
        </p:txBody>
      </p:sp>
      <p:sp>
        <p:nvSpPr>
          <p:cNvPr id="11" name="CustomShape 3">
            <a:extLst>
              <a:ext uri="{FF2B5EF4-FFF2-40B4-BE49-F238E27FC236}">
                <a16:creationId xmlns:a16="http://schemas.microsoft.com/office/drawing/2014/main" id="{6F6ACFFC-6A48-4172-AA8E-A03DBFD25D41}"/>
              </a:ext>
            </a:extLst>
          </p:cNvPr>
          <p:cNvSpPr/>
          <p:nvPr/>
        </p:nvSpPr>
        <p:spPr>
          <a:xfrm rot="798000">
            <a:off x="1968300" y="1978200"/>
            <a:ext cx="2111760" cy="1055880"/>
          </a:xfrm>
          <a:prstGeom prst="flowChartPunchedTape">
            <a:avLst/>
          </a:prstGeom>
          <a:solidFill>
            <a:srgbClr val="193052"/>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2400" b="0" strike="noStrike" spc="-1">
                <a:solidFill>
                  <a:srgbClr val="FFFFFF"/>
                </a:solidFill>
                <a:latin typeface="Calibri"/>
              </a:rPr>
              <a:t>Option</a:t>
            </a:r>
            <a:endParaRPr lang="de-DE" sz="2400" b="0" strike="noStrike" spc="-1">
              <a:latin typeface="Arial"/>
            </a:endParaRPr>
          </a:p>
        </p:txBody>
      </p:sp>
      <p:sp>
        <p:nvSpPr>
          <p:cNvPr id="13" name="CustomShape 4">
            <a:extLst>
              <a:ext uri="{FF2B5EF4-FFF2-40B4-BE49-F238E27FC236}">
                <a16:creationId xmlns:a16="http://schemas.microsoft.com/office/drawing/2014/main" id="{CC63F319-3CFE-4C56-8298-A99399B366D7}"/>
              </a:ext>
            </a:extLst>
          </p:cNvPr>
          <p:cNvSpPr/>
          <p:nvPr/>
        </p:nvSpPr>
        <p:spPr>
          <a:xfrm>
            <a:off x="5833340" y="3001320"/>
            <a:ext cx="6572160" cy="193984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latin typeface="Arial" panose="020B0604020202020204" pitchFamily="34" charset="0"/>
                <a:cs typeface="Arial" panose="020B0604020202020204" pitchFamily="34" charset="0"/>
              </a:rPr>
              <a:t>Für den Landwirt (Long Position):</a:t>
            </a:r>
          </a:p>
          <a:p>
            <a:pPr marL="457560" indent="-457200">
              <a:lnSpc>
                <a:spcPct val="150000"/>
              </a:lnSpc>
              <a:buFont typeface="Wingdings" panose="05000000000000000000" pitchFamily="2" charset="2"/>
              <a:buChar char="§"/>
            </a:pPr>
            <a:r>
              <a:rPr lang="de-DE" sz="2670" b="0" strike="noStrike" spc="-1" dirty="0">
                <a:latin typeface="Arial" panose="020B0604020202020204" pitchFamily="34" charset="0"/>
                <a:cs typeface="Arial" panose="020B0604020202020204" pitchFamily="34" charset="0"/>
              </a:rPr>
              <a:t>Bei erwartetem Preisverfall</a:t>
            </a:r>
          </a:p>
          <a:p>
            <a:pPr marL="457560" indent="-457200">
              <a:lnSpc>
                <a:spcPct val="100000"/>
              </a:lnSpc>
              <a:buFont typeface="Wingdings" panose="05000000000000000000" pitchFamily="2" charset="2"/>
              <a:buChar char="§"/>
            </a:pPr>
            <a:r>
              <a:rPr lang="de-DE" sz="2670" b="0" strike="noStrike" spc="-1" dirty="0">
                <a:latin typeface="Arial" panose="020B0604020202020204" pitchFamily="34" charset="0"/>
                <a:cs typeface="Arial" panose="020B0604020202020204" pitchFamily="34" charset="0"/>
              </a:rPr>
              <a:t>Für bessere Planbarkeit ohne die Verpflichtung des Futures</a:t>
            </a:r>
          </a:p>
        </p:txBody>
      </p:sp>
    </p:spTree>
    <p:extLst>
      <p:ext uri="{BB962C8B-B14F-4D97-AF65-F5344CB8AC3E}">
        <p14:creationId xmlns:p14="http://schemas.microsoft.com/office/powerpoint/2010/main" val="32071173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E4A4EC8-2411-4091-97A2-7F94A62261FE}"/>
              </a:ext>
            </a:extLst>
          </p:cNvPr>
          <p:cNvSpPr>
            <a:spLocks noGrp="1"/>
          </p:cNvSpPr>
          <p:nvPr>
            <p:ph type="sldNum" sz="quarter" idx="10"/>
          </p:nvPr>
        </p:nvSpPr>
        <p:spPr/>
        <p:txBody>
          <a:bodyPr/>
          <a:lstStyle/>
          <a:p>
            <a:fld id="{F966D7FF-EADB-4E92-9989-4DE4533DAC48}" type="slidenum">
              <a:rPr lang="de-DE" smtClean="0"/>
              <a:pPr/>
              <a:t>36</a:t>
            </a:fld>
            <a:endParaRPr lang="de-DE" dirty="0"/>
          </a:p>
        </p:txBody>
      </p:sp>
      <p:sp>
        <p:nvSpPr>
          <p:cNvPr id="3" name="Inhaltsplatzhalter 2">
            <a:extLst>
              <a:ext uri="{FF2B5EF4-FFF2-40B4-BE49-F238E27FC236}">
                <a16:creationId xmlns:a16="http://schemas.microsoft.com/office/drawing/2014/main" id="{5E4BAC12-E306-4A61-A779-3BFC8CE64B80}"/>
              </a:ext>
            </a:extLst>
          </p:cNvPr>
          <p:cNvSpPr>
            <a:spLocks noGrp="1"/>
          </p:cNvSpPr>
          <p:nvPr>
            <p:ph idx="11"/>
          </p:nvPr>
        </p:nvSpPr>
        <p:spPr/>
        <p:txBody>
          <a:bodyPr/>
          <a:lstStyle/>
          <a:p>
            <a:r>
              <a:rPr lang="de-DE" sz="1200" dirty="0">
                <a:ea typeface="Verdana"/>
                <a:cs typeface="Arial"/>
              </a:rPr>
              <a:t>Optionspreisbildung</a:t>
            </a:r>
            <a:endParaRPr lang="de-DE" sz="1200" dirty="0"/>
          </a:p>
        </p:txBody>
      </p:sp>
      <p:sp>
        <p:nvSpPr>
          <p:cNvPr id="5" name="Inhaltsplatzhalter 4">
            <a:extLst>
              <a:ext uri="{FF2B5EF4-FFF2-40B4-BE49-F238E27FC236}">
                <a16:creationId xmlns:a16="http://schemas.microsoft.com/office/drawing/2014/main" id="{75A80020-151A-49BB-82AA-5E37316FB809}"/>
              </a:ext>
            </a:extLst>
          </p:cNvPr>
          <p:cNvSpPr>
            <a:spLocks noGrp="1"/>
          </p:cNvSpPr>
          <p:nvPr>
            <p:ph idx="12"/>
          </p:nvPr>
        </p:nvSpPr>
        <p:spPr/>
        <p:txBody>
          <a:bodyPr/>
          <a:lstStyle/>
          <a:p>
            <a:r>
              <a:rPr lang="de-DE" dirty="0"/>
              <a:t>Der Preis einer Option wird von mehreren Parametern beeinflusst</a:t>
            </a:r>
          </a:p>
        </p:txBody>
      </p:sp>
      <p:grpSp>
        <p:nvGrpSpPr>
          <p:cNvPr id="15" name="Gruppieren 14">
            <a:extLst>
              <a:ext uri="{FF2B5EF4-FFF2-40B4-BE49-F238E27FC236}">
                <a16:creationId xmlns:a16="http://schemas.microsoft.com/office/drawing/2014/main" id="{163CA476-81BE-426E-A92C-F627ECDBFED1}"/>
              </a:ext>
            </a:extLst>
          </p:cNvPr>
          <p:cNvGrpSpPr/>
          <p:nvPr/>
        </p:nvGrpSpPr>
        <p:grpSpPr>
          <a:xfrm>
            <a:off x="1799220" y="1376873"/>
            <a:ext cx="8593560" cy="4809240"/>
            <a:chOff x="1678320" y="1411560"/>
            <a:chExt cx="8593560" cy="4809240"/>
          </a:xfrm>
        </p:grpSpPr>
        <p:grpSp>
          <p:nvGrpSpPr>
            <p:cNvPr id="6" name="Group 2">
              <a:extLst>
                <a:ext uri="{FF2B5EF4-FFF2-40B4-BE49-F238E27FC236}">
                  <a16:creationId xmlns:a16="http://schemas.microsoft.com/office/drawing/2014/main" id="{6CF2E067-E6E8-42A4-B39B-446A079B613C}"/>
                </a:ext>
              </a:extLst>
            </p:cNvPr>
            <p:cNvGrpSpPr/>
            <p:nvPr/>
          </p:nvGrpSpPr>
          <p:grpSpPr>
            <a:xfrm>
              <a:off x="1678320" y="1411560"/>
              <a:ext cx="8593560" cy="4809240"/>
              <a:chOff x="1678320" y="1411560"/>
              <a:chExt cx="8593560" cy="4809240"/>
            </a:xfrm>
          </p:grpSpPr>
          <p:sp>
            <p:nvSpPr>
              <p:cNvPr id="7" name="CustomShape 3">
                <a:extLst>
                  <a:ext uri="{FF2B5EF4-FFF2-40B4-BE49-F238E27FC236}">
                    <a16:creationId xmlns:a16="http://schemas.microsoft.com/office/drawing/2014/main" id="{C50DDC94-BDB5-4A6A-97C4-B0E77A733327}"/>
                  </a:ext>
                </a:extLst>
              </p:cNvPr>
              <p:cNvSpPr/>
              <p:nvPr/>
            </p:nvSpPr>
            <p:spPr>
              <a:xfrm>
                <a:off x="1701720" y="1432080"/>
                <a:ext cx="8544600" cy="4779000"/>
              </a:xfrm>
              <a:prstGeom prst="ellipse">
                <a:avLst/>
              </a:prstGeom>
              <a:gradFill rotWithShape="0">
                <a:gsLst>
                  <a:gs pos="0">
                    <a:srgbClr val="E5E5E5"/>
                  </a:gs>
                  <a:gs pos="100000">
                    <a:srgbClr val="F2F2F2"/>
                  </a:gs>
                </a:gsLst>
                <a:lin ang="16200000"/>
              </a:gradFill>
              <a:ln w="9360">
                <a:solidFill>
                  <a:srgbClr val="BFBFBF"/>
                </a:solidFill>
                <a:round/>
              </a:ln>
              <a:effectLst>
                <a:outerShdw blurRad="40000" dist="23040" dir="5400000" rotWithShape="0">
                  <a:srgbClr val="000000">
                    <a:alpha val="35000"/>
                  </a:srgbClr>
                </a:outerShdw>
              </a:effectLst>
            </p:spPr>
            <p:style>
              <a:lnRef idx="0">
                <a:scrgbClr r="0" g="0" b="0"/>
              </a:lnRef>
              <a:fillRef idx="0">
                <a:scrgbClr r="0" g="0" b="0"/>
              </a:fillRef>
              <a:effectRef idx="0">
                <a:scrgbClr r="0" g="0" b="0"/>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8" name="Line 4">
                <a:extLst>
                  <a:ext uri="{FF2B5EF4-FFF2-40B4-BE49-F238E27FC236}">
                    <a16:creationId xmlns:a16="http://schemas.microsoft.com/office/drawing/2014/main" id="{5834851A-203F-40B8-9B27-E51C67E18CC4}"/>
                  </a:ext>
                </a:extLst>
              </p:cNvPr>
              <p:cNvSpPr/>
              <p:nvPr/>
            </p:nvSpPr>
            <p:spPr>
              <a:xfrm>
                <a:off x="1678320" y="3822840"/>
                <a:ext cx="8593560" cy="360"/>
              </a:xfrm>
              <a:prstGeom prst="line">
                <a:avLst/>
              </a:prstGeom>
              <a:ln w="9360">
                <a:solidFill>
                  <a:srgbClr val="BFBFBF"/>
                </a:solidFill>
                <a:round/>
              </a:ln>
            </p:spPr>
            <p:style>
              <a:lnRef idx="0">
                <a:scrgbClr r="0" g="0" b="0"/>
              </a:lnRef>
              <a:fillRef idx="0">
                <a:scrgbClr r="0" g="0" b="0"/>
              </a:fillRef>
              <a:effectRef idx="0">
                <a:scrgbClr r="0" g="0" b="0"/>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9" name="Line 5">
                <a:extLst>
                  <a:ext uri="{FF2B5EF4-FFF2-40B4-BE49-F238E27FC236}">
                    <a16:creationId xmlns:a16="http://schemas.microsoft.com/office/drawing/2014/main" id="{0BC36411-356B-4462-A808-0C4BCD719D5F}"/>
                  </a:ext>
                </a:extLst>
              </p:cNvPr>
              <p:cNvSpPr/>
              <p:nvPr/>
            </p:nvSpPr>
            <p:spPr>
              <a:xfrm>
                <a:off x="5977440" y="1411560"/>
                <a:ext cx="360" cy="4809240"/>
              </a:xfrm>
              <a:prstGeom prst="line">
                <a:avLst/>
              </a:prstGeom>
              <a:ln w="9360">
                <a:solidFill>
                  <a:srgbClr val="BFBFBF"/>
                </a:solidFill>
                <a:round/>
              </a:ln>
            </p:spPr>
            <p:style>
              <a:lnRef idx="0">
                <a:scrgbClr r="0" g="0" b="0"/>
              </a:lnRef>
              <a:fillRef idx="0">
                <a:scrgbClr r="0" g="0" b="0"/>
              </a:fillRef>
              <a:effectRef idx="0">
                <a:scrgbClr r="0" g="0" b="0"/>
              </a:effectRef>
              <a:fontRef idx="minor"/>
            </p:style>
            <p:txBody>
              <a:bodyPr/>
              <a:lstStyle/>
              <a:p>
                <a:endParaRPr lang="de-DE" sz="1600">
                  <a:latin typeface="Arial" panose="020B0604020202020204" pitchFamily="34" charset="0"/>
                  <a:cs typeface="Arial" panose="020B0604020202020204" pitchFamily="34" charset="0"/>
                </a:endParaRPr>
              </a:p>
            </p:txBody>
          </p:sp>
        </p:grpSp>
        <p:sp>
          <p:nvSpPr>
            <p:cNvPr id="10" name="CustomShape 6">
              <a:extLst>
                <a:ext uri="{FF2B5EF4-FFF2-40B4-BE49-F238E27FC236}">
                  <a16:creationId xmlns:a16="http://schemas.microsoft.com/office/drawing/2014/main" id="{F1419C7B-1541-4B89-92C8-7850A05A174F}"/>
                </a:ext>
              </a:extLst>
            </p:cNvPr>
            <p:cNvSpPr/>
            <p:nvPr/>
          </p:nvSpPr>
          <p:spPr>
            <a:xfrm>
              <a:off x="3008160" y="2419920"/>
              <a:ext cx="2772360" cy="1085400"/>
            </a:xfrm>
            <a:prstGeom prst="rect">
              <a:avLst/>
            </a:prstGeom>
            <a:noFill/>
            <a:ln w="6480">
              <a:noFill/>
            </a:ln>
          </p:spPr>
          <p:style>
            <a:lnRef idx="0">
              <a:scrgbClr r="0" g="0" b="0"/>
            </a:lnRef>
            <a:fillRef idx="0">
              <a:scrgbClr r="0" g="0" b="0"/>
            </a:fillRef>
            <a:effectRef idx="0">
              <a:scrgbClr r="0" g="0" b="0"/>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556"/>
                </a:spcAft>
              </a:pPr>
              <a:r>
                <a:rPr lang="de-DE" sz="2000" b="0" strike="noStrike" spc="-1" dirty="0">
                  <a:latin typeface="Arial" panose="020B0604020202020204" pitchFamily="34" charset="0"/>
                  <a:cs typeface="Arial" panose="020B0604020202020204" pitchFamily="34" charset="0"/>
                </a:rPr>
                <a:t>Verhältnis Underlying zu Basispreis </a:t>
              </a:r>
              <a:br>
                <a:rPr sz="1600" dirty="0">
                  <a:latin typeface="Arial" panose="020B0604020202020204" pitchFamily="34" charset="0"/>
                  <a:cs typeface="Arial" panose="020B0604020202020204" pitchFamily="34" charset="0"/>
                </a:rPr>
              </a:br>
              <a:r>
                <a:rPr lang="de-DE" sz="2000" b="0" strike="noStrike" spc="-1" dirty="0">
                  <a:latin typeface="Arial" panose="020B0604020202020204" pitchFamily="34" charset="0"/>
                  <a:cs typeface="Arial" panose="020B0604020202020204" pitchFamily="34" charset="0"/>
                </a:rPr>
                <a:t>(Strike)</a:t>
              </a:r>
            </a:p>
            <a:p>
              <a:pPr>
                <a:lnSpc>
                  <a:spcPct val="100000"/>
                </a:lnSpc>
                <a:spcAft>
                  <a:spcPts val="556"/>
                </a:spcAft>
              </a:pPr>
              <a:endParaRPr lang="de-DE" sz="2000" b="0" strike="noStrike" spc="-1" dirty="0">
                <a:latin typeface="Arial" panose="020B0604020202020204" pitchFamily="34" charset="0"/>
                <a:cs typeface="Arial" panose="020B0604020202020204" pitchFamily="34" charset="0"/>
              </a:endParaRPr>
            </a:p>
          </p:txBody>
        </p:sp>
        <p:sp>
          <p:nvSpPr>
            <p:cNvPr id="11" name="CustomShape 7">
              <a:extLst>
                <a:ext uri="{FF2B5EF4-FFF2-40B4-BE49-F238E27FC236}">
                  <a16:creationId xmlns:a16="http://schemas.microsoft.com/office/drawing/2014/main" id="{2B558990-04A3-4642-808E-CA9FB521AC9F}"/>
                </a:ext>
              </a:extLst>
            </p:cNvPr>
            <p:cNvSpPr/>
            <p:nvPr/>
          </p:nvSpPr>
          <p:spPr>
            <a:xfrm>
              <a:off x="4165560" y="3035160"/>
              <a:ext cx="3638160" cy="1561680"/>
            </a:xfrm>
            <a:prstGeom prst="ellipse">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000" b="1" strike="noStrike" spc="-1">
                  <a:solidFill>
                    <a:srgbClr val="FFFFFF"/>
                  </a:solidFill>
                  <a:latin typeface="Arial" panose="020B0604020202020204" pitchFamily="34" charset="0"/>
                  <a:cs typeface="Arial" panose="020B0604020202020204" pitchFamily="34" charset="0"/>
                </a:rPr>
                <a:t>Preis einer Option</a:t>
              </a:r>
              <a:endParaRPr lang="de-DE" sz="2000" b="0" strike="noStrike" spc="-1">
                <a:latin typeface="Arial" panose="020B0604020202020204" pitchFamily="34" charset="0"/>
                <a:cs typeface="Arial" panose="020B0604020202020204" pitchFamily="34" charset="0"/>
              </a:endParaRPr>
            </a:p>
          </p:txBody>
        </p:sp>
        <p:sp>
          <p:nvSpPr>
            <p:cNvPr id="12" name="CustomShape 8">
              <a:extLst>
                <a:ext uri="{FF2B5EF4-FFF2-40B4-BE49-F238E27FC236}">
                  <a16:creationId xmlns:a16="http://schemas.microsoft.com/office/drawing/2014/main" id="{29239146-7728-446C-9E4B-9D56DB3BA593}"/>
                </a:ext>
              </a:extLst>
            </p:cNvPr>
            <p:cNvSpPr/>
            <p:nvPr/>
          </p:nvSpPr>
          <p:spPr>
            <a:xfrm>
              <a:off x="6644160" y="2008080"/>
              <a:ext cx="2065680" cy="1085400"/>
            </a:xfrm>
            <a:prstGeom prst="rect">
              <a:avLst/>
            </a:prstGeom>
            <a:noFill/>
            <a:ln w="6480">
              <a:noFill/>
            </a:ln>
          </p:spPr>
          <p:style>
            <a:lnRef idx="0">
              <a:scrgbClr r="0" g="0" b="0"/>
            </a:lnRef>
            <a:fillRef idx="0">
              <a:scrgbClr r="0" g="0" b="0"/>
            </a:fillRef>
            <a:effectRef idx="0">
              <a:scrgbClr r="0" g="0" b="0"/>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000" b="0" strike="noStrike" spc="-1" dirty="0">
                  <a:latin typeface="Arial" panose="020B0604020202020204" pitchFamily="34" charset="0"/>
                  <a:cs typeface="Arial" panose="020B0604020202020204" pitchFamily="34" charset="0"/>
                </a:rPr>
                <a:t>Zinsniveau</a:t>
              </a:r>
            </a:p>
          </p:txBody>
        </p:sp>
        <p:sp>
          <p:nvSpPr>
            <p:cNvPr id="13" name="CustomShape 9">
              <a:extLst>
                <a:ext uri="{FF2B5EF4-FFF2-40B4-BE49-F238E27FC236}">
                  <a16:creationId xmlns:a16="http://schemas.microsoft.com/office/drawing/2014/main" id="{44C29E18-80C3-4158-81FA-1BD2ED0546C9}"/>
                </a:ext>
              </a:extLst>
            </p:cNvPr>
            <p:cNvSpPr/>
            <p:nvPr/>
          </p:nvSpPr>
          <p:spPr>
            <a:xfrm>
              <a:off x="6651720" y="4551480"/>
              <a:ext cx="2065680" cy="1085400"/>
            </a:xfrm>
            <a:prstGeom prst="rect">
              <a:avLst/>
            </a:prstGeom>
            <a:noFill/>
            <a:ln w="6480">
              <a:noFill/>
            </a:ln>
          </p:spPr>
          <p:style>
            <a:lnRef idx="0">
              <a:scrgbClr r="0" g="0" b="0"/>
            </a:lnRef>
            <a:fillRef idx="0">
              <a:scrgbClr r="0" g="0" b="0"/>
            </a:fillRef>
            <a:effectRef idx="0">
              <a:scrgbClr r="0" g="0" b="0"/>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000" b="0" strike="noStrike" spc="-1" dirty="0">
                  <a:latin typeface="Arial" panose="020B0604020202020204" pitchFamily="34" charset="0"/>
                  <a:cs typeface="Arial" panose="020B0604020202020204" pitchFamily="34" charset="0"/>
                </a:rPr>
                <a:t>Restlaufzeit</a:t>
              </a:r>
            </a:p>
          </p:txBody>
        </p:sp>
        <p:sp>
          <p:nvSpPr>
            <p:cNvPr id="14" name="CustomShape 10">
              <a:extLst>
                <a:ext uri="{FF2B5EF4-FFF2-40B4-BE49-F238E27FC236}">
                  <a16:creationId xmlns:a16="http://schemas.microsoft.com/office/drawing/2014/main" id="{C435B1E6-5F8F-41EB-9BA0-968AEBC51116}"/>
                </a:ext>
              </a:extLst>
            </p:cNvPr>
            <p:cNvSpPr/>
            <p:nvPr/>
          </p:nvSpPr>
          <p:spPr>
            <a:xfrm>
              <a:off x="3005640" y="4571640"/>
              <a:ext cx="2065680" cy="1085400"/>
            </a:xfrm>
            <a:prstGeom prst="rect">
              <a:avLst/>
            </a:prstGeom>
            <a:noFill/>
            <a:ln w="6480">
              <a:noFill/>
            </a:ln>
          </p:spPr>
          <p:style>
            <a:lnRef idx="0">
              <a:scrgbClr r="0" g="0" b="0"/>
            </a:lnRef>
            <a:fillRef idx="0">
              <a:scrgbClr r="0" g="0" b="0"/>
            </a:fillRef>
            <a:effectRef idx="0">
              <a:scrgbClr r="0" g="0" b="0"/>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2000" b="0" strike="noStrike" spc="-1" dirty="0">
                  <a:latin typeface="Arial" panose="020B0604020202020204" pitchFamily="34" charset="0"/>
                  <a:cs typeface="Arial" panose="020B0604020202020204" pitchFamily="34" charset="0"/>
                </a:rPr>
                <a:t>Volatilität</a:t>
              </a:r>
            </a:p>
          </p:txBody>
        </p:sp>
      </p:grpSp>
    </p:spTree>
    <p:extLst>
      <p:ext uri="{BB962C8B-B14F-4D97-AF65-F5344CB8AC3E}">
        <p14:creationId xmlns:p14="http://schemas.microsoft.com/office/powerpoint/2010/main" val="28141766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AF40505-53BA-4DFD-BD1E-AE67A01B264A}"/>
              </a:ext>
            </a:extLst>
          </p:cNvPr>
          <p:cNvSpPr>
            <a:spLocks noGrp="1"/>
          </p:cNvSpPr>
          <p:nvPr>
            <p:ph type="sldNum" sz="quarter" idx="10"/>
          </p:nvPr>
        </p:nvSpPr>
        <p:spPr/>
        <p:txBody>
          <a:bodyPr/>
          <a:lstStyle/>
          <a:p>
            <a:fld id="{F966D7FF-EADB-4E92-9989-4DE4533DAC48}" type="slidenum">
              <a:rPr lang="de-DE" smtClean="0"/>
              <a:pPr/>
              <a:t>37</a:t>
            </a:fld>
            <a:endParaRPr lang="de-DE" dirty="0"/>
          </a:p>
        </p:txBody>
      </p:sp>
      <p:sp>
        <p:nvSpPr>
          <p:cNvPr id="3" name="Inhaltsplatzhalter 2">
            <a:extLst>
              <a:ext uri="{FF2B5EF4-FFF2-40B4-BE49-F238E27FC236}">
                <a16:creationId xmlns:a16="http://schemas.microsoft.com/office/drawing/2014/main" id="{6B0861BE-E8E8-4E27-9102-BAC3F5A6454C}"/>
              </a:ext>
            </a:extLst>
          </p:cNvPr>
          <p:cNvSpPr>
            <a:spLocks noGrp="1"/>
          </p:cNvSpPr>
          <p:nvPr>
            <p:ph idx="11"/>
          </p:nvPr>
        </p:nvSpPr>
        <p:spPr/>
        <p:txBody>
          <a:bodyPr/>
          <a:lstStyle/>
          <a:p>
            <a:r>
              <a:rPr lang="de-DE" sz="1200" dirty="0">
                <a:ea typeface="Verdana"/>
                <a:cs typeface="Arial"/>
              </a:rPr>
              <a:t>Optionspreisbildung</a:t>
            </a:r>
            <a:endParaRPr lang="de-DE" sz="1200" dirty="0"/>
          </a:p>
        </p:txBody>
      </p:sp>
      <p:sp>
        <p:nvSpPr>
          <p:cNvPr id="5" name="Inhaltsplatzhalter 4">
            <a:extLst>
              <a:ext uri="{FF2B5EF4-FFF2-40B4-BE49-F238E27FC236}">
                <a16:creationId xmlns:a16="http://schemas.microsoft.com/office/drawing/2014/main" id="{DAE445FB-191F-47F7-A1BD-5C64C5D68F16}"/>
              </a:ext>
            </a:extLst>
          </p:cNvPr>
          <p:cNvSpPr>
            <a:spLocks noGrp="1"/>
          </p:cNvSpPr>
          <p:nvPr>
            <p:ph idx="12"/>
          </p:nvPr>
        </p:nvSpPr>
        <p:spPr/>
        <p:txBody>
          <a:bodyPr/>
          <a:lstStyle/>
          <a:p>
            <a:r>
              <a:rPr lang="de-DE" dirty="0"/>
              <a:t>Mit der Black and Scholes Formel kann eine Preisnäherung ermittelt werden – genauere Details erfahrt Ihr im Vortrag „Option Pricing nach Black und Black Scholes“</a:t>
            </a:r>
          </a:p>
        </p:txBody>
      </p:sp>
      <p:sp>
        <p:nvSpPr>
          <p:cNvPr id="7" name="CustomShape 2">
            <a:extLst>
              <a:ext uri="{FF2B5EF4-FFF2-40B4-BE49-F238E27FC236}">
                <a16:creationId xmlns:a16="http://schemas.microsoft.com/office/drawing/2014/main" id="{92348CE7-DB67-4927-AC03-767CA20DB788}"/>
              </a:ext>
            </a:extLst>
          </p:cNvPr>
          <p:cNvSpPr/>
          <p:nvPr/>
        </p:nvSpPr>
        <p:spPr>
          <a:xfrm>
            <a:off x="460080" y="1794960"/>
            <a:ext cx="8227800" cy="74798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dirty="0">
                <a:latin typeface="Arial" panose="020B0604020202020204" pitchFamily="34" charset="0"/>
                <a:cs typeface="Arial" panose="020B0604020202020204" pitchFamily="34" charset="0"/>
              </a:rPr>
              <a:t>Berechnung von Optionspreisen über  </a:t>
            </a:r>
            <a:r>
              <a:rPr lang="de-DE" sz="2400" b="1" strike="noStrike" spc="-1" dirty="0">
                <a:latin typeface="Arial" panose="020B0604020202020204" pitchFamily="34" charset="0"/>
                <a:cs typeface="Arial" panose="020B0604020202020204" pitchFamily="34" charset="0"/>
              </a:rPr>
              <a:t>Black and Scholes Formel</a:t>
            </a:r>
            <a:br>
              <a:rPr dirty="0">
                <a:latin typeface="Arial" panose="020B0604020202020204" pitchFamily="34" charset="0"/>
                <a:cs typeface="Arial" panose="020B0604020202020204" pitchFamily="34" charset="0"/>
              </a:rPr>
            </a:br>
            <a:r>
              <a:rPr lang="de-DE" sz="1870" b="0" strike="noStrike" spc="-1" dirty="0">
                <a:latin typeface="Arial" panose="020B0604020202020204" pitchFamily="34" charset="0"/>
                <a:cs typeface="Arial" panose="020B0604020202020204" pitchFamily="34" charset="0"/>
              </a:rPr>
              <a:t>(Nobelpreis 1997) </a:t>
            </a:r>
          </a:p>
        </p:txBody>
      </p:sp>
      <p:pic>
        <p:nvPicPr>
          <p:cNvPr id="9" name="Picture 2">
            <a:extLst>
              <a:ext uri="{FF2B5EF4-FFF2-40B4-BE49-F238E27FC236}">
                <a16:creationId xmlns:a16="http://schemas.microsoft.com/office/drawing/2014/main" id="{14905AC0-B9EB-4A1B-9C1E-9E2B8D4E0636}"/>
              </a:ext>
            </a:extLst>
          </p:cNvPr>
          <p:cNvPicPr/>
          <p:nvPr/>
        </p:nvPicPr>
        <p:blipFill>
          <a:blip r:embed="rId3"/>
          <a:stretch/>
        </p:blipFill>
        <p:spPr>
          <a:xfrm>
            <a:off x="3384720" y="2736720"/>
            <a:ext cx="5422680" cy="2107800"/>
          </a:xfrm>
          <a:prstGeom prst="rect">
            <a:avLst/>
          </a:prstGeom>
          <a:ln>
            <a:noFill/>
          </a:ln>
        </p:spPr>
      </p:pic>
      <p:sp>
        <p:nvSpPr>
          <p:cNvPr id="11" name="CustomShape 3">
            <a:extLst>
              <a:ext uri="{FF2B5EF4-FFF2-40B4-BE49-F238E27FC236}">
                <a16:creationId xmlns:a16="http://schemas.microsoft.com/office/drawing/2014/main" id="{393C3AF9-6D56-4BE1-9671-3CA597BE5C8F}"/>
              </a:ext>
            </a:extLst>
          </p:cNvPr>
          <p:cNvSpPr/>
          <p:nvPr/>
        </p:nvSpPr>
        <p:spPr>
          <a:xfrm>
            <a:off x="460080" y="5349240"/>
            <a:ext cx="8227800" cy="4561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dirty="0">
                <a:latin typeface="Arial" panose="020B0604020202020204" pitchFamily="34" charset="0"/>
                <a:cs typeface="Arial" panose="020B0604020202020204" pitchFamily="34" charset="0"/>
              </a:rPr>
              <a:t>Partielle Ableitung nach den respektiven Parametern ergibt  </a:t>
            </a:r>
            <a:r>
              <a:rPr lang="de-DE" sz="2400" b="1" strike="noStrike" spc="-1" dirty="0" err="1">
                <a:latin typeface="Arial" panose="020B0604020202020204" pitchFamily="34" charset="0"/>
                <a:cs typeface="Arial" panose="020B0604020202020204" pitchFamily="34" charset="0"/>
              </a:rPr>
              <a:t>Greeks</a:t>
            </a:r>
            <a:endParaRPr lang="de-DE" sz="2400" b="0" strike="noStrike" spc="-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99313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32BC697-C4E1-4FB6-BB12-B5C6F378B44B}"/>
              </a:ext>
            </a:extLst>
          </p:cNvPr>
          <p:cNvSpPr>
            <a:spLocks noGrp="1"/>
          </p:cNvSpPr>
          <p:nvPr>
            <p:ph type="sldNum" sz="quarter" idx="10"/>
          </p:nvPr>
        </p:nvSpPr>
        <p:spPr/>
        <p:txBody>
          <a:bodyPr/>
          <a:lstStyle/>
          <a:p>
            <a:fld id="{F966D7FF-EADB-4E92-9989-4DE4533DAC48}" type="slidenum">
              <a:rPr lang="de-DE" smtClean="0"/>
              <a:pPr/>
              <a:t>38</a:t>
            </a:fld>
            <a:endParaRPr lang="de-DE" dirty="0"/>
          </a:p>
        </p:txBody>
      </p:sp>
      <p:sp>
        <p:nvSpPr>
          <p:cNvPr id="3" name="Inhaltsplatzhalter 2">
            <a:extLst>
              <a:ext uri="{FF2B5EF4-FFF2-40B4-BE49-F238E27FC236}">
                <a16:creationId xmlns:a16="http://schemas.microsoft.com/office/drawing/2014/main" id="{A4A2A1E1-3824-400D-B4F6-E36C6742A6BA}"/>
              </a:ext>
            </a:extLst>
          </p:cNvPr>
          <p:cNvSpPr>
            <a:spLocks noGrp="1"/>
          </p:cNvSpPr>
          <p:nvPr>
            <p:ph idx="11"/>
          </p:nvPr>
        </p:nvSpPr>
        <p:spPr/>
        <p:txBody>
          <a:bodyPr/>
          <a:lstStyle/>
          <a:p>
            <a:r>
              <a:rPr lang="de-DE" sz="1200" dirty="0">
                <a:ea typeface="Verdana"/>
                <a:cs typeface="Arial"/>
              </a:rPr>
              <a:t>Die Griechen</a:t>
            </a:r>
            <a:endParaRPr lang="de-DE" sz="1200" dirty="0"/>
          </a:p>
        </p:txBody>
      </p:sp>
      <p:sp>
        <p:nvSpPr>
          <p:cNvPr id="5" name="Inhaltsplatzhalter 4">
            <a:extLst>
              <a:ext uri="{FF2B5EF4-FFF2-40B4-BE49-F238E27FC236}">
                <a16:creationId xmlns:a16="http://schemas.microsoft.com/office/drawing/2014/main" id="{5FF088BC-B2C5-4822-9CC9-C556C34EB72D}"/>
              </a:ext>
            </a:extLst>
          </p:cNvPr>
          <p:cNvSpPr>
            <a:spLocks noGrp="1"/>
          </p:cNvSpPr>
          <p:nvPr>
            <p:ph idx="12"/>
          </p:nvPr>
        </p:nvSpPr>
        <p:spPr/>
        <p:txBody>
          <a:bodyPr/>
          <a:lstStyle/>
          <a:p>
            <a:r>
              <a:rPr lang="de-DE" dirty="0"/>
              <a:t>Die sogenannten Griechen („</a:t>
            </a:r>
            <a:r>
              <a:rPr lang="de-DE" dirty="0" err="1"/>
              <a:t>Greeks</a:t>
            </a:r>
            <a:r>
              <a:rPr lang="de-DE" dirty="0"/>
              <a:t>“) sind äußerst hilfreich bei der Analyse, wie sich der Preis der Option bei Änderung einzelner Parameter (z.B. Zins, Volatilität) verändert</a:t>
            </a:r>
          </a:p>
        </p:txBody>
      </p:sp>
      <p:grpSp>
        <p:nvGrpSpPr>
          <p:cNvPr id="6" name="Gruppieren 5">
            <a:extLst>
              <a:ext uri="{FF2B5EF4-FFF2-40B4-BE49-F238E27FC236}">
                <a16:creationId xmlns:a16="http://schemas.microsoft.com/office/drawing/2014/main" id="{0A88D6DD-5C65-4812-88F4-23854CE9AE07}"/>
              </a:ext>
            </a:extLst>
          </p:cNvPr>
          <p:cNvGrpSpPr/>
          <p:nvPr/>
        </p:nvGrpSpPr>
        <p:grpSpPr>
          <a:xfrm>
            <a:off x="527040" y="1221120"/>
            <a:ext cx="11330280" cy="4678200"/>
            <a:chOff x="527040" y="1221120"/>
            <a:chExt cx="11330280" cy="4678200"/>
          </a:xfrm>
        </p:grpSpPr>
        <p:sp>
          <p:nvSpPr>
            <p:cNvPr id="7" name="CustomShape 2">
              <a:extLst>
                <a:ext uri="{FF2B5EF4-FFF2-40B4-BE49-F238E27FC236}">
                  <a16:creationId xmlns:a16="http://schemas.microsoft.com/office/drawing/2014/main" id="{AAA1E216-F93F-4A45-A4F3-B76F445E1BAE}"/>
                </a:ext>
              </a:extLst>
            </p:cNvPr>
            <p:cNvSpPr/>
            <p:nvPr/>
          </p:nvSpPr>
          <p:spPr>
            <a:xfrm>
              <a:off x="527040" y="1981080"/>
              <a:ext cx="2592720" cy="221453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400" b="1" strike="noStrike" spc="-1" dirty="0">
                  <a:latin typeface="Arial" panose="020B0604020202020204" pitchFamily="34" charset="0"/>
                  <a:cs typeface="Arial" panose="020B0604020202020204" pitchFamily="34" charset="0"/>
                </a:rPr>
                <a:t>Delta</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Um wie viel ändert sich der Wert der Option, wenn sich der Basiswert um 1 GE verändert</a:t>
              </a:r>
            </a:p>
          </p:txBody>
        </p:sp>
        <p:sp>
          <p:nvSpPr>
            <p:cNvPr id="8" name="Line 3">
              <a:extLst>
                <a:ext uri="{FF2B5EF4-FFF2-40B4-BE49-F238E27FC236}">
                  <a16:creationId xmlns:a16="http://schemas.microsoft.com/office/drawing/2014/main" id="{0347FA37-D117-499A-8CE0-356FDDACBEB3}"/>
                </a:ext>
              </a:extLst>
            </p:cNvPr>
            <p:cNvSpPr/>
            <p:nvPr/>
          </p:nvSpPr>
          <p:spPr>
            <a:xfrm flipV="1">
              <a:off x="527040" y="1646640"/>
              <a:ext cx="360" cy="1686960"/>
            </a:xfrm>
            <a:prstGeom prst="line">
              <a:avLst/>
            </a:prstGeom>
            <a:ln/>
          </p:spPr>
          <p:style>
            <a:lnRef idx="1">
              <a:schemeClr val="accent1"/>
            </a:lnRef>
            <a:fillRef idx="0">
              <a:schemeClr val="accent1"/>
            </a:fillRef>
            <a:effectRef idx="0">
              <a:schemeClr val="accent1"/>
            </a:effectRef>
            <a:fontRef idx="minor"/>
          </p:style>
        </p:sp>
        <p:sp>
          <p:nvSpPr>
            <p:cNvPr id="9" name="CustomShape 4">
              <a:extLst>
                <a:ext uri="{FF2B5EF4-FFF2-40B4-BE49-F238E27FC236}">
                  <a16:creationId xmlns:a16="http://schemas.microsoft.com/office/drawing/2014/main" id="{58A50BB6-0882-4682-8EA6-440CE7BDED3F}"/>
                </a:ext>
              </a:extLst>
            </p:cNvPr>
            <p:cNvSpPr/>
            <p:nvPr/>
          </p:nvSpPr>
          <p:spPr>
            <a:xfrm>
              <a:off x="7920720" y="1553760"/>
              <a:ext cx="3263400" cy="140508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400" b="1" strike="noStrike" spc="-1" dirty="0">
                  <a:latin typeface="Arial" panose="020B0604020202020204" pitchFamily="34" charset="0"/>
                  <a:cs typeface="Arial" panose="020B0604020202020204" pitchFamily="34" charset="0"/>
                </a:rPr>
                <a:t>Theta</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Näherungsweise täglicher Zeitwertverlust einer Option</a:t>
              </a:r>
            </a:p>
          </p:txBody>
        </p:sp>
        <p:sp>
          <p:nvSpPr>
            <p:cNvPr id="10" name="Line 5">
              <a:extLst>
                <a:ext uri="{FF2B5EF4-FFF2-40B4-BE49-F238E27FC236}">
                  <a16:creationId xmlns:a16="http://schemas.microsoft.com/office/drawing/2014/main" id="{8D40B19B-C44F-441C-ACA0-1BCC66F11A56}"/>
                </a:ext>
              </a:extLst>
            </p:cNvPr>
            <p:cNvSpPr/>
            <p:nvPr/>
          </p:nvSpPr>
          <p:spPr>
            <a:xfrm flipV="1">
              <a:off x="7920360" y="1221120"/>
              <a:ext cx="360" cy="1684800"/>
            </a:xfrm>
            <a:prstGeom prst="line">
              <a:avLst/>
            </a:prstGeom>
            <a:ln/>
          </p:spPr>
          <p:style>
            <a:lnRef idx="1">
              <a:schemeClr val="accent1"/>
            </a:lnRef>
            <a:fillRef idx="0">
              <a:schemeClr val="accent1"/>
            </a:fillRef>
            <a:effectRef idx="0">
              <a:schemeClr val="accent1"/>
            </a:effectRef>
            <a:fontRef idx="minor"/>
          </p:style>
        </p:sp>
        <p:sp>
          <p:nvSpPr>
            <p:cNvPr id="11" name="CustomShape 6">
              <a:extLst>
                <a:ext uri="{FF2B5EF4-FFF2-40B4-BE49-F238E27FC236}">
                  <a16:creationId xmlns:a16="http://schemas.microsoft.com/office/drawing/2014/main" id="{04389814-1489-4FA6-8EBF-4CA12C9545E7}"/>
                </a:ext>
              </a:extLst>
            </p:cNvPr>
            <p:cNvSpPr/>
            <p:nvPr/>
          </p:nvSpPr>
          <p:spPr>
            <a:xfrm>
              <a:off x="7728120" y="4275720"/>
              <a:ext cx="4129200" cy="140508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400" b="1" strike="noStrike" spc="-1" dirty="0">
                  <a:latin typeface="Arial" panose="020B0604020202020204" pitchFamily="34" charset="0"/>
                  <a:cs typeface="Arial" panose="020B0604020202020204" pitchFamily="34" charset="0"/>
                </a:rPr>
                <a:t>Vega	</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a:lnSpc>
                  <a:spcPct val="100000"/>
                </a:lnSpc>
              </a:pPr>
              <a:r>
                <a:rPr lang="de-DE" b="0" strike="noStrike" spc="-1" dirty="0">
                  <a:latin typeface="Arial" panose="020B0604020202020204" pitchFamily="34" charset="0"/>
                  <a:cs typeface="Arial" panose="020B0604020202020204" pitchFamily="34" charset="0"/>
                </a:rPr>
                <a:t>Veränderung in Abhängigkeit von Volatilität </a:t>
              </a:r>
            </a:p>
          </p:txBody>
        </p:sp>
        <p:sp>
          <p:nvSpPr>
            <p:cNvPr id="12" name="Line 7">
              <a:extLst>
                <a:ext uri="{FF2B5EF4-FFF2-40B4-BE49-F238E27FC236}">
                  <a16:creationId xmlns:a16="http://schemas.microsoft.com/office/drawing/2014/main" id="{1BD3C961-C76F-4D51-9FA0-04FC7A613B21}"/>
                </a:ext>
              </a:extLst>
            </p:cNvPr>
            <p:cNvSpPr/>
            <p:nvPr/>
          </p:nvSpPr>
          <p:spPr>
            <a:xfrm flipV="1">
              <a:off x="7727760" y="4004640"/>
              <a:ext cx="360" cy="1686960"/>
            </a:xfrm>
            <a:prstGeom prst="line">
              <a:avLst/>
            </a:prstGeom>
            <a:ln/>
          </p:spPr>
          <p:style>
            <a:lnRef idx="1">
              <a:schemeClr val="accent1"/>
            </a:lnRef>
            <a:fillRef idx="0">
              <a:schemeClr val="accent1"/>
            </a:fillRef>
            <a:effectRef idx="0">
              <a:schemeClr val="accent1"/>
            </a:effectRef>
            <a:fontRef idx="minor"/>
          </p:style>
        </p:sp>
        <p:sp>
          <p:nvSpPr>
            <p:cNvPr id="13" name="CustomShape 8">
              <a:extLst>
                <a:ext uri="{FF2B5EF4-FFF2-40B4-BE49-F238E27FC236}">
                  <a16:creationId xmlns:a16="http://schemas.microsoft.com/office/drawing/2014/main" id="{AF914A30-3A89-4B4E-B68F-FD5E68D08FE4}"/>
                </a:ext>
              </a:extLst>
            </p:cNvPr>
            <p:cNvSpPr/>
            <p:nvPr/>
          </p:nvSpPr>
          <p:spPr>
            <a:xfrm>
              <a:off x="3312720" y="2906280"/>
              <a:ext cx="2302560" cy="2018880"/>
            </a:xfrm>
            <a:prstGeom prst="flowChartPreparation">
              <a:avLst/>
            </a:prstGeom>
            <a:blipFill rotWithShape="0">
              <a:blip r:embed="rId2"/>
              <a:stretch>
                <a:fillRect/>
              </a:stretch>
            </a:blipFill>
            <a:ln/>
          </p:spPr>
          <p:style>
            <a:lnRef idx="2">
              <a:schemeClr val="accent1">
                <a:shade val="50000"/>
              </a:schemeClr>
            </a:lnRef>
            <a:fillRef idx="1">
              <a:schemeClr val="accent1"/>
            </a:fillRef>
            <a:effectRef idx="0">
              <a:schemeClr val="accent1"/>
            </a:effectRef>
            <a:fontRef idx="minor"/>
          </p:style>
        </p:sp>
        <p:sp>
          <p:nvSpPr>
            <p:cNvPr id="14" name="CustomShape 9">
              <a:extLst>
                <a:ext uri="{FF2B5EF4-FFF2-40B4-BE49-F238E27FC236}">
                  <a16:creationId xmlns:a16="http://schemas.microsoft.com/office/drawing/2014/main" id="{5AF5EE0A-3275-4E9C-B621-8AD8EEBA2B14}"/>
                </a:ext>
              </a:extLst>
            </p:cNvPr>
            <p:cNvSpPr/>
            <p:nvPr/>
          </p:nvSpPr>
          <p:spPr>
            <a:xfrm>
              <a:off x="5135040" y="1898640"/>
              <a:ext cx="2304720" cy="2016720"/>
            </a:xfrm>
            <a:prstGeom prst="flowChartPreparation">
              <a:avLst/>
            </a:prstGeom>
            <a:blipFill rotWithShape="0">
              <a:blip r:embed="rId3"/>
              <a:stretch>
                <a:fillRect/>
              </a:stretch>
            </a:blipFill>
            <a:ln/>
          </p:spPr>
          <p:style>
            <a:lnRef idx="2">
              <a:schemeClr val="accent1">
                <a:shade val="50000"/>
              </a:schemeClr>
            </a:lnRef>
            <a:fillRef idx="1">
              <a:schemeClr val="accent1"/>
            </a:fillRef>
            <a:effectRef idx="0">
              <a:schemeClr val="accent1"/>
            </a:effectRef>
            <a:fontRef idx="minor"/>
          </p:style>
        </p:sp>
        <p:pic>
          <p:nvPicPr>
            <p:cNvPr id="15" name="Picture 2" descr="Ein Bild, das Zeichnung enthält.&#10;&#10;Mit sehr hoher Zuverlässigkeit generierte Beschreibung">
              <a:extLst>
                <a:ext uri="{FF2B5EF4-FFF2-40B4-BE49-F238E27FC236}">
                  <a16:creationId xmlns:a16="http://schemas.microsoft.com/office/drawing/2014/main" id="{5496DB95-8850-487F-9CEF-4C7113F2ADE8}"/>
                </a:ext>
              </a:extLst>
            </p:cNvPr>
            <p:cNvPicPr/>
            <p:nvPr/>
          </p:nvPicPr>
          <p:blipFill>
            <a:blip r:embed="rId4"/>
            <a:srcRect l="-6585" t="2167" r="-6047" b="-14799"/>
            <a:stretch/>
          </p:blipFill>
          <p:spPr>
            <a:xfrm>
              <a:off x="5173200" y="3947040"/>
              <a:ext cx="2228760" cy="1952280"/>
            </a:xfrm>
            <a:prstGeom prst="rect">
              <a:avLst/>
            </a:prstGeom>
            <a:ln w="25560">
              <a:solidFill>
                <a:srgbClr val="0B1B40"/>
              </a:solidFill>
              <a:round/>
            </a:ln>
          </p:spPr>
        </p:pic>
      </p:grpSp>
    </p:spTree>
    <p:extLst>
      <p:ext uri="{BB962C8B-B14F-4D97-AF65-F5344CB8AC3E}">
        <p14:creationId xmlns:p14="http://schemas.microsoft.com/office/powerpoint/2010/main" val="2020721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D2CF3E7-AD54-4A99-AE0D-C3FC92E4C09C}"/>
              </a:ext>
            </a:extLst>
          </p:cNvPr>
          <p:cNvSpPr>
            <a:spLocks noGrp="1"/>
          </p:cNvSpPr>
          <p:nvPr>
            <p:ph type="sldNum" sz="quarter" idx="10"/>
          </p:nvPr>
        </p:nvSpPr>
        <p:spPr/>
        <p:txBody>
          <a:bodyPr/>
          <a:lstStyle/>
          <a:p>
            <a:fld id="{F966D7FF-EADB-4E92-9989-4DE4533DAC48}" type="slidenum">
              <a:rPr lang="de-DE" smtClean="0"/>
              <a:pPr/>
              <a:t>39</a:t>
            </a:fld>
            <a:endParaRPr lang="de-DE" dirty="0"/>
          </a:p>
        </p:txBody>
      </p:sp>
      <p:sp>
        <p:nvSpPr>
          <p:cNvPr id="3" name="Inhaltsplatzhalter 2">
            <a:extLst>
              <a:ext uri="{FF2B5EF4-FFF2-40B4-BE49-F238E27FC236}">
                <a16:creationId xmlns:a16="http://schemas.microsoft.com/office/drawing/2014/main" id="{C1FA3F27-795C-4108-9D7B-6D85F4AA44BC}"/>
              </a:ext>
            </a:extLst>
          </p:cNvPr>
          <p:cNvSpPr>
            <a:spLocks noGrp="1"/>
          </p:cNvSpPr>
          <p:nvPr>
            <p:ph idx="11"/>
          </p:nvPr>
        </p:nvSpPr>
        <p:spPr/>
        <p:txBody>
          <a:bodyPr/>
          <a:lstStyle/>
          <a:p>
            <a:r>
              <a:rPr lang="de-DE" sz="1200" dirty="0">
                <a:ea typeface="Verdana"/>
                <a:cs typeface="Arial"/>
              </a:rPr>
              <a:t>Die Griechen</a:t>
            </a:r>
            <a:endParaRPr lang="de-DE" sz="1200" dirty="0"/>
          </a:p>
        </p:txBody>
      </p:sp>
      <p:sp>
        <p:nvSpPr>
          <p:cNvPr id="5" name="Inhaltsplatzhalter 4">
            <a:extLst>
              <a:ext uri="{FF2B5EF4-FFF2-40B4-BE49-F238E27FC236}">
                <a16:creationId xmlns:a16="http://schemas.microsoft.com/office/drawing/2014/main" id="{EA4DF0C1-F3DA-404C-A734-A749DFB61031}"/>
              </a:ext>
            </a:extLst>
          </p:cNvPr>
          <p:cNvSpPr>
            <a:spLocks noGrp="1"/>
          </p:cNvSpPr>
          <p:nvPr>
            <p:ph idx="12"/>
          </p:nvPr>
        </p:nvSpPr>
        <p:spPr/>
        <p:txBody>
          <a:bodyPr/>
          <a:lstStyle/>
          <a:p>
            <a:r>
              <a:rPr lang="de-DE" dirty="0"/>
              <a:t>Je nach Position kann eine Veränderung der Griechen einen großen Unterschied auf die Preisänderung bewirken</a:t>
            </a:r>
          </a:p>
        </p:txBody>
      </p:sp>
      <p:graphicFrame>
        <p:nvGraphicFramePr>
          <p:cNvPr id="7" name="Table 2">
            <a:extLst>
              <a:ext uri="{FF2B5EF4-FFF2-40B4-BE49-F238E27FC236}">
                <a16:creationId xmlns:a16="http://schemas.microsoft.com/office/drawing/2014/main" id="{E4A7318E-0C81-4A03-8EB7-B1BE72A41C18}"/>
              </a:ext>
            </a:extLst>
          </p:cNvPr>
          <p:cNvGraphicFramePr/>
          <p:nvPr>
            <p:extLst>
              <p:ext uri="{D42A27DB-BD31-4B8C-83A1-F6EECF244321}">
                <p14:modId xmlns:p14="http://schemas.microsoft.com/office/powerpoint/2010/main" val="3279846800"/>
              </p:ext>
            </p:extLst>
          </p:nvPr>
        </p:nvGraphicFramePr>
        <p:xfrm>
          <a:off x="479640" y="1766860"/>
          <a:ext cx="11232720" cy="3666600"/>
        </p:xfrm>
        <a:graphic>
          <a:graphicData uri="http://schemas.openxmlformats.org/drawingml/2006/table">
            <a:tbl>
              <a:tblPr/>
              <a:tblGrid>
                <a:gridCol w="3489840">
                  <a:extLst>
                    <a:ext uri="{9D8B030D-6E8A-4147-A177-3AD203B41FA5}">
                      <a16:colId xmlns:a16="http://schemas.microsoft.com/office/drawing/2014/main" val="20000"/>
                    </a:ext>
                  </a:extLst>
                </a:gridCol>
                <a:gridCol w="3489840">
                  <a:extLst>
                    <a:ext uri="{9D8B030D-6E8A-4147-A177-3AD203B41FA5}">
                      <a16:colId xmlns:a16="http://schemas.microsoft.com/office/drawing/2014/main" val="20001"/>
                    </a:ext>
                  </a:extLst>
                </a:gridCol>
                <a:gridCol w="2126520">
                  <a:extLst>
                    <a:ext uri="{9D8B030D-6E8A-4147-A177-3AD203B41FA5}">
                      <a16:colId xmlns:a16="http://schemas.microsoft.com/office/drawing/2014/main" val="20002"/>
                    </a:ext>
                  </a:extLst>
                </a:gridCol>
                <a:gridCol w="2126520">
                  <a:extLst>
                    <a:ext uri="{9D8B030D-6E8A-4147-A177-3AD203B41FA5}">
                      <a16:colId xmlns:a16="http://schemas.microsoft.com/office/drawing/2014/main" val="20003"/>
                    </a:ext>
                  </a:extLst>
                </a:gridCol>
              </a:tblGrid>
              <a:tr h="474120">
                <a:tc>
                  <a:txBody>
                    <a:bodyPr/>
                    <a:lstStyle/>
                    <a:p>
                      <a:pPr algn="ctr">
                        <a:lnSpc>
                          <a:spcPct val="100000"/>
                        </a:lnSpc>
                      </a:pPr>
                      <a:r>
                        <a:rPr lang="de-DE" sz="1600" b="1" strike="noStrike" spc="-1" dirty="0">
                          <a:solidFill>
                            <a:srgbClr val="FFFFFF"/>
                          </a:solidFill>
                          <a:latin typeface="Arial" panose="020B0604020202020204" pitchFamily="34" charset="0"/>
                          <a:cs typeface="Arial" panose="020B0604020202020204" pitchFamily="34" charset="0"/>
                        </a:rPr>
                        <a:t>Greek</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600" b="1" strike="noStrike" spc="-1" dirty="0">
                          <a:solidFill>
                            <a:srgbClr val="FFFFFF"/>
                          </a:solidFill>
                          <a:latin typeface="Arial" panose="020B0604020202020204" pitchFamily="34" charset="0"/>
                          <a:cs typeface="Arial" panose="020B0604020202020204" pitchFamily="34" charset="0"/>
                        </a:rPr>
                        <a:t>Beschreibung </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600" b="1" strike="noStrike" spc="-1" dirty="0">
                          <a:solidFill>
                            <a:srgbClr val="FFFFFF"/>
                          </a:solidFill>
                          <a:latin typeface="Arial" panose="020B0604020202020204" pitchFamily="34" charset="0"/>
                          <a:cs typeface="Arial" panose="020B0604020202020204" pitchFamily="34" charset="0"/>
                        </a:rPr>
                        <a:t>(Long) Put</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tc>
                  <a:txBody>
                    <a:bodyPr/>
                    <a:lstStyle/>
                    <a:p>
                      <a:pPr algn="ctr">
                        <a:lnSpc>
                          <a:spcPct val="100000"/>
                        </a:lnSpc>
                      </a:pPr>
                      <a:r>
                        <a:rPr lang="de-DE" sz="1600" b="1" strike="noStrike" spc="-1" dirty="0">
                          <a:solidFill>
                            <a:srgbClr val="FFFFFF"/>
                          </a:solidFill>
                          <a:latin typeface="Arial" panose="020B0604020202020204" pitchFamily="34" charset="0"/>
                          <a:cs typeface="Arial" panose="020B0604020202020204" pitchFamily="34" charset="0"/>
                        </a:rPr>
                        <a:t>(Long) Call</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38160">
                      <a:solidFill>
                        <a:srgbClr val="FFFFFF"/>
                      </a:solidFill>
                    </a:lnB>
                    <a:solidFill>
                      <a:srgbClr val="193052"/>
                    </a:solidFill>
                  </a:tcPr>
                </a:tc>
                <a:extLst>
                  <a:ext uri="{0D108BD9-81ED-4DB2-BD59-A6C34878D82A}">
                    <a16:rowId xmlns:a16="http://schemas.microsoft.com/office/drawing/2014/main" val="10000"/>
                  </a:ext>
                </a:extLst>
              </a:tr>
              <a:tr h="952200">
                <a:tc>
                  <a:txBody>
                    <a:bodyPr/>
                    <a:lstStyle/>
                    <a:p>
                      <a:pPr algn="ctr">
                        <a:lnSpc>
                          <a:spcPct val="100000"/>
                        </a:lnSpc>
                      </a:pPr>
                      <a:r>
                        <a:rPr lang="de-DE" sz="1600" b="0" strike="noStrike" spc="-1">
                          <a:solidFill>
                            <a:srgbClr val="000000"/>
                          </a:solidFill>
                          <a:latin typeface="Arial" panose="020B0604020202020204" pitchFamily="34" charset="0"/>
                          <a:cs typeface="Arial" panose="020B0604020202020204" pitchFamily="34" charset="0"/>
                        </a:rPr>
                        <a:t>Delta</a:t>
                      </a:r>
                      <a:endParaRPr lang="de-DE" sz="16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1600" b="0" strike="noStrike" spc="-1" dirty="0">
                          <a:solidFill>
                            <a:srgbClr val="000000"/>
                          </a:solidFill>
                          <a:latin typeface="Arial" panose="020B0604020202020204" pitchFamily="34" charset="0"/>
                          <a:cs typeface="Arial" panose="020B0604020202020204" pitchFamily="34" charset="0"/>
                        </a:rPr>
                        <a:t>Positive Preisänderung des Underlying</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CFD5E9"/>
                    </a:solidFill>
                  </a:tcPr>
                </a:tc>
                <a:extLst>
                  <a:ext uri="{0D108BD9-81ED-4DB2-BD59-A6C34878D82A}">
                    <a16:rowId xmlns:a16="http://schemas.microsoft.com/office/drawing/2014/main" val="10001"/>
                  </a:ext>
                </a:extLst>
              </a:tr>
              <a:tr h="959760">
                <a:tc>
                  <a:txBody>
                    <a:bodyPr/>
                    <a:lstStyle/>
                    <a:p>
                      <a:pPr algn="ctr">
                        <a:lnSpc>
                          <a:spcPct val="100000"/>
                        </a:lnSpc>
                      </a:pPr>
                      <a:r>
                        <a:rPr lang="de-DE" sz="1600" b="0" strike="noStrike" spc="-1">
                          <a:solidFill>
                            <a:srgbClr val="000000"/>
                          </a:solidFill>
                          <a:latin typeface="Arial" panose="020B0604020202020204" pitchFamily="34" charset="0"/>
                          <a:cs typeface="Arial" panose="020B0604020202020204" pitchFamily="34" charset="0"/>
                        </a:rPr>
                        <a:t>Theta</a:t>
                      </a:r>
                      <a:endParaRPr lang="de-DE" sz="16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1600" b="0" strike="noStrike" spc="-1">
                          <a:solidFill>
                            <a:srgbClr val="000000"/>
                          </a:solidFill>
                          <a:latin typeface="Arial" panose="020B0604020202020204" pitchFamily="34" charset="0"/>
                          <a:cs typeface="Arial" panose="020B0604020202020204" pitchFamily="34" charset="0"/>
                        </a:rPr>
                        <a:t>Verringerung der Restlaufzeit</a:t>
                      </a:r>
                      <a:endParaRPr lang="de-DE" sz="16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E8EBF4"/>
                    </a:solidFill>
                  </a:tcPr>
                </a:tc>
                <a:extLst>
                  <a:ext uri="{0D108BD9-81ED-4DB2-BD59-A6C34878D82A}">
                    <a16:rowId xmlns:a16="http://schemas.microsoft.com/office/drawing/2014/main" val="10002"/>
                  </a:ext>
                </a:extLst>
              </a:tr>
              <a:tr h="670320">
                <a:tc>
                  <a:txBody>
                    <a:bodyPr/>
                    <a:lstStyle/>
                    <a:p>
                      <a:pPr algn="ctr">
                        <a:lnSpc>
                          <a:spcPct val="100000"/>
                        </a:lnSpc>
                      </a:pPr>
                      <a:r>
                        <a:rPr lang="de-DE" sz="1600" b="0" strike="noStrike" spc="-1" dirty="0">
                          <a:solidFill>
                            <a:srgbClr val="000000"/>
                          </a:solidFill>
                          <a:latin typeface="Arial" panose="020B0604020202020204" pitchFamily="34" charset="0"/>
                          <a:cs typeface="Arial" panose="020B0604020202020204" pitchFamily="34" charset="0"/>
                        </a:rPr>
                        <a:t>Vega</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1600" b="0" strike="noStrike" spc="-1">
                          <a:solidFill>
                            <a:srgbClr val="000000"/>
                          </a:solidFill>
                          <a:latin typeface="Arial" panose="020B0604020202020204" pitchFamily="34" charset="0"/>
                          <a:cs typeface="Arial" panose="020B0604020202020204" pitchFamily="34" charset="0"/>
                        </a:rPr>
                        <a:t>Erhöhung der Volatilität (Schwankung)</a:t>
                      </a:r>
                      <a:endParaRPr lang="de-DE" sz="16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a:solidFill>
                        <a:srgbClr val="FFFFFF"/>
                      </a:solidFill>
                    </a:lnB>
                    <a:solidFill>
                      <a:srgbClr val="CFD5E9"/>
                    </a:solidFill>
                  </a:tcPr>
                </a:tc>
                <a:extLst>
                  <a:ext uri="{0D108BD9-81ED-4DB2-BD59-A6C34878D82A}">
                    <a16:rowId xmlns:a16="http://schemas.microsoft.com/office/drawing/2014/main" val="10003"/>
                  </a:ext>
                </a:extLst>
              </a:tr>
              <a:tr h="610200">
                <a:tc>
                  <a:txBody>
                    <a:bodyPr/>
                    <a:lstStyle/>
                    <a:p>
                      <a:pPr algn="ctr">
                        <a:lnSpc>
                          <a:spcPct val="100000"/>
                        </a:lnSpc>
                      </a:pPr>
                      <a:r>
                        <a:rPr lang="de-DE" sz="1600" b="0" strike="noStrike" spc="-1" dirty="0" err="1">
                          <a:solidFill>
                            <a:srgbClr val="000000"/>
                          </a:solidFill>
                          <a:latin typeface="Arial" panose="020B0604020202020204" pitchFamily="34" charset="0"/>
                          <a:cs typeface="Arial" panose="020B0604020202020204" pitchFamily="34" charset="0"/>
                        </a:rPr>
                        <a:t>Rho</a:t>
                      </a:r>
                      <a:endParaRPr lang="de-DE" sz="16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cap="flat" cmpd="sng" algn="ctr">
                      <a:solidFill>
                        <a:srgbClr val="FFFFFF"/>
                      </a:solidFill>
                      <a:prstDash val="solid"/>
                      <a:round/>
                      <a:headEnd type="none" w="med" len="med"/>
                      <a:tailEnd type="none" w="med" len="med"/>
                    </a:lnB>
                    <a:solidFill>
                      <a:srgbClr val="E8EBF4"/>
                    </a:solidFill>
                  </a:tcPr>
                </a:tc>
                <a:tc>
                  <a:txBody>
                    <a:bodyPr/>
                    <a:lstStyle/>
                    <a:p>
                      <a:pPr algn="ctr">
                        <a:lnSpc>
                          <a:spcPct val="100000"/>
                        </a:lnSpc>
                      </a:pPr>
                      <a:r>
                        <a:rPr lang="de-DE" sz="1600" b="0" strike="noStrike" spc="-1">
                          <a:solidFill>
                            <a:srgbClr val="000000"/>
                          </a:solidFill>
                          <a:latin typeface="Arial" panose="020B0604020202020204" pitchFamily="34" charset="0"/>
                          <a:cs typeface="Arial" panose="020B0604020202020204" pitchFamily="34" charset="0"/>
                        </a:rPr>
                        <a:t>Erhöhung des Zinsniveaus</a:t>
                      </a:r>
                      <a:endParaRPr lang="de-DE" sz="16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cap="flat" cmpd="sng" algn="ctr">
                      <a:solidFill>
                        <a:srgbClr val="FFFFFF"/>
                      </a:solidFill>
                      <a:prstDash val="solid"/>
                      <a:round/>
                      <a:headEnd type="none" w="med" len="med"/>
                      <a:tailEnd type="none" w="med" len="med"/>
                    </a:lnB>
                    <a:solidFill>
                      <a:srgbClr val="E8EBF4"/>
                    </a:solidFill>
                  </a:tcPr>
                </a:tc>
                <a:tc>
                  <a:txBody>
                    <a:bodyPr/>
                    <a:lstStyle/>
                    <a:p>
                      <a:pPr algn="ctr">
                        <a:lnSpc>
                          <a:spcPct val="100000"/>
                        </a:lnSpc>
                      </a:pPr>
                      <a:r>
                        <a:rPr lang="de-DE" sz="2800" b="1" strike="noStrike" spc="-1">
                          <a:solidFill>
                            <a:srgbClr val="000000"/>
                          </a:solidFill>
                          <a:latin typeface="Arial" panose="020B0604020202020204" pitchFamily="34" charset="0"/>
                          <a:cs typeface="Arial" panose="020B0604020202020204" pitchFamily="34" charset="0"/>
                        </a:rPr>
                        <a:t>-</a:t>
                      </a:r>
                      <a:endParaRPr lang="de-DE" sz="2800" b="0" strike="noStrike" spc="-1">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cap="flat" cmpd="sng" algn="ctr">
                      <a:solidFill>
                        <a:srgbClr val="FFFFFF"/>
                      </a:solidFill>
                      <a:prstDash val="solid"/>
                      <a:round/>
                      <a:headEnd type="none" w="med" len="med"/>
                      <a:tailEnd type="none" w="med" len="med"/>
                    </a:lnB>
                    <a:solidFill>
                      <a:srgbClr val="E8EBF4"/>
                    </a:solidFill>
                  </a:tcPr>
                </a:tc>
                <a:tc>
                  <a:txBody>
                    <a:bodyPr/>
                    <a:lstStyle/>
                    <a:p>
                      <a:pPr algn="ctr">
                        <a:lnSpc>
                          <a:spcPct val="100000"/>
                        </a:lnSpc>
                      </a:pPr>
                      <a:r>
                        <a:rPr lang="de-DE" sz="2800" b="1" strike="noStrike" spc="-1" dirty="0">
                          <a:solidFill>
                            <a:srgbClr val="000000"/>
                          </a:solidFill>
                          <a:latin typeface="Arial" panose="020B0604020202020204" pitchFamily="34" charset="0"/>
                          <a:cs typeface="Arial" panose="020B0604020202020204" pitchFamily="34" charset="0"/>
                        </a:rPr>
                        <a:t>+</a:t>
                      </a:r>
                      <a:endParaRPr lang="de-DE" sz="2800" b="0" strike="noStrike" spc="-1" dirty="0">
                        <a:latin typeface="Arial" panose="020B0604020202020204" pitchFamily="34" charset="0"/>
                        <a:cs typeface="Arial" panose="020B0604020202020204" pitchFamily="34" charset="0"/>
                      </a:endParaRPr>
                    </a:p>
                  </a:txBody>
                  <a:tcPr marL="121680" marR="121680">
                    <a:lnL w="12240">
                      <a:solidFill>
                        <a:srgbClr val="FFFFFF"/>
                      </a:solidFill>
                    </a:lnL>
                    <a:lnR w="12240">
                      <a:solidFill>
                        <a:srgbClr val="FFFFFF"/>
                      </a:solidFill>
                    </a:lnR>
                    <a:lnT w="12240">
                      <a:solidFill>
                        <a:srgbClr val="FFFFFF"/>
                      </a:solidFill>
                    </a:lnT>
                    <a:lnB w="12240" cap="flat" cmpd="sng" algn="ctr">
                      <a:solidFill>
                        <a:srgbClr val="FFFFFF"/>
                      </a:solidFill>
                      <a:prstDash val="solid"/>
                      <a:round/>
                      <a:headEnd type="none" w="med" len="med"/>
                      <a:tailEnd type="none" w="med" len="med"/>
                    </a:lnB>
                    <a:solidFill>
                      <a:srgbClr val="E8EBF4"/>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304247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4904BC0-9A57-4E8D-9980-0E8B51EAEF10}"/>
              </a:ext>
            </a:extLst>
          </p:cNvPr>
          <p:cNvSpPr>
            <a:spLocks noGrp="1"/>
          </p:cNvSpPr>
          <p:nvPr>
            <p:ph type="sldNum" sz="quarter" idx="10"/>
          </p:nvPr>
        </p:nvSpPr>
        <p:spPr/>
        <p:txBody>
          <a:bodyPr/>
          <a:lstStyle/>
          <a:p>
            <a:fld id="{F966D7FF-EADB-4E92-9989-4DE4533DAC48}" type="slidenum">
              <a:rPr lang="de-DE" smtClean="0"/>
              <a:pPr/>
              <a:t>4</a:t>
            </a:fld>
            <a:endParaRPr lang="de-DE" dirty="0"/>
          </a:p>
        </p:txBody>
      </p:sp>
      <p:sp>
        <p:nvSpPr>
          <p:cNvPr id="3" name="Inhaltsplatzhalter 2">
            <a:extLst>
              <a:ext uri="{FF2B5EF4-FFF2-40B4-BE49-F238E27FC236}">
                <a16:creationId xmlns:a16="http://schemas.microsoft.com/office/drawing/2014/main" id="{0B3F1A4F-1682-46E9-9F31-8AF7D19E02A3}"/>
              </a:ext>
            </a:extLst>
          </p:cNvPr>
          <p:cNvSpPr>
            <a:spLocks noGrp="1"/>
          </p:cNvSpPr>
          <p:nvPr>
            <p:ph idx="11"/>
          </p:nvPr>
        </p:nvSpPr>
        <p:spPr/>
        <p:txBody>
          <a:bodyPr/>
          <a:lstStyle/>
          <a:p>
            <a:r>
              <a:rPr lang="de-DE" sz="1200" dirty="0">
                <a:ea typeface="Verdana"/>
                <a:cs typeface="Arial"/>
              </a:rPr>
              <a:t>Aufbau des BVH Börsenführerscheins</a:t>
            </a:r>
            <a:endParaRPr lang="de-DE" sz="1200" dirty="0"/>
          </a:p>
        </p:txBody>
      </p:sp>
      <p:sp>
        <p:nvSpPr>
          <p:cNvPr id="5" name="Inhaltsplatzhalter 4">
            <a:extLst>
              <a:ext uri="{FF2B5EF4-FFF2-40B4-BE49-F238E27FC236}">
                <a16:creationId xmlns:a16="http://schemas.microsoft.com/office/drawing/2014/main" id="{7B060D8F-3B15-4974-ACD5-DF8A3941E761}"/>
              </a:ext>
            </a:extLst>
          </p:cNvPr>
          <p:cNvSpPr>
            <a:spLocks noGrp="1"/>
          </p:cNvSpPr>
          <p:nvPr>
            <p:ph idx="12"/>
          </p:nvPr>
        </p:nvSpPr>
        <p:spPr/>
        <p:txBody>
          <a:bodyPr/>
          <a:lstStyle/>
          <a:p>
            <a:r>
              <a:rPr lang="de-DE" dirty="0"/>
              <a:t>Die vier Module des BVH Börsenführerscheins geben einen tiefgehenden Einblick in die Welt der Kapitalmärkte</a:t>
            </a:r>
          </a:p>
        </p:txBody>
      </p:sp>
      <p:sp>
        <p:nvSpPr>
          <p:cNvPr id="6" name="Rectangle 12">
            <a:extLst>
              <a:ext uri="{FF2B5EF4-FFF2-40B4-BE49-F238E27FC236}">
                <a16:creationId xmlns:a16="http://schemas.microsoft.com/office/drawing/2014/main" id="{D5436557-EC38-4751-B1D0-8C4E26F43E5B}"/>
              </a:ext>
            </a:extLst>
          </p:cNvPr>
          <p:cNvSpPr>
            <a:spLocks noChangeArrowheads="1"/>
          </p:cNvSpPr>
          <p:nvPr/>
        </p:nvSpPr>
        <p:spPr bwMode="auto">
          <a:xfrm>
            <a:off x="798511" y="2779831"/>
            <a:ext cx="10314589" cy="675176"/>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72000" tIns="45719" rIns="91439" bIns="45719" anchor="ctr"/>
          <a:lstStyle/>
          <a:p>
            <a:pPr algn="ctr" eaLnBrk="1" fontAlgn="auto" hangingPunct="1">
              <a:spcAft>
                <a:spcPts val="417"/>
              </a:spcAft>
              <a:defRPr/>
            </a:pPr>
            <a:r>
              <a:rPr lang="de-DE" sz="2400" b="1" dirty="0">
                <a:solidFill>
                  <a:schemeClr val="bg1"/>
                </a:solidFill>
                <a:latin typeface="Century Gothic" pitchFamily="34" charset="0"/>
              </a:rPr>
              <a:t>II - Aktien, Renten und Fonds</a:t>
            </a:r>
            <a:endParaRPr lang="de-DE" sz="3200" b="1" dirty="0">
              <a:solidFill>
                <a:schemeClr val="bg1"/>
              </a:solidFill>
              <a:latin typeface="Century Gothic" pitchFamily="34" charset="0"/>
            </a:endParaRPr>
          </a:p>
        </p:txBody>
      </p:sp>
      <p:sp>
        <p:nvSpPr>
          <p:cNvPr id="7" name="Rechteck 6">
            <a:extLst>
              <a:ext uri="{FF2B5EF4-FFF2-40B4-BE49-F238E27FC236}">
                <a16:creationId xmlns:a16="http://schemas.microsoft.com/office/drawing/2014/main" id="{C8280054-9F02-4549-B32B-4014B87B46EF}"/>
              </a:ext>
            </a:extLst>
          </p:cNvPr>
          <p:cNvSpPr/>
          <p:nvPr/>
        </p:nvSpPr>
        <p:spPr>
          <a:xfrm>
            <a:off x="798502" y="3869662"/>
            <a:ext cx="10314589" cy="689724"/>
          </a:xfrm>
          <a:prstGeom prst="rect">
            <a:avLst/>
          </a:prstGeom>
          <a:noFill/>
          <a:ln w="444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8" name="Rectangle 12">
            <a:extLst>
              <a:ext uri="{FF2B5EF4-FFF2-40B4-BE49-F238E27FC236}">
                <a16:creationId xmlns:a16="http://schemas.microsoft.com/office/drawing/2014/main" id="{B56AAD23-3005-4328-9198-3DB564D3D580}"/>
              </a:ext>
            </a:extLst>
          </p:cNvPr>
          <p:cNvSpPr>
            <a:spLocks noChangeArrowheads="1"/>
          </p:cNvSpPr>
          <p:nvPr/>
        </p:nvSpPr>
        <p:spPr bwMode="auto">
          <a:xfrm>
            <a:off x="798502" y="3861566"/>
            <a:ext cx="10314589" cy="684001"/>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72000" tIns="45719" rIns="91439" bIns="45719" anchor="ctr"/>
          <a:lstStyle/>
          <a:p>
            <a:pPr algn="ctr" eaLnBrk="1" fontAlgn="auto" hangingPunct="1">
              <a:spcAft>
                <a:spcPts val="417"/>
              </a:spcAft>
              <a:defRPr/>
            </a:pPr>
            <a:r>
              <a:rPr lang="de-DE" sz="2400" b="1" dirty="0">
                <a:solidFill>
                  <a:schemeClr val="bg1"/>
                </a:solidFill>
                <a:latin typeface="Century Gothic" pitchFamily="34" charset="0"/>
              </a:rPr>
              <a:t>III - Optionen und Zertifikate</a:t>
            </a:r>
          </a:p>
        </p:txBody>
      </p:sp>
      <p:sp>
        <p:nvSpPr>
          <p:cNvPr id="9" name="Rechteck 8">
            <a:extLst>
              <a:ext uri="{FF2B5EF4-FFF2-40B4-BE49-F238E27FC236}">
                <a16:creationId xmlns:a16="http://schemas.microsoft.com/office/drawing/2014/main" id="{F93A4297-FF5F-41A8-A3F1-B066B1E06054}"/>
              </a:ext>
            </a:extLst>
          </p:cNvPr>
          <p:cNvSpPr/>
          <p:nvPr/>
        </p:nvSpPr>
        <p:spPr>
          <a:xfrm>
            <a:off x="798484" y="2788654"/>
            <a:ext cx="10314598" cy="675176"/>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0" name="Rectangle 12">
            <a:extLst>
              <a:ext uri="{FF2B5EF4-FFF2-40B4-BE49-F238E27FC236}">
                <a16:creationId xmlns:a16="http://schemas.microsoft.com/office/drawing/2014/main" id="{C91AD570-0EB4-4903-A4C6-679019812D79}"/>
              </a:ext>
            </a:extLst>
          </p:cNvPr>
          <p:cNvSpPr>
            <a:spLocks noChangeArrowheads="1"/>
          </p:cNvSpPr>
          <p:nvPr/>
        </p:nvSpPr>
        <p:spPr bwMode="auto">
          <a:xfrm>
            <a:off x="798493" y="4983804"/>
            <a:ext cx="10314589" cy="682661"/>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72000" tIns="45719" rIns="91439" bIns="45719" anchor="ctr"/>
          <a:lstStyle/>
          <a:p>
            <a:pPr algn="ctr" eaLnBrk="1" fontAlgn="auto" hangingPunct="1">
              <a:spcAft>
                <a:spcPts val="417"/>
              </a:spcAft>
              <a:defRPr/>
            </a:pPr>
            <a:r>
              <a:rPr lang="de-DE" sz="2400" b="1" dirty="0">
                <a:solidFill>
                  <a:schemeClr val="bg1"/>
                </a:solidFill>
                <a:latin typeface="Century Gothic" pitchFamily="34" charset="0"/>
              </a:rPr>
              <a:t>IV - Anlegerphilosophien und Börsenpsychologie</a:t>
            </a:r>
          </a:p>
        </p:txBody>
      </p:sp>
      <p:sp>
        <p:nvSpPr>
          <p:cNvPr id="11" name="Rechteck 10">
            <a:extLst>
              <a:ext uri="{FF2B5EF4-FFF2-40B4-BE49-F238E27FC236}">
                <a16:creationId xmlns:a16="http://schemas.microsoft.com/office/drawing/2014/main" id="{796360D3-266B-47E8-87A7-395BBD6DB9E4}"/>
              </a:ext>
            </a:extLst>
          </p:cNvPr>
          <p:cNvSpPr/>
          <p:nvPr/>
        </p:nvSpPr>
        <p:spPr>
          <a:xfrm>
            <a:off x="798502" y="4974981"/>
            <a:ext cx="10314580" cy="691484"/>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
        <p:nvSpPr>
          <p:cNvPr id="12" name="Rectangle 12">
            <a:extLst>
              <a:ext uri="{FF2B5EF4-FFF2-40B4-BE49-F238E27FC236}">
                <a16:creationId xmlns:a16="http://schemas.microsoft.com/office/drawing/2014/main" id="{7F4F143D-9852-44CE-9FAC-329D57CF511A}"/>
              </a:ext>
            </a:extLst>
          </p:cNvPr>
          <p:cNvSpPr>
            <a:spLocks noChangeArrowheads="1"/>
          </p:cNvSpPr>
          <p:nvPr/>
        </p:nvSpPr>
        <p:spPr bwMode="auto">
          <a:xfrm>
            <a:off x="798484" y="1699423"/>
            <a:ext cx="10314598" cy="673849"/>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72000" tIns="45719" rIns="91439" bIns="45719" anchor="ctr"/>
          <a:lstStyle/>
          <a:p>
            <a:pPr algn="ctr" eaLnBrk="1" fontAlgn="auto" hangingPunct="1">
              <a:spcAft>
                <a:spcPts val="417"/>
              </a:spcAft>
              <a:defRPr/>
            </a:pPr>
            <a:r>
              <a:rPr lang="de-DE" sz="2400" b="1" dirty="0">
                <a:solidFill>
                  <a:schemeClr val="bg1"/>
                </a:solidFill>
                <a:latin typeface="Century Gothic" pitchFamily="34" charset="0"/>
              </a:rPr>
              <a:t>I - Börse, Kapitalmarkt und Handel</a:t>
            </a:r>
            <a:endParaRPr lang="de-DE" sz="3200" b="1" dirty="0">
              <a:solidFill>
                <a:schemeClr val="bg1"/>
              </a:solidFill>
              <a:latin typeface="Century Gothic" pitchFamily="34" charset="0"/>
            </a:endParaRPr>
          </a:p>
        </p:txBody>
      </p:sp>
      <p:sp>
        <p:nvSpPr>
          <p:cNvPr id="13" name="Rechteck 12">
            <a:extLst>
              <a:ext uri="{FF2B5EF4-FFF2-40B4-BE49-F238E27FC236}">
                <a16:creationId xmlns:a16="http://schemas.microsoft.com/office/drawing/2014/main" id="{C854C6B3-C959-44C2-AD7F-327C55832A55}"/>
              </a:ext>
            </a:extLst>
          </p:cNvPr>
          <p:cNvSpPr/>
          <p:nvPr/>
        </p:nvSpPr>
        <p:spPr>
          <a:xfrm>
            <a:off x="798511" y="1699424"/>
            <a:ext cx="10314589" cy="675176"/>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Tree>
    <p:extLst>
      <p:ext uri="{BB962C8B-B14F-4D97-AF65-F5344CB8AC3E}">
        <p14:creationId xmlns:p14="http://schemas.microsoft.com/office/powerpoint/2010/main" val="1765656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P spid="13"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DD766992-05F8-4615-9E37-0C4EC1ABDA80}"/>
              </a:ext>
            </a:extLst>
          </p:cNvPr>
          <p:cNvSpPr>
            <a:spLocks noGrp="1"/>
          </p:cNvSpPr>
          <p:nvPr>
            <p:ph type="sldNum" sz="quarter" idx="10"/>
          </p:nvPr>
        </p:nvSpPr>
        <p:spPr/>
        <p:txBody>
          <a:bodyPr/>
          <a:lstStyle/>
          <a:p>
            <a:fld id="{F966D7FF-EADB-4E92-9989-4DE4533DAC48}" type="slidenum">
              <a:rPr lang="de-DE" smtClean="0"/>
              <a:pPr/>
              <a:t>40</a:t>
            </a:fld>
            <a:endParaRPr lang="de-DE" dirty="0"/>
          </a:p>
        </p:txBody>
      </p:sp>
      <p:sp>
        <p:nvSpPr>
          <p:cNvPr id="3" name="Inhaltsplatzhalter 2">
            <a:extLst>
              <a:ext uri="{FF2B5EF4-FFF2-40B4-BE49-F238E27FC236}">
                <a16:creationId xmlns:a16="http://schemas.microsoft.com/office/drawing/2014/main" id="{D673A030-6635-43DA-A7B9-FD3C4F2F4852}"/>
              </a:ext>
            </a:extLst>
          </p:cNvPr>
          <p:cNvSpPr>
            <a:spLocks noGrp="1"/>
          </p:cNvSpPr>
          <p:nvPr>
            <p:ph idx="11"/>
          </p:nvPr>
        </p:nvSpPr>
        <p:spPr/>
        <p:txBody>
          <a:bodyPr/>
          <a:lstStyle/>
          <a:p>
            <a:r>
              <a:rPr lang="de-DE" sz="1200" dirty="0">
                <a:ea typeface="Verdana"/>
                <a:cs typeface="Arial"/>
              </a:rPr>
              <a:t>Wichtige Abgrenzung</a:t>
            </a:r>
            <a:endParaRPr lang="de-DE" sz="1200" dirty="0"/>
          </a:p>
        </p:txBody>
      </p:sp>
      <p:sp>
        <p:nvSpPr>
          <p:cNvPr id="5" name="Inhaltsplatzhalter 4">
            <a:extLst>
              <a:ext uri="{FF2B5EF4-FFF2-40B4-BE49-F238E27FC236}">
                <a16:creationId xmlns:a16="http://schemas.microsoft.com/office/drawing/2014/main" id="{4B83F0EE-A0FE-44CD-AF1A-CB838A6A368A}"/>
              </a:ext>
            </a:extLst>
          </p:cNvPr>
          <p:cNvSpPr>
            <a:spLocks noGrp="1"/>
          </p:cNvSpPr>
          <p:nvPr>
            <p:ph idx="12"/>
          </p:nvPr>
        </p:nvSpPr>
        <p:spPr/>
        <p:txBody>
          <a:bodyPr/>
          <a:lstStyle/>
          <a:p>
            <a:r>
              <a:rPr lang="de-DE" dirty="0"/>
              <a:t>Optionsscheine und binäre Optionen sind keine „echten“ Optionen im klassischen Sinne</a:t>
            </a:r>
          </a:p>
        </p:txBody>
      </p:sp>
      <p:sp>
        <p:nvSpPr>
          <p:cNvPr id="7" name="CustomShape 2">
            <a:extLst>
              <a:ext uri="{FF2B5EF4-FFF2-40B4-BE49-F238E27FC236}">
                <a16:creationId xmlns:a16="http://schemas.microsoft.com/office/drawing/2014/main" id="{317C5415-0C80-4104-B9E3-8C4D0203E9B0}"/>
              </a:ext>
            </a:extLst>
          </p:cNvPr>
          <p:cNvSpPr/>
          <p:nvPr/>
        </p:nvSpPr>
        <p:spPr>
          <a:xfrm>
            <a:off x="-64440" y="1414080"/>
            <a:ext cx="3936240" cy="2903957"/>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b="1" strike="noStrike" spc="-1">
                <a:latin typeface="Arial" panose="020B0604020202020204" pitchFamily="34" charset="0"/>
                <a:cs typeface="Arial" panose="020B0604020202020204" pitchFamily="34" charset="0"/>
              </a:rPr>
              <a:t>Binäre Optionen</a:t>
            </a: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Cash-or-Nothing Prinzip </a:t>
            </a: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Hoch riskant</a:t>
            </a: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Keine Geldanlage </a:t>
            </a: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Wette auf den Eintritt eines </a:t>
            </a:r>
            <a:br>
              <a:rPr sz="1600">
                <a:latin typeface="Arial" panose="020B0604020202020204" pitchFamily="34" charset="0"/>
                <a:cs typeface="Arial" panose="020B0604020202020204" pitchFamily="34" charset="0"/>
              </a:rPr>
            </a:br>
            <a:r>
              <a:rPr lang="de-DE" b="0" strike="noStrike" spc="-1">
                <a:latin typeface="Arial" panose="020B0604020202020204" pitchFamily="34" charset="0"/>
                <a:cs typeface="Arial" panose="020B0604020202020204" pitchFamily="34" charset="0"/>
              </a:rPr>
              <a:t>bestimmten Ereignisses</a:t>
            </a:r>
          </a:p>
          <a:p>
            <a:pPr marL="457200">
              <a:lnSpc>
                <a:spcPct val="100000"/>
              </a:lnSpc>
            </a:pP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p:txBody>
      </p:sp>
      <p:sp>
        <p:nvSpPr>
          <p:cNvPr id="9" name="CustomShape 3">
            <a:extLst>
              <a:ext uri="{FF2B5EF4-FFF2-40B4-BE49-F238E27FC236}">
                <a16:creationId xmlns:a16="http://schemas.microsoft.com/office/drawing/2014/main" id="{1BB51E77-CF32-4B8A-9785-A06D85A64957}"/>
              </a:ext>
            </a:extLst>
          </p:cNvPr>
          <p:cNvSpPr/>
          <p:nvPr/>
        </p:nvSpPr>
        <p:spPr>
          <a:xfrm>
            <a:off x="3896280" y="3802320"/>
            <a:ext cx="4369320" cy="2583869"/>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b="1" strike="noStrike" spc="-1">
                <a:latin typeface="Arial" panose="020B0604020202020204" pitchFamily="34" charset="0"/>
                <a:cs typeface="Arial" panose="020B0604020202020204" pitchFamily="34" charset="0"/>
              </a:rPr>
              <a:t>Optionsschein</a:t>
            </a: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Emittent: Bank frei in der Gestaltung (verbrieftes Derivat)</a:t>
            </a: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Nur Long Position möglich</a:t>
            </a:r>
          </a:p>
          <a:p>
            <a:pPr marL="990720" lvl="1" indent="-380520">
              <a:lnSpc>
                <a:spcPct val="100000"/>
              </a:lnSpc>
              <a:buClr>
                <a:srgbClr val="808080"/>
              </a:buClr>
              <a:buFont typeface="Arial"/>
              <a:buChar char="•"/>
            </a:pPr>
            <a:r>
              <a:rPr lang="de-DE" b="0" strike="noStrike" spc="-1">
                <a:latin typeface="Arial" panose="020B0604020202020204" pitchFamily="34" charset="0"/>
                <a:cs typeface="Arial" panose="020B0604020202020204" pitchFamily="34" charset="0"/>
              </a:rPr>
              <a:t>Kein Sondervermögen</a:t>
            </a:r>
          </a:p>
          <a:p>
            <a:pPr marL="457200">
              <a:lnSpc>
                <a:spcPct val="100000"/>
              </a:lnSpc>
            </a:pP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a:p>
            <a:pPr>
              <a:lnSpc>
                <a:spcPct val="100000"/>
              </a:lnSpc>
            </a:pPr>
            <a:endParaRPr lang="de-DE" b="0" strike="noStrike" spc="-1">
              <a:latin typeface="Arial" panose="020B0604020202020204" pitchFamily="34" charset="0"/>
              <a:cs typeface="Arial" panose="020B0604020202020204" pitchFamily="34" charset="0"/>
            </a:endParaRPr>
          </a:p>
        </p:txBody>
      </p:sp>
      <p:sp>
        <p:nvSpPr>
          <p:cNvPr id="11" name="CustomShape 4">
            <a:extLst>
              <a:ext uri="{FF2B5EF4-FFF2-40B4-BE49-F238E27FC236}">
                <a16:creationId xmlns:a16="http://schemas.microsoft.com/office/drawing/2014/main" id="{4CE62463-3781-4CE9-A0C9-A8EFA7CAFD41}"/>
              </a:ext>
            </a:extLst>
          </p:cNvPr>
          <p:cNvSpPr/>
          <p:nvPr/>
        </p:nvSpPr>
        <p:spPr>
          <a:xfrm>
            <a:off x="8056440" y="1415880"/>
            <a:ext cx="3936240" cy="354413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b="1" strike="noStrike" spc="-1" dirty="0">
                <a:latin typeface="Arial" panose="020B0604020202020204" pitchFamily="34" charset="0"/>
                <a:cs typeface="Arial" panose="020B0604020202020204" pitchFamily="34" charset="0"/>
              </a:rPr>
              <a:t>Option</a:t>
            </a:r>
            <a:endParaRPr lang="de-DE" b="0" strike="noStrike" spc="-1" dirty="0">
              <a:latin typeface="Arial" panose="020B0604020202020204" pitchFamily="34" charset="0"/>
              <a:cs typeface="Arial" panose="020B0604020202020204" pitchFamily="34" charset="0"/>
            </a:endParaRPr>
          </a:p>
          <a:p>
            <a:pPr>
              <a:lnSpc>
                <a:spcPct val="100000"/>
              </a:lnSpc>
            </a:pPr>
            <a:endParaRPr lang="de-DE" b="0" strike="noStrike" spc="-1" dirty="0">
              <a:latin typeface="Arial" panose="020B0604020202020204" pitchFamily="34" charset="0"/>
              <a:cs typeface="Arial" panose="020B0604020202020204" pitchFamily="34" charset="0"/>
            </a:endParaRPr>
          </a:p>
          <a:p>
            <a:pPr marL="990720" lvl="1" indent="-380520">
              <a:lnSpc>
                <a:spcPct val="100000"/>
              </a:lnSpc>
              <a:buClr>
                <a:srgbClr val="808080"/>
              </a:buClr>
              <a:buFont typeface="Arial"/>
              <a:buChar char="•"/>
            </a:pPr>
            <a:r>
              <a:rPr lang="de-DE" b="0" strike="noStrike" spc="-1" dirty="0">
                <a:latin typeface="Arial" panose="020B0604020202020204" pitchFamily="34" charset="0"/>
                <a:cs typeface="Arial" panose="020B0604020202020204" pitchFamily="34" charset="0"/>
              </a:rPr>
              <a:t>Preis bestimmt sich durch Angebot und Nachfrage</a:t>
            </a:r>
          </a:p>
          <a:p>
            <a:pPr marL="990720" lvl="1" indent="-380520">
              <a:lnSpc>
                <a:spcPct val="100000"/>
              </a:lnSpc>
              <a:buClr>
                <a:srgbClr val="808080"/>
              </a:buClr>
              <a:buFont typeface="Arial"/>
              <a:buChar char="•"/>
            </a:pPr>
            <a:r>
              <a:rPr lang="de-DE" b="0" strike="noStrike" spc="-1" dirty="0">
                <a:latin typeface="Arial" panose="020B0604020202020204" pitchFamily="34" charset="0"/>
                <a:cs typeface="Arial" panose="020B0604020202020204" pitchFamily="34" charset="0"/>
              </a:rPr>
              <a:t>Kann frei an der Börse gehandelt werden</a:t>
            </a:r>
          </a:p>
          <a:p>
            <a:pPr marL="990720" lvl="1" indent="-380520">
              <a:lnSpc>
                <a:spcPct val="100000"/>
              </a:lnSpc>
              <a:buClr>
                <a:srgbClr val="808080"/>
              </a:buClr>
              <a:buFont typeface="Arial"/>
              <a:buChar char="•"/>
            </a:pPr>
            <a:r>
              <a:rPr lang="de-DE" b="0" strike="noStrike" spc="-1" dirty="0">
                <a:latin typeface="Arial" panose="020B0604020202020204" pitchFamily="34" charset="0"/>
                <a:cs typeface="Arial" panose="020B0604020202020204" pitchFamily="34" charset="0"/>
              </a:rPr>
              <a:t>Standardisiert</a:t>
            </a:r>
          </a:p>
          <a:p>
            <a:pPr marL="990720" lvl="1" indent="-380520">
              <a:lnSpc>
                <a:spcPct val="100000"/>
              </a:lnSpc>
              <a:buClr>
                <a:srgbClr val="808080"/>
              </a:buClr>
              <a:buFont typeface="Arial"/>
              <a:buChar char="•"/>
            </a:pPr>
            <a:r>
              <a:rPr lang="de-DE" b="0" strike="noStrike" spc="-1" dirty="0">
                <a:latin typeface="Arial" panose="020B0604020202020204" pitchFamily="34" charset="0"/>
                <a:cs typeface="Arial" panose="020B0604020202020204" pitchFamily="34" charset="0"/>
              </a:rPr>
              <a:t>Kein Emittenten Risiko</a:t>
            </a:r>
          </a:p>
          <a:p>
            <a:pPr>
              <a:lnSpc>
                <a:spcPct val="100000"/>
              </a:lnSpc>
            </a:pPr>
            <a:endParaRPr lang="de-DE" b="0" strike="noStrike" spc="-1" dirty="0">
              <a:latin typeface="Arial" panose="020B0604020202020204" pitchFamily="34" charset="0"/>
              <a:cs typeface="Arial" panose="020B0604020202020204" pitchFamily="34" charset="0"/>
            </a:endParaRPr>
          </a:p>
          <a:p>
            <a:pPr marL="457200">
              <a:lnSpc>
                <a:spcPct val="100000"/>
              </a:lnSpc>
            </a:pPr>
            <a:endParaRPr lang="de-DE" b="0" strike="noStrike" spc="-1" dirty="0">
              <a:latin typeface="Arial" panose="020B0604020202020204" pitchFamily="34" charset="0"/>
              <a:cs typeface="Arial" panose="020B0604020202020204" pitchFamily="34" charset="0"/>
            </a:endParaRPr>
          </a:p>
          <a:p>
            <a:pPr>
              <a:lnSpc>
                <a:spcPct val="100000"/>
              </a:lnSpc>
            </a:pPr>
            <a:endParaRPr lang="de-DE" b="0" strike="noStrike" spc="-1" dirty="0">
              <a:latin typeface="Arial" panose="020B0604020202020204" pitchFamily="34" charset="0"/>
              <a:cs typeface="Arial" panose="020B0604020202020204" pitchFamily="34" charset="0"/>
            </a:endParaRPr>
          </a:p>
          <a:p>
            <a:pPr>
              <a:lnSpc>
                <a:spcPct val="100000"/>
              </a:lnSpc>
            </a:pPr>
            <a:endParaRPr lang="de-DE" b="0" strike="noStrike" spc="-1" dirty="0">
              <a:latin typeface="Arial" panose="020B0604020202020204" pitchFamily="34" charset="0"/>
              <a:cs typeface="Arial" panose="020B0604020202020204" pitchFamily="34" charset="0"/>
            </a:endParaRPr>
          </a:p>
        </p:txBody>
      </p:sp>
      <p:sp>
        <p:nvSpPr>
          <p:cNvPr id="13" name="Line 5">
            <a:extLst>
              <a:ext uri="{FF2B5EF4-FFF2-40B4-BE49-F238E27FC236}">
                <a16:creationId xmlns:a16="http://schemas.microsoft.com/office/drawing/2014/main" id="{E22E2384-7D61-4693-9C0E-DAFFF1A82D84}"/>
              </a:ext>
            </a:extLst>
          </p:cNvPr>
          <p:cNvSpPr/>
          <p:nvPr/>
        </p:nvSpPr>
        <p:spPr>
          <a:xfrm>
            <a:off x="6110640" y="2920320"/>
            <a:ext cx="4379400" cy="236808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15" name="Line 6">
            <a:extLst>
              <a:ext uri="{FF2B5EF4-FFF2-40B4-BE49-F238E27FC236}">
                <a16:creationId xmlns:a16="http://schemas.microsoft.com/office/drawing/2014/main" id="{C57E06B2-D516-4711-9D78-8AE19B9A97CA}"/>
              </a:ext>
            </a:extLst>
          </p:cNvPr>
          <p:cNvSpPr/>
          <p:nvPr/>
        </p:nvSpPr>
        <p:spPr>
          <a:xfrm>
            <a:off x="6095880" y="1412640"/>
            <a:ext cx="360" cy="150768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
        <p:nvSpPr>
          <p:cNvPr id="17" name="Line 7">
            <a:extLst>
              <a:ext uri="{FF2B5EF4-FFF2-40B4-BE49-F238E27FC236}">
                <a16:creationId xmlns:a16="http://schemas.microsoft.com/office/drawing/2014/main" id="{1FF46140-6DA0-4AE9-802F-3EA1743786B7}"/>
              </a:ext>
            </a:extLst>
          </p:cNvPr>
          <p:cNvSpPr/>
          <p:nvPr/>
        </p:nvSpPr>
        <p:spPr>
          <a:xfrm flipV="1">
            <a:off x="1706400" y="2920320"/>
            <a:ext cx="4379400" cy="2368080"/>
          </a:xfrm>
          <a:prstGeom prst="line">
            <a:avLst/>
          </a:prstGeom>
          <a:ln/>
        </p:spPr>
        <p:style>
          <a:lnRef idx="1">
            <a:schemeClr val="accent1"/>
          </a:lnRef>
          <a:fillRef idx="0">
            <a:schemeClr val="accent1"/>
          </a:fillRef>
          <a:effectRef idx="0">
            <a:schemeClr val="accent1"/>
          </a:effectRef>
          <a:fontRef idx="minor"/>
        </p:style>
        <p:txBody>
          <a:bodyPr/>
          <a:lstStyle/>
          <a:p>
            <a:endParaRPr lang="de-DE"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51040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FE29388-B4E9-42C6-98CC-3CC03A9351DF}"/>
              </a:ext>
            </a:extLst>
          </p:cNvPr>
          <p:cNvSpPr>
            <a:spLocks noGrp="1"/>
          </p:cNvSpPr>
          <p:nvPr>
            <p:ph type="sldNum" sz="quarter" idx="10"/>
          </p:nvPr>
        </p:nvSpPr>
        <p:spPr/>
        <p:txBody>
          <a:bodyPr/>
          <a:lstStyle/>
          <a:p>
            <a:fld id="{F966D7FF-EADB-4E92-9989-4DE4533DAC48}" type="slidenum">
              <a:rPr lang="de-DE" smtClean="0"/>
              <a:pPr/>
              <a:t>41</a:t>
            </a:fld>
            <a:endParaRPr lang="de-DE" dirty="0"/>
          </a:p>
        </p:txBody>
      </p:sp>
      <p:sp>
        <p:nvSpPr>
          <p:cNvPr id="3" name="Inhaltsplatzhalter 2">
            <a:extLst>
              <a:ext uri="{FF2B5EF4-FFF2-40B4-BE49-F238E27FC236}">
                <a16:creationId xmlns:a16="http://schemas.microsoft.com/office/drawing/2014/main" id="{6B8BB524-1F9A-4AEF-8D6D-950983068A8E}"/>
              </a:ext>
            </a:extLst>
          </p:cNvPr>
          <p:cNvSpPr>
            <a:spLocks noGrp="1"/>
          </p:cNvSpPr>
          <p:nvPr>
            <p:ph idx="11"/>
          </p:nvPr>
        </p:nvSpPr>
        <p:spPr/>
        <p:txBody>
          <a:bodyPr/>
          <a:lstStyle/>
          <a:p>
            <a:r>
              <a:rPr lang="de-DE" dirty="0"/>
              <a:t>Fragen zum Teilbereich Optionen</a:t>
            </a:r>
          </a:p>
        </p:txBody>
      </p:sp>
      <p:sp>
        <p:nvSpPr>
          <p:cNvPr id="4" name="Inhaltsplatzhalter 3">
            <a:extLst>
              <a:ext uri="{FF2B5EF4-FFF2-40B4-BE49-F238E27FC236}">
                <a16:creationId xmlns:a16="http://schemas.microsoft.com/office/drawing/2014/main" id="{CE41E480-CBE9-4BAF-9E8A-49655FA6C7AA}"/>
              </a:ext>
            </a:extLst>
          </p:cNvPr>
          <p:cNvSpPr>
            <a:spLocks noGrp="1"/>
          </p:cNvSpPr>
          <p:nvPr>
            <p:ph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kumimoji="0" lang="de-DE" sz="2000" b="1"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ine Put-Option verbrieft</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in Kaufrecht auf einen Basiswert</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in Verkaufsrecht auf einen Basiswert</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in Kaufrecht auf einen Basispreis</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in Verkaufsrecht auf einen Basispreis</a:t>
            </a:r>
          </a:p>
          <a:p>
            <a:pPr marR="0" lvl="0" algn="l" defTabSz="914400" rtl="0" eaLnBrk="1" fontAlgn="auto" latinLnBrk="0" hangingPunct="1">
              <a:lnSpc>
                <a:spcPct val="100000"/>
              </a:lnSpc>
              <a:spcBef>
                <a:spcPts val="0"/>
              </a:spcBef>
              <a:spcAft>
                <a:spcPts val="0"/>
              </a:spcAft>
              <a:buClrTx/>
              <a:buSzTx/>
              <a:tabLst/>
              <a:defRPr/>
            </a:pPr>
            <a:endParaRPr kumimoji="0" lang="de-DE" sz="2000" b="1"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kumimoji="0" lang="de-DE" sz="2000" b="1"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tiert der Kassakurs eines Basiswerts über dem Basispreis, so befindet sich eine Call-Option</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us dem Geld</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m Geld</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m Geld</a:t>
            </a:r>
          </a:p>
          <a:p>
            <a:pPr marR="0" lvl="0" algn="l" defTabSz="914400" rtl="0" eaLnBrk="1" fontAlgn="auto" latinLnBrk="0" hangingPunct="1">
              <a:lnSpc>
                <a:spcPct val="100000"/>
              </a:lnSpc>
              <a:spcBef>
                <a:spcPts val="0"/>
              </a:spcBef>
              <a:spcAft>
                <a:spcPts val="0"/>
              </a:spcAft>
              <a:buClrTx/>
              <a:buSzTx/>
              <a:tabLst/>
              <a:defRPr/>
            </a:pPr>
            <a:r>
              <a:rPr kumimoji="0" lang="de-DE" sz="2000" b="0" i="0" u="none" strike="noStrike" kern="1200" cap="none" spc="-1"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bseits vom Geld</a:t>
            </a:r>
          </a:p>
        </p:txBody>
      </p:sp>
      <p:sp>
        <p:nvSpPr>
          <p:cNvPr id="5" name="Inhaltsplatzhalter 4">
            <a:extLst>
              <a:ext uri="{FF2B5EF4-FFF2-40B4-BE49-F238E27FC236}">
                <a16:creationId xmlns:a16="http://schemas.microsoft.com/office/drawing/2014/main" id="{2D4D168B-FCA6-4F95-8794-AC048CF9DC02}"/>
              </a:ext>
            </a:extLst>
          </p:cNvPr>
          <p:cNvSpPr>
            <a:spLocks noGrp="1"/>
          </p:cNvSpPr>
          <p:nvPr>
            <p:ph idx="12"/>
          </p:nvPr>
        </p:nvSpPr>
        <p:spPr/>
        <p:txBody>
          <a:bodyPr/>
          <a:lstStyle/>
          <a:p>
            <a:r>
              <a:rPr lang="de-DE" dirty="0"/>
              <a:t>Ein paar Testfragen zur Vorbereitung auf die Prüfung</a:t>
            </a:r>
          </a:p>
        </p:txBody>
      </p:sp>
    </p:spTree>
    <p:extLst>
      <p:ext uri="{BB962C8B-B14F-4D97-AF65-F5344CB8AC3E}">
        <p14:creationId xmlns:p14="http://schemas.microsoft.com/office/powerpoint/2010/main" val="1007357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a:extLst>
              <a:ext uri="{FF2B5EF4-FFF2-40B4-BE49-F238E27FC236}">
                <a16:creationId xmlns:a16="http://schemas.microsoft.com/office/drawing/2014/main" id="{D8DE1245-0547-481C-B02B-A35BC3D462F7}"/>
              </a:ext>
            </a:extLst>
          </p:cNvPr>
          <p:cNvSpPr>
            <a:spLocks noChangeArrowheads="1"/>
          </p:cNvSpPr>
          <p:nvPr/>
        </p:nvSpPr>
        <p:spPr bwMode="auto">
          <a:xfrm>
            <a:off x="299864" y="3029168"/>
            <a:ext cx="3384001" cy="5739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Optionen</a:t>
            </a:r>
          </a:p>
        </p:txBody>
      </p:sp>
      <p:sp>
        <p:nvSpPr>
          <p:cNvPr id="5" name="Rechteck 4">
            <a:extLst>
              <a:ext uri="{FF2B5EF4-FFF2-40B4-BE49-F238E27FC236}">
                <a16:creationId xmlns:a16="http://schemas.microsoft.com/office/drawing/2014/main" id="{15C9A07B-94EB-4F12-ACDA-1C08F950AF6B}"/>
              </a:ext>
            </a:extLst>
          </p:cNvPr>
          <p:cNvSpPr/>
          <p:nvPr/>
        </p:nvSpPr>
        <p:spPr>
          <a:xfrm>
            <a:off x="299864" y="1752818"/>
            <a:ext cx="3384001" cy="573917"/>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6" name="Rechteck 5">
            <a:extLst>
              <a:ext uri="{FF2B5EF4-FFF2-40B4-BE49-F238E27FC236}">
                <a16:creationId xmlns:a16="http://schemas.microsoft.com/office/drawing/2014/main" id="{5DC778D2-6FDE-4F56-8428-89167E2CE9B1}"/>
              </a:ext>
            </a:extLst>
          </p:cNvPr>
          <p:cNvSpPr/>
          <p:nvPr/>
        </p:nvSpPr>
        <p:spPr>
          <a:xfrm>
            <a:off x="299864" y="4278001"/>
            <a:ext cx="3384001" cy="573918"/>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7" name="Rectangle 12">
            <a:extLst>
              <a:ext uri="{FF2B5EF4-FFF2-40B4-BE49-F238E27FC236}">
                <a16:creationId xmlns:a16="http://schemas.microsoft.com/office/drawing/2014/main" id="{C6F8892F-4113-4E3C-86E3-7D4342F37326}"/>
              </a:ext>
            </a:extLst>
          </p:cNvPr>
          <p:cNvSpPr>
            <a:spLocks noChangeArrowheads="1"/>
          </p:cNvSpPr>
          <p:nvPr/>
        </p:nvSpPr>
        <p:spPr bwMode="auto">
          <a:xfrm>
            <a:off x="299864" y="1752817"/>
            <a:ext cx="3384001" cy="586617"/>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Futures</a:t>
            </a:r>
          </a:p>
        </p:txBody>
      </p:sp>
      <p:sp>
        <p:nvSpPr>
          <p:cNvPr id="8" name="Rectangle 12">
            <a:extLst>
              <a:ext uri="{FF2B5EF4-FFF2-40B4-BE49-F238E27FC236}">
                <a16:creationId xmlns:a16="http://schemas.microsoft.com/office/drawing/2014/main" id="{6DE87A68-80C4-477D-A028-2FB81E1D08A5}"/>
              </a:ext>
            </a:extLst>
          </p:cNvPr>
          <p:cNvSpPr>
            <a:spLocks noChangeArrowheads="1"/>
          </p:cNvSpPr>
          <p:nvPr/>
        </p:nvSpPr>
        <p:spPr bwMode="auto">
          <a:xfrm>
            <a:off x="299864" y="4278001"/>
            <a:ext cx="3384001" cy="5866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Zertifikate</a:t>
            </a:r>
          </a:p>
        </p:txBody>
      </p:sp>
      <p:sp>
        <p:nvSpPr>
          <p:cNvPr id="9" name="Rechteck 8">
            <a:extLst>
              <a:ext uri="{FF2B5EF4-FFF2-40B4-BE49-F238E27FC236}">
                <a16:creationId xmlns:a16="http://schemas.microsoft.com/office/drawing/2014/main" id="{303E7D32-8E99-40A3-8BC2-CB297BA209D5}"/>
              </a:ext>
            </a:extLst>
          </p:cNvPr>
          <p:cNvSpPr/>
          <p:nvPr/>
        </p:nvSpPr>
        <p:spPr>
          <a:xfrm>
            <a:off x="299864" y="4282637"/>
            <a:ext cx="3384001" cy="573919"/>
          </a:xfrm>
          <a:prstGeom prst="rect">
            <a:avLst/>
          </a:prstGeom>
          <a:noFill/>
          <a:ln w="44450">
            <a:solidFill>
              <a:srgbClr val="F5F6F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Tree>
    <p:extLst>
      <p:ext uri="{BB962C8B-B14F-4D97-AF65-F5344CB8AC3E}">
        <p14:creationId xmlns:p14="http://schemas.microsoft.com/office/powerpoint/2010/main" val="307684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CB881A7-67D8-49AE-88FC-7736FD27F7AB}"/>
              </a:ext>
            </a:extLst>
          </p:cNvPr>
          <p:cNvSpPr>
            <a:spLocks noGrp="1"/>
          </p:cNvSpPr>
          <p:nvPr>
            <p:ph type="sldNum" sz="quarter" idx="10"/>
          </p:nvPr>
        </p:nvSpPr>
        <p:spPr/>
        <p:txBody>
          <a:bodyPr/>
          <a:lstStyle/>
          <a:p>
            <a:fld id="{F966D7FF-EADB-4E92-9989-4DE4533DAC48}" type="slidenum">
              <a:rPr lang="de-DE" smtClean="0"/>
              <a:pPr/>
              <a:t>43</a:t>
            </a:fld>
            <a:endParaRPr lang="de-DE" dirty="0"/>
          </a:p>
        </p:txBody>
      </p:sp>
      <p:sp>
        <p:nvSpPr>
          <p:cNvPr id="7" name="CustomShape 1">
            <a:extLst>
              <a:ext uri="{FF2B5EF4-FFF2-40B4-BE49-F238E27FC236}">
                <a16:creationId xmlns:a16="http://schemas.microsoft.com/office/drawing/2014/main" id="{5ED82669-B29C-4A8D-B51C-EA23FE2DE80B}"/>
              </a:ext>
            </a:extLst>
          </p:cNvPr>
          <p:cNvSpPr/>
          <p:nvPr/>
        </p:nvSpPr>
        <p:spPr>
          <a:xfrm>
            <a:off x="1636200" y="2730600"/>
            <a:ext cx="9067320" cy="139680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5870" b="1" strike="noStrike" spc="-1">
                <a:solidFill>
                  <a:srgbClr val="FFFFFF"/>
                </a:solidFill>
                <a:latin typeface="Century Gothic"/>
              </a:rPr>
              <a:t>Was sind Zertifikate?</a:t>
            </a:r>
            <a:endParaRPr lang="de-DE" sz="5870" b="0" strike="noStrike" spc="-1">
              <a:latin typeface="Arial"/>
            </a:endParaRPr>
          </a:p>
        </p:txBody>
      </p:sp>
    </p:spTree>
    <p:extLst>
      <p:ext uri="{BB962C8B-B14F-4D97-AF65-F5344CB8AC3E}">
        <p14:creationId xmlns:p14="http://schemas.microsoft.com/office/powerpoint/2010/main" val="9444226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0D012A6-09DC-4EF4-9385-D51A757614A3}"/>
              </a:ext>
            </a:extLst>
          </p:cNvPr>
          <p:cNvSpPr>
            <a:spLocks noGrp="1"/>
          </p:cNvSpPr>
          <p:nvPr>
            <p:ph type="sldNum" sz="quarter" idx="10"/>
          </p:nvPr>
        </p:nvSpPr>
        <p:spPr/>
        <p:txBody>
          <a:bodyPr/>
          <a:lstStyle/>
          <a:p>
            <a:fld id="{F966D7FF-EADB-4E92-9989-4DE4533DAC48}" type="slidenum">
              <a:rPr lang="de-DE" smtClean="0"/>
              <a:pPr/>
              <a:t>44</a:t>
            </a:fld>
            <a:endParaRPr lang="de-DE" dirty="0"/>
          </a:p>
        </p:txBody>
      </p:sp>
      <p:sp>
        <p:nvSpPr>
          <p:cNvPr id="3" name="Inhaltsplatzhalter 2">
            <a:extLst>
              <a:ext uri="{FF2B5EF4-FFF2-40B4-BE49-F238E27FC236}">
                <a16:creationId xmlns:a16="http://schemas.microsoft.com/office/drawing/2014/main" id="{0307ED34-CEEC-4FBF-AB6F-85F006E9C24A}"/>
              </a:ext>
            </a:extLst>
          </p:cNvPr>
          <p:cNvSpPr>
            <a:spLocks noGrp="1"/>
          </p:cNvSpPr>
          <p:nvPr>
            <p:ph idx="11"/>
          </p:nvPr>
        </p:nvSpPr>
        <p:spPr/>
        <p:txBody>
          <a:bodyPr/>
          <a:lstStyle/>
          <a:p>
            <a:r>
              <a:rPr lang="de-DE" sz="1200" dirty="0">
                <a:ea typeface="Verdana"/>
                <a:cs typeface="Arial"/>
              </a:rPr>
              <a:t>Was sind Zertifikate?</a:t>
            </a:r>
            <a:endParaRPr lang="de-DE" sz="1200" dirty="0"/>
          </a:p>
        </p:txBody>
      </p:sp>
      <p:sp>
        <p:nvSpPr>
          <p:cNvPr id="5" name="Inhaltsplatzhalter 4">
            <a:extLst>
              <a:ext uri="{FF2B5EF4-FFF2-40B4-BE49-F238E27FC236}">
                <a16:creationId xmlns:a16="http://schemas.microsoft.com/office/drawing/2014/main" id="{3C4BA00E-9AD3-40EE-94B7-47FF8C571228}"/>
              </a:ext>
            </a:extLst>
          </p:cNvPr>
          <p:cNvSpPr>
            <a:spLocks noGrp="1"/>
          </p:cNvSpPr>
          <p:nvPr>
            <p:ph idx="12"/>
          </p:nvPr>
        </p:nvSpPr>
        <p:spPr/>
        <p:txBody>
          <a:bodyPr/>
          <a:lstStyle/>
          <a:p>
            <a:r>
              <a:rPr lang="de-DE" dirty="0"/>
              <a:t>Zertifikate sind Retail Produkte für Privatkunden und können teilweise sehr komplexe Strategien abbilden</a:t>
            </a:r>
          </a:p>
        </p:txBody>
      </p:sp>
      <p:grpSp>
        <p:nvGrpSpPr>
          <p:cNvPr id="20" name="Gruppieren 19">
            <a:extLst>
              <a:ext uri="{FF2B5EF4-FFF2-40B4-BE49-F238E27FC236}">
                <a16:creationId xmlns:a16="http://schemas.microsoft.com/office/drawing/2014/main" id="{9D056A1A-470D-4262-A56B-FBF1B1913CFF}"/>
              </a:ext>
            </a:extLst>
          </p:cNvPr>
          <p:cNvGrpSpPr/>
          <p:nvPr/>
        </p:nvGrpSpPr>
        <p:grpSpPr>
          <a:xfrm>
            <a:off x="-27214" y="938096"/>
            <a:ext cx="12240360" cy="5371920"/>
            <a:chOff x="-27214" y="938096"/>
            <a:chExt cx="12240360" cy="5371920"/>
          </a:xfrm>
        </p:grpSpPr>
        <p:pic>
          <p:nvPicPr>
            <p:cNvPr id="9" name="Grafik 9" descr="Ein Bild, das Gebäude, drinnen, gefliest, Fenster enthält.&#10;&#10;Mit sehr hoher Zuverlässigkeit generierte Beschreibung">
              <a:extLst>
                <a:ext uri="{FF2B5EF4-FFF2-40B4-BE49-F238E27FC236}">
                  <a16:creationId xmlns:a16="http://schemas.microsoft.com/office/drawing/2014/main" id="{97233134-C01E-419B-88C0-A255297FC09A}"/>
                </a:ext>
              </a:extLst>
            </p:cNvPr>
            <p:cNvPicPr/>
            <p:nvPr/>
          </p:nvPicPr>
          <p:blipFill rotWithShape="1">
            <a:blip r:embed="rId3"/>
            <a:srcRect t="7508"/>
            <a:stretch/>
          </p:blipFill>
          <p:spPr>
            <a:xfrm>
              <a:off x="5205026" y="1341438"/>
              <a:ext cx="3100680" cy="4968578"/>
            </a:xfrm>
            <a:prstGeom prst="rect">
              <a:avLst/>
            </a:prstGeom>
            <a:ln>
              <a:noFill/>
            </a:ln>
          </p:spPr>
        </p:pic>
        <p:pic>
          <p:nvPicPr>
            <p:cNvPr id="11" name="Grafik 7">
              <a:extLst>
                <a:ext uri="{FF2B5EF4-FFF2-40B4-BE49-F238E27FC236}">
                  <a16:creationId xmlns:a16="http://schemas.microsoft.com/office/drawing/2014/main" id="{9C0B8FD8-A85E-4A4B-B56F-B6DD71DFE2A8}"/>
                </a:ext>
              </a:extLst>
            </p:cNvPr>
            <p:cNvPicPr/>
            <p:nvPr/>
          </p:nvPicPr>
          <p:blipFill rotWithShape="1">
            <a:blip r:embed="rId4"/>
            <a:srcRect l="34175" t="7547"/>
            <a:stretch/>
          </p:blipFill>
          <p:spPr>
            <a:xfrm>
              <a:off x="-27214" y="1341438"/>
              <a:ext cx="5267880" cy="4940858"/>
            </a:xfrm>
            <a:prstGeom prst="rect">
              <a:avLst/>
            </a:prstGeom>
            <a:ln>
              <a:noFill/>
            </a:ln>
          </p:spPr>
        </p:pic>
        <p:sp>
          <p:nvSpPr>
            <p:cNvPr id="13" name="CustomShape 2">
              <a:extLst>
                <a:ext uri="{FF2B5EF4-FFF2-40B4-BE49-F238E27FC236}">
                  <a16:creationId xmlns:a16="http://schemas.microsoft.com/office/drawing/2014/main" id="{5E3ED893-6133-413F-90AF-6013A1CCC4B3}"/>
                </a:ext>
              </a:extLst>
            </p:cNvPr>
            <p:cNvSpPr/>
            <p:nvPr/>
          </p:nvSpPr>
          <p:spPr>
            <a:xfrm>
              <a:off x="2929826" y="938096"/>
              <a:ext cx="4608000" cy="5371920"/>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p:style>
        </p:sp>
        <p:sp>
          <p:nvSpPr>
            <p:cNvPr id="15" name="Line 4">
              <a:extLst>
                <a:ext uri="{FF2B5EF4-FFF2-40B4-BE49-F238E27FC236}">
                  <a16:creationId xmlns:a16="http://schemas.microsoft.com/office/drawing/2014/main" id="{88259649-518C-4156-85B3-FEEF61F3235A}"/>
                </a:ext>
              </a:extLst>
            </p:cNvPr>
            <p:cNvSpPr/>
            <p:nvPr/>
          </p:nvSpPr>
          <p:spPr>
            <a:xfrm flipV="1">
              <a:off x="3092546" y="1244816"/>
              <a:ext cx="360" cy="1005480"/>
            </a:xfrm>
            <a:prstGeom prst="line">
              <a:avLst/>
            </a:prstGeom>
            <a:ln/>
          </p:spPr>
          <p:style>
            <a:lnRef idx="1">
              <a:schemeClr val="accent1"/>
            </a:lnRef>
            <a:fillRef idx="0">
              <a:schemeClr val="accent1"/>
            </a:fillRef>
            <a:effectRef idx="0">
              <a:schemeClr val="accent1"/>
            </a:effectRef>
            <a:fontRef idx="minor"/>
          </p:style>
        </p:sp>
        <p:sp>
          <p:nvSpPr>
            <p:cNvPr id="17" name="CustomShape 5">
              <a:extLst>
                <a:ext uri="{FF2B5EF4-FFF2-40B4-BE49-F238E27FC236}">
                  <a16:creationId xmlns:a16="http://schemas.microsoft.com/office/drawing/2014/main" id="{2EAD13C8-EC0A-4B0C-A999-22E872010D85}"/>
                </a:ext>
              </a:extLst>
            </p:cNvPr>
            <p:cNvSpPr/>
            <p:nvPr/>
          </p:nvSpPr>
          <p:spPr>
            <a:xfrm>
              <a:off x="3092906" y="1482416"/>
              <a:ext cx="4608000" cy="417507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de-DE" sz="2400" b="1" strike="noStrike" spc="-1" dirty="0">
                  <a:latin typeface="Arial" panose="020B0604020202020204" pitchFamily="34" charset="0"/>
                  <a:cs typeface="Arial" panose="020B0604020202020204" pitchFamily="34" charset="0"/>
                </a:rPr>
                <a:t>Zertifikate</a:t>
              </a:r>
              <a:endParaRPr lang="de-DE" sz="2400" b="0" strike="noStrike" spc="-1" dirty="0">
                <a:latin typeface="Arial" panose="020B0604020202020204" pitchFamily="34" charset="0"/>
                <a:cs typeface="Arial" panose="020B0604020202020204" pitchFamily="34" charset="0"/>
              </a:endParaRPr>
            </a:p>
            <a:p>
              <a:pPr>
                <a:lnSpc>
                  <a:spcPct val="100000"/>
                </a:lnSpc>
              </a:pPr>
              <a:endParaRPr lang="de-DE" sz="2400" b="0" strike="noStrike" spc="-1" dirty="0">
                <a:latin typeface="Arial" panose="020B0604020202020204" pitchFamily="34" charset="0"/>
                <a:cs typeface="Arial" panose="020B0604020202020204" pitchFamily="34" charset="0"/>
              </a:endParaRPr>
            </a:p>
            <a:p>
              <a:pPr marL="380880" indent="-380520">
                <a:lnSpc>
                  <a:spcPct val="100000"/>
                </a:lnSpc>
                <a:buClr>
                  <a:srgbClr val="5E5E5E"/>
                </a:buClr>
                <a:buFont typeface="Wingdings" charset="2"/>
                <a:buChar char=""/>
              </a:pPr>
              <a:r>
                <a:rPr lang="de-DE" b="0" strike="noStrike" spc="-1" dirty="0">
                  <a:latin typeface="Arial" panose="020B0604020202020204" pitchFamily="34" charset="0"/>
                  <a:cs typeface="Arial" panose="020B0604020202020204" pitchFamily="34" charset="0"/>
                </a:rPr>
                <a:t>Preis wird von Basistiteln </a:t>
              </a:r>
              <a:br>
                <a:rPr sz="1600" dirty="0">
                  <a:latin typeface="Arial" panose="020B0604020202020204" pitchFamily="34" charset="0"/>
                  <a:cs typeface="Arial" panose="020B0604020202020204" pitchFamily="34" charset="0"/>
                </a:rPr>
              </a:br>
              <a:r>
                <a:rPr lang="de-DE" b="0" strike="noStrike" spc="-1" dirty="0">
                  <a:latin typeface="Arial" panose="020B0604020202020204" pitchFamily="34" charset="0"/>
                  <a:cs typeface="Arial" panose="020B0604020202020204" pitchFamily="34" charset="0"/>
                </a:rPr>
                <a:t>(</a:t>
              </a:r>
              <a:r>
                <a:rPr lang="de-DE" b="0" strike="noStrike" spc="-1" dirty="0" err="1">
                  <a:latin typeface="Arial" panose="020B0604020202020204" pitchFamily="34" charset="0"/>
                  <a:cs typeface="Arial" panose="020B0604020202020204" pitchFamily="34" charset="0"/>
                </a:rPr>
                <a:t>underlying</a:t>
              </a:r>
              <a:r>
                <a:rPr lang="de-DE" b="0" strike="noStrike" spc="-1" dirty="0">
                  <a:latin typeface="Arial" panose="020B0604020202020204" pitchFamily="34" charset="0"/>
                  <a:cs typeface="Arial" panose="020B0604020202020204" pitchFamily="34" charset="0"/>
                </a:rPr>
                <a:t> </a:t>
              </a:r>
              <a:r>
                <a:rPr lang="de-DE" b="0" strike="noStrike" spc="-1" dirty="0" err="1">
                  <a:latin typeface="Arial" panose="020B0604020202020204" pitchFamily="34" charset="0"/>
                  <a:cs typeface="Arial" panose="020B0604020202020204" pitchFamily="34" charset="0"/>
                </a:rPr>
                <a:t>assets</a:t>
              </a:r>
              <a:r>
                <a:rPr lang="de-DE" b="0" strike="noStrike" spc="-1" dirty="0">
                  <a:latin typeface="Arial" panose="020B0604020202020204" pitchFamily="34" charset="0"/>
                  <a:cs typeface="Arial" panose="020B0604020202020204" pitchFamily="34" charset="0"/>
                </a:rPr>
                <a:t>) abgeleitet</a:t>
              </a:r>
            </a:p>
            <a:p>
              <a:pPr>
                <a:lnSpc>
                  <a:spcPct val="100000"/>
                </a:lnSpc>
              </a:pPr>
              <a:endParaRPr lang="de-DE" b="0" strike="noStrike" spc="-1" dirty="0">
                <a:latin typeface="Arial" panose="020B0604020202020204" pitchFamily="34" charset="0"/>
                <a:cs typeface="Arial" panose="020B0604020202020204" pitchFamily="34" charset="0"/>
              </a:endParaRPr>
            </a:p>
            <a:p>
              <a:pPr marL="380880" indent="-380520">
                <a:lnSpc>
                  <a:spcPct val="100000"/>
                </a:lnSpc>
                <a:buClr>
                  <a:srgbClr val="5E5E5E"/>
                </a:buClr>
                <a:buFont typeface="Wingdings" charset="2"/>
                <a:buChar char=""/>
              </a:pPr>
              <a:r>
                <a:rPr lang="de-DE" b="0" strike="noStrike" spc="-1" dirty="0">
                  <a:latin typeface="Arial" panose="020B0604020202020204" pitchFamily="34" charset="0"/>
                  <a:cs typeface="Arial" panose="020B0604020202020204" pitchFamily="34" charset="0"/>
                </a:rPr>
                <a:t>Idee: alle Anlagepräferenzen </a:t>
              </a:r>
              <a:br>
                <a:rPr sz="1600" dirty="0">
                  <a:latin typeface="Arial" panose="020B0604020202020204" pitchFamily="34" charset="0"/>
                  <a:cs typeface="Arial" panose="020B0604020202020204" pitchFamily="34" charset="0"/>
                </a:rPr>
              </a:br>
              <a:r>
                <a:rPr lang="de-DE" b="0" strike="noStrike" spc="-1" dirty="0">
                  <a:latin typeface="Arial" panose="020B0604020202020204" pitchFamily="34" charset="0"/>
                  <a:cs typeface="Arial" panose="020B0604020202020204" pitchFamily="34" charset="0"/>
                </a:rPr>
                <a:t>abbilden zu können</a:t>
              </a:r>
            </a:p>
            <a:p>
              <a:pPr>
                <a:lnSpc>
                  <a:spcPct val="100000"/>
                </a:lnSpc>
              </a:pPr>
              <a:r>
                <a:rPr lang="de-DE" b="0" strike="noStrike" spc="-1" dirty="0">
                  <a:latin typeface="Arial" panose="020B0604020202020204" pitchFamily="34" charset="0"/>
                  <a:cs typeface="Arial" panose="020B0604020202020204" pitchFamily="34" charset="0"/>
                </a:rPr>
                <a:t> </a:t>
              </a:r>
            </a:p>
            <a:p>
              <a:pPr marL="380880" indent="-380520">
                <a:lnSpc>
                  <a:spcPct val="100000"/>
                </a:lnSpc>
                <a:buClr>
                  <a:srgbClr val="5E5E5E"/>
                </a:buClr>
                <a:buFont typeface="Wingdings" charset="2"/>
                <a:buChar char=""/>
              </a:pPr>
              <a:r>
                <a:rPr lang="de-DE" b="0" strike="noStrike" spc="-1" dirty="0">
                  <a:latin typeface="Arial" panose="020B0604020202020204" pitchFamily="34" charset="0"/>
                  <a:cs typeface="Arial" panose="020B0604020202020204" pitchFamily="34" charset="0"/>
                </a:rPr>
                <a:t>Zahlungsverpflichtung abhängig von anderen Vermögenstiteln</a:t>
              </a:r>
            </a:p>
            <a:p>
              <a:pPr>
                <a:lnSpc>
                  <a:spcPct val="100000"/>
                </a:lnSpc>
              </a:pPr>
              <a:endParaRPr lang="de-DE" b="0" strike="noStrike" spc="-1" dirty="0">
                <a:latin typeface="Arial" panose="020B0604020202020204" pitchFamily="34" charset="0"/>
                <a:cs typeface="Arial" panose="020B0604020202020204" pitchFamily="34" charset="0"/>
              </a:endParaRPr>
            </a:p>
            <a:p>
              <a:pPr marL="380880" indent="-380520">
                <a:lnSpc>
                  <a:spcPct val="100000"/>
                </a:lnSpc>
                <a:buClr>
                  <a:srgbClr val="5E5E5E"/>
                </a:buClr>
                <a:buFont typeface="Wingdings" charset="2"/>
                <a:buChar char=""/>
              </a:pPr>
              <a:r>
                <a:rPr lang="de-DE" b="1" strike="noStrike" spc="-1" dirty="0">
                  <a:latin typeface="Arial" panose="020B0604020202020204" pitchFamily="34" charset="0"/>
                  <a:cs typeface="Arial" panose="020B0604020202020204" pitchFamily="34" charset="0"/>
                </a:rPr>
                <a:t>Zertifikate sind Inhaberschuld-</a:t>
              </a:r>
              <a:br>
                <a:rPr sz="1600" dirty="0">
                  <a:latin typeface="Arial" panose="020B0604020202020204" pitchFamily="34" charset="0"/>
                  <a:cs typeface="Arial" panose="020B0604020202020204" pitchFamily="34" charset="0"/>
                </a:rPr>
              </a:br>
              <a:r>
                <a:rPr lang="de-DE" b="1" strike="noStrike" spc="-1" dirty="0" err="1">
                  <a:latin typeface="Arial" panose="020B0604020202020204" pitchFamily="34" charset="0"/>
                  <a:cs typeface="Arial" panose="020B0604020202020204" pitchFamily="34" charset="0"/>
                </a:rPr>
                <a:t>verschreibungen</a:t>
              </a:r>
              <a:r>
                <a:rPr lang="de-DE" b="1" strike="noStrike" spc="-1" dirty="0">
                  <a:latin typeface="Arial" panose="020B0604020202020204" pitchFamily="34" charset="0"/>
                  <a:cs typeface="Arial" panose="020B0604020202020204" pitchFamily="34" charset="0"/>
                </a:rPr>
                <a:t>, kein Sondervermögen</a:t>
              </a:r>
              <a:r>
                <a:rPr lang="de-DE" b="0" strike="noStrike" spc="-1" dirty="0">
                  <a:latin typeface="Arial" panose="020B0604020202020204" pitchFamily="34" charset="0"/>
                  <a:cs typeface="Arial" panose="020B0604020202020204" pitchFamily="34" charset="0"/>
                </a:rPr>
                <a:t>	</a:t>
              </a:r>
            </a:p>
          </p:txBody>
        </p:sp>
        <p:pic>
          <p:nvPicPr>
            <p:cNvPr id="19" name="Grafik 8" descr="Ein Bild, das Schnee, draußen, Natur, Berg enthält.&#10;&#10;Mit sehr hoher Zuverlässigkeit generierte Beschreibung">
              <a:extLst>
                <a:ext uri="{FF2B5EF4-FFF2-40B4-BE49-F238E27FC236}">
                  <a16:creationId xmlns:a16="http://schemas.microsoft.com/office/drawing/2014/main" id="{0381D614-F2DE-4AB5-A64A-FFDC9638EEF8}"/>
                </a:ext>
              </a:extLst>
            </p:cNvPr>
            <p:cNvPicPr/>
            <p:nvPr/>
          </p:nvPicPr>
          <p:blipFill rotWithShape="1">
            <a:blip r:embed="rId5"/>
            <a:srcRect l="32933" t="9024" r="18825"/>
            <a:stretch/>
          </p:blipFill>
          <p:spPr>
            <a:xfrm>
              <a:off x="8276546" y="1341438"/>
              <a:ext cx="3936600" cy="4940858"/>
            </a:xfrm>
            <a:prstGeom prst="rect">
              <a:avLst/>
            </a:prstGeom>
            <a:ln>
              <a:noFill/>
            </a:ln>
          </p:spPr>
        </p:pic>
      </p:grpSp>
    </p:spTree>
    <p:extLst>
      <p:ext uri="{BB962C8B-B14F-4D97-AF65-F5344CB8AC3E}">
        <p14:creationId xmlns:p14="http://schemas.microsoft.com/office/powerpoint/2010/main" val="12121694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4F3E86A-0D8E-4D8C-93B6-B9C58452B346}"/>
              </a:ext>
            </a:extLst>
          </p:cNvPr>
          <p:cNvSpPr>
            <a:spLocks noGrp="1"/>
          </p:cNvSpPr>
          <p:nvPr>
            <p:ph type="sldNum" sz="quarter" idx="10"/>
          </p:nvPr>
        </p:nvSpPr>
        <p:spPr/>
        <p:txBody>
          <a:bodyPr/>
          <a:lstStyle/>
          <a:p>
            <a:fld id="{F966D7FF-EADB-4E92-9989-4DE4533DAC48}" type="slidenum">
              <a:rPr lang="de-DE" smtClean="0"/>
              <a:pPr/>
              <a:t>45</a:t>
            </a:fld>
            <a:endParaRPr lang="de-DE" dirty="0"/>
          </a:p>
        </p:txBody>
      </p:sp>
      <p:sp>
        <p:nvSpPr>
          <p:cNvPr id="3" name="Inhaltsplatzhalter 2">
            <a:extLst>
              <a:ext uri="{FF2B5EF4-FFF2-40B4-BE49-F238E27FC236}">
                <a16:creationId xmlns:a16="http://schemas.microsoft.com/office/drawing/2014/main" id="{075A1F9A-AB68-42B4-9D0F-04DCE0BBE150}"/>
              </a:ext>
            </a:extLst>
          </p:cNvPr>
          <p:cNvSpPr>
            <a:spLocks noGrp="1"/>
          </p:cNvSpPr>
          <p:nvPr>
            <p:ph idx="11"/>
          </p:nvPr>
        </p:nvSpPr>
        <p:spPr/>
        <p:txBody>
          <a:bodyPr/>
          <a:lstStyle/>
          <a:p>
            <a:r>
              <a:rPr lang="de-DE" dirty="0"/>
              <a:t>Exkurs: Lehman Brothers</a:t>
            </a:r>
          </a:p>
        </p:txBody>
      </p:sp>
      <p:sp>
        <p:nvSpPr>
          <p:cNvPr id="5" name="Inhaltsplatzhalter 4">
            <a:extLst>
              <a:ext uri="{FF2B5EF4-FFF2-40B4-BE49-F238E27FC236}">
                <a16:creationId xmlns:a16="http://schemas.microsoft.com/office/drawing/2014/main" id="{C79702B6-DBBE-4ACC-B546-4E0EB8F15040}"/>
              </a:ext>
            </a:extLst>
          </p:cNvPr>
          <p:cNvSpPr>
            <a:spLocks noGrp="1"/>
          </p:cNvSpPr>
          <p:nvPr>
            <p:ph idx="12"/>
          </p:nvPr>
        </p:nvSpPr>
        <p:spPr/>
        <p:txBody>
          <a:bodyPr/>
          <a:lstStyle/>
          <a:p>
            <a:r>
              <a:rPr lang="de-DE" dirty="0"/>
              <a:t>Zertifikate bringen immer ein Emittentenrisiko mit sich, das wie in der Finanzkrise 2008/2009 zum Totalverlust führen kann</a:t>
            </a:r>
          </a:p>
        </p:txBody>
      </p:sp>
      <p:grpSp>
        <p:nvGrpSpPr>
          <p:cNvPr id="14" name="Gruppieren 13">
            <a:extLst>
              <a:ext uri="{FF2B5EF4-FFF2-40B4-BE49-F238E27FC236}">
                <a16:creationId xmlns:a16="http://schemas.microsoft.com/office/drawing/2014/main" id="{67FACF53-9180-4F3C-B820-A3621F84C2DE}"/>
              </a:ext>
            </a:extLst>
          </p:cNvPr>
          <p:cNvGrpSpPr/>
          <p:nvPr/>
        </p:nvGrpSpPr>
        <p:grpSpPr>
          <a:xfrm>
            <a:off x="664560" y="1509120"/>
            <a:ext cx="11192760" cy="4898160"/>
            <a:chOff x="664560" y="1509120"/>
            <a:chExt cx="11192760" cy="4898160"/>
          </a:xfrm>
        </p:grpSpPr>
        <p:pic>
          <p:nvPicPr>
            <p:cNvPr id="7" name="Picture 2">
              <a:extLst>
                <a:ext uri="{FF2B5EF4-FFF2-40B4-BE49-F238E27FC236}">
                  <a16:creationId xmlns:a16="http://schemas.microsoft.com/office/drawing/2014/main" id="{B928C23C-5E8B-49B3-A812-2E5BA92244EC}"/>
                </a:ext>
              </a:extLst>
            </p:cNvPr>
            <p:cNvPicPr/>
            <p:nvPr/>
          </p:nvPicPr>
          <p:blipFill>
            <a:blip r:embed="rId2"/>
            <a:stretch/>
          </p:blipFill>
          <p:spPr>
            <a:xfrm>
              <a:off x="664560" y="1509120"/>
              <a:ext cx="6819480" cy="537120"/>
            </a:xfrm>
            <a:prstGeom prst="rect">
              <a:avLst/>
            </a:prstGeom>
            <a:ln>
              <a:noFill/>
            </a:ln>
          </p:spPr>
        </p:pic>
        <p:sp>
          <p:nvSpPr>
            <p:cNvPr id="9" name="CustomShape 2">
              <a:extLst>
                <a:ext uri="{FF2B5EF4-FFF2-40B4-BE49-F238E27FC236}">
                  <a16:creationId xmlns:a16="http://schemas.microsoft.com/office/drawing/2014/main" id="{76EDBC81-90DB-467F-8A37-0726293F30ED}"/>
                </a:ext>
              </a:extLst>
            </p:cNvPr>
            <p:cNvSpPr/>
            <p:nvPr/>
          </p:nvSpPr>
          <p:spPr>
            <a:xfrm>
              <a:off x="664560" y="2446920"/>
              <a:ext cx="6095520" cy="39603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0" i="1" strike="noStrike" spc="-1" dirty="0">
                  <a:solidFill>
                    <a:srgbClr val="000000"/>
                  </a:solidFill>
                  <a:latin typeface="Bookman Old Style"/>
                </a:rPr>
                <a:t>„…Als die US-Investmentbank Lehman Brothers zusammenbrach, waren auch in Deutschland zahlreiche Privatanleger betroffen: Sie hatten vermeintlich sichere Zertifikate von Lehman gekauft. Dass diese Wertpapiere sofort wertlos werden, wenn die dazugehörige Bank Pleite geht, ist vielen nicht bewusst...“</a:t>
              </a:r>
              <a:endParaRPr lang="de-DE" sz="2400" b="0" strike="noStrike" spc="-1" dirty="0">
                <a:latin typeface="Arial"/>
              </a:endParaRPr>
            </a:p>
            <a:p>
              <a:pPr algn="r">
                <a:lnSpc>
                  <a:spcPct val="100000"/>
                </a:lnSpc>
              </a:pPr>
              <a:r>
                <a:rPr lang="de-DE" sz="2400" b="0" strike="noStrike" spc="-1" dirty="0">
                  <a:solidFill>
                    <a:srgbClr val="000000"/>
                  </a:solidFill>
                  <a:latin typeface="Bookman Old Style"/>
                </a:rPr>
                <a:t>		</a:t>
              </a:r>
              <a:r>
                <a:rPr lang="de-DE" sz="1400" b="0" strike="noStrike" spc="-1" dirty="0">
                  <a:solidFill>
                    <a:srgbClr val="000000"/>
                  </a:solidFill>
                  <a:latin typeface="Bookman Old Style"/>
                </a:rPr>
                <a:t>Quelle:  Bayrischer Rundfunk Online  (06.10.2008)</a:t>
              </a:r>
              <a:endParaRPr lang="de-DE" sz="1400" b="0" strike="noStrike" spc="-1" dirty="0">
                <a:latin typeface="Arial"/>
              </a:endParaRPr>
            </a:p>
          </p:txBody>
        </p:sp>
        <p:sp>
          <p:nvSpPr>
            <p:cNvPr id="11" name="Line 3">
              <a:extLst>
                <a:ext uri="{FF2B5EF4-FFF2-40B4-BE49-F238E27FC236}">
                  <a16:creationId xmlns:a16="http://schemas.microsoft.com/office/drawing/2014/main" id="{A4D07DF3-EA2C-48B7-B3CE-8E8C8A425B55}"/>
                </a:ext>
              </a:extLst>
            </p:cNvPr>
            <p:cNvSpPr/>
            <p:nvPr/>
          </p:nvSpPr>
          <p:spPr>
            <a:xfrm flipV="1">
              <a:off x="7727760" y="242352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3" name="CustomShape 4">
              <a:extLst>
                <a:ext uri="{FF2B5EF4-FFF2-40B4-BE49-F238E27FC236}">
                  <a16:creationId xmlns:a16="http://schemas.microsoft.com/office/drawing/2014/main" id="{3C872313-93E4-453C-953E-7617CA0E4E35}"/>
                </a:ext>
              </a:extLst>
            </p:cNvPr>
            <p:cNvSpPr/>
            <p:nvPr/>
          </p:nvSpPr>
          <p:spPr>
            <a:xfrm>
              <a:off x="7728120" y="2755800"/>
              <a:ext cx="4129200" cy="2639269"/>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solidFill>
                    <a:sysClr val="windowText" lastClr="000000"/>
                  </a:solidFill>
                  <a:latin typeface="Arial" panose="020B0604020202020204" pitchFamily="34" charset="0"/>
                  <a:cs typeface="Arial" panose="020B0604020202020204" pitchFamily="34" charset="0"/>
                </a:rPr>
                <a:t>Vor der Krise</a:t>
              </a:r>
              <a:endParaRPr lang="de-DE" sz="2670" b="0" strike="noStrike" spc="-1" dirty="0">
                <a:solidFill>
                  <a:sysClr val="windowText" lastClr="000000"/>
                </a:solidFill>
                <a:latin typeface="Arial" panose="020B0604020202020204" pitchFamily="34" charset="0"/>
                <a:cs typeface="Arial" panose="020B0604020202020204" pitchFamily="34" charset="0"/>
              </a:endParaRPr>
            </a:p>
            <a:p>
              <a:pPr>
                <a:lnSpc>
                  <a:spcPct val="100000"/>
                </a:lnSpc>
              </a:pPr>
              <a:endParaRPr lang="de-DE" sz="2670" b="0" strike="noStrike" spc="-1" dirty="0">
                <a:solidFill>
                  <a:sysClr val="windowText" lastClr="000000"/>
                </a:solidFill>
                <a:latin typeface="Arial" panose="020B0604020202020204" pitchFamily="34" charset="0"/>
                <a:cs typeface="Arial" panose="020B0604020202020204" pitchFamily="34" charset="0"/>
              </a:endParaRPr>
            </a:p>
            <a:p>
              <a:pPr marL="380880" indent="-380520">
                <a:lnSpc>
                  <a:spcPct val="100000"/>
                </a:lnSpc>
                <a:buClr>
                  <a:srgbClr val="5E5E5E"/>
                </a:buClr>
                <a:buFont typeface="Wingdings" charset="2"/>
                <a:buChar char=""/>
              </a:pPr>
              <a:r>
                <a:rPr lang="de-DE" sz="1870" b="0" strike="noStrike" spc="-1" dirty="0">
                  <a:solidFill>
                    <a:sysClr val="windowText" lastClr="000000"/>
                  </a:solidFill>
                  <a:latin typeface="Arial" panose="020B0604020202020204" pitchFamily="34" charset="0"/>
                  <a:cs typeface="Arial" panose="020B0604020202020204" pitchFamily="34" charset="0"/>
                </a:rPr>
                <a:t> Ausfallswahrscheinlichkeit großer Banken galt als quasi ausgeschlossen…</a:t>
              </a:r>
            </a:p>
            <a:p>
              <a:pPr>
                <a:lnSpc>
                  <a:spcPct val="100000"/>
                </a:lnSpc>
              </a:pPr>
              <a:endParaRPr lang="de-DE" sz="1870" b="0" strike="noStrike" spc="-1" dirty="0">
                <a:solidFill>
                  <a:sysClr val="windowText" lastClr="000000"/>
                </a:solidFill>
                <a:latin typeface="Arial" panose="020B0604020202020204" pitchFamily="34" charset="0"/>
                <a:cs typeface="Arial" panose="020B0604020202020204" pitchFamily="34" charset="0"/>
              </a:endParaRPr>
            </a:p>
            <a:p>
              <a:pPr marL="380880" indent="-380520">
                <a:lnSpc>
                  <a:spcPct val="100000"/>
                </a:lnSpc>
                <a:buClr>
                  <a:srgbClr val="5E5E5E"/>
                </a:buClr>
                <a:buFont typeface="Wingdings" charset="2"/>
                <a:buChar char=""/>
              </a:pPr>
              <a:r>
                <a:rPr lang="de-DE" sz="1870" b="0" strike="noStrike" spc="-1" dirty="0">
                  <a:solidFill>
                    <a:sysClr val="windowText" lastClr="000000"/>
                  </a:solidFill>
                  <a:latin typeface="Arial" panose="020B0604020202020204" pitchFamily="34" charset="0"/>
                  <a:cs typeface="Arial" panose="020B0604020202020204" pitchFamily="34" charset="0"/>
                </a:rPr>
                <a:t>Fakt: empirische Fallstudie „Lehman Brothers	</a:t>
              </a:r>
            </a:p>
          </p:txBody>
        </p:sp>
      </p:grpSp>
    </p:spTree>
    <p:extLst>
      <p:ext uri="{BB962C8B-B14F-4D97-AF65-F5344CB8AC3E}">
        <p14:creationId xmlns:p14="http://schemas.microsoft.com/office/powerpoint/2010/main" val="1929059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A5A3112-607B-42DD-A2C7-7828D241F046}"/>
              </a:ext>
            </a:extLst>
          </p:cNvPr>
          <p:cNvSpPr>
            <a:spLocks noGrp="1"/>
          </p:cNvSpPr>
          <p:nvPr>
            <p:ph type="sldNum" sz="quarter" idx="10"/>
          </p:nvPr>
        </p:nvSpPr>
        <p:spPr/>
        <p:txBody>
          <a:bodyPr/>
          <a:lstStyle/>
          <a:p>
            <a:fld id="{F966D7FF-EADB-4E92-9989-4DE4533DAC48}" type="slidenum">
              <a:rPr lang="de-DE" smtClean="0"/>
              <a:pPr/>
              <a:t>46</a:t>
            </a:fld>
            <a:endParaRPr lang="de-DE" dirty="0"/>
          </a:p>
        </p:txBody>
      </p:sp>
      <p:sp>
        <p:nvSpPr>
          <p:cNvPr id="3" name="Inhaltsplatzhalter 2">
            <a:extLst>
              <a:ext uri="{FF2B5EF4-FFF2-40B4-BE49-F238E27FC236}">
                <a16:creationId xmlns:a16="http://schemas.microsoft.com/office/drawing/2014/main" id="{E89A8830-0054-43E1-828C-30F37AB24CF1}"/>
              </a:ext>
            </a:extLst>
          </p:cNvPr>
          <p:cNvSpPr>
            <a:spLocks noGrp="1"/>
          </p:cNvSpPr>
          <p:nvPr>
            <p:ph idx="11"/>
          </p:nvPr>
        </p:nvSpPr>
        <p:spPr/>
        <p:txBody>
          <a:bodyPr/>
          <a:lstStyle/>
          <a:p>
            <a:r>
              <a:rPr lang="de-DE" sz="1200" dirty="0">
                <a:ea typeface="Verdana"/>
                <a:cs typeface="Arial"/>
              </a:rPr>
              <a:t>Wo können Zertifikate gekauft werden?</a:t>
            </a:r>
            <a:endParaRPr lang="de-DE" sz="1200" dirty="0"/>
          </a:p>
        </p:txBody>
      </p:sp>
      <p:sp>
        <p:nvSpPr>
          <p:cNvPr id="5" name="Inhaltsplatzhalter 4">
            <a:extLst>
              <a:ext uri="{FF2B5EF4-FFF2-40B4-BE49-F238E27FC236}">
                <a16:creationId xmlns:a16="http://schemas.microsoft.com/office/drawing/2014/main" id="{4D2CED51-6B33-4041-9B71-00E805E0BF5D}"/>
              </a:ext>
            </a:extLst>
          </p:cNvPr>
          <p:cNvSpPr>
            <a:spLocks noGrp="1"/>
          </p:cNvSpPr>
          <p:nvPr>
            <p:ph idx="12"/>
          </p:nvPr>
        </p:nvSpPr>
        <p:spPr/>
        <p:txBody>
          <a:bodyPr/>
          <a:lstStyle/>
          <a:p>
            <a:r>
              <a:rPr lang="de-DE" dirty="0"/>
              <a:t>Zertifikate können an Börsen oder im Direkthandel mit dem Broker erworben werden</a:t>
            </a:r>
          </a:p>
        </p:txBody>
      </p:sp>
      <p:pic>
        <p:nvPicPr>
          <p:cNvPr id="7" name="Picture 2">
            <a:extLst>
              <a:ext uri="{FF2B5EF4-FFF2-40B4-BE49-F238E27FC236}">
                <a16:creationId xmlns:a16="http://schemas.microsoft.com/office/drawing/2014/main" id="{7C738430-F0CA-4640-9602-15836488A0E2}"/>
              </a:ext>
            </a:extLst>
          </p:cNvPr>
          <p:cNvPicPr/>
          <p:nvPr/>
        </p:nvPicPr>
        <p:blipFill>
          <a:blip r:embed="rId2"/>
          <a:stretch/>
        </p:blipFill>
        <p:spPr>
          <a:xfrm>
            <a:off x="4883980" y="1532780"/>
            <a:ext cx="6850080" cy="4580640"/>
          </a:xfrm>
          <a:prstGeom prst="rect">
            <a:avLst/>
          </a:prstGeom>
          <a:ln>
            <a:noFill/>
          </a:ln>
        </p:spPr>
      </p:pic>
      <p:sp>
        <p:nvSpPr>
          <p:cNvPr id="9" name="CustomShape 3">
            <a:extLst>
              <a:ext uri="{FF2B5EF4-FFF2-40B4-BE49-F238E27FC236}">
                <a16:creationId xmlns:a16="http://schemas.microsoft.com/office/drawing/2014/main" id="{5B8FBB01-18E8-427C-80D2-F79861ABE44E}"/>
              </a:ext>
            </a:extLst>
          </p:cNvPr>
          <p:cNvSpPr/>
          <p:nvPr/>
        </p:nvSpPr>
        <p:spPr>
          <a:xfrm>
            <a:off x="334963" y="2531165"/>
            <a:ext cx="4255083" cy="2583869"/>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6110" indent="-28575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Über das Wertpapierdepot der Haus- oder Direktbank: Anleger gibt den Auftrag ein gewisses Zertifikat an der Kassabörse zu kaufen</a:t>
            </a:r>
          </a:p>
          <a:p>
            <a:pPr marL="7429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a:p>
            <a:pPr marL="286110" indent="-28575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Außerbörsliche Einigung mit </a:t>
            </a:r>
            <a:r>
              <a:rPr lang="de-DE" b="0" strike="noStrike" spc="-1" dirty="0" err="1">
                <a:latin typeface="Arial" panose="020B0604020202020204" pitchFamily="34" charset="0"/>
                <a:cs typeface="Arial" panose="020B0604020202020204" pitchFamily="34" charset="0"/>
              </a:rPr>
              <a:t>Zertifikatebank</a:t>
            </a:r>
            <a:r>
              <a:rPr lang="de-DE" b="0" strike="noStrike" spc="-1" dirty="0">
                <a:latin typeface="Arial" panose="020B0604020202020204" pitchFamily="34" charset="0"/>
                <a:cs typeface="Arial" panose="020B0604020202020204" pitchFamily="34" charset="0"/>
              </a:rPr>
              <a:t>: Anleger kauft das Zertifikat direkt beim Emittenten (spart Börsenkosten)</a:t>
            </a:r>
          </a:p>
        </p:txBody>
      </p:sp>
    </p:spTree>
    <p:extLst>
      <p:ext uri="{BB962C8B-B14F-4D97-AF65-F5344CB8AC3E}">
        <p14:creationId xmlns:p14="http://schemas.microsoft.com/office/powerpoint/2010/main" val="8703385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1CD0BA8-4100-433F-AE33-69EEAB6ED223}"/>
              </a:ext>
            </a:extLst>
          </p:cNvPr>
          <p:cNvSpPr>
            <a:spLocks noGrp="1"/>
          </p:cNvSpPr>
          <p:nvPr>
            <p:ph type="sldNum" sz="quarter" idx="10"/>
          </p:nvPr>
        </p:nvSpPr>
        <p:spPr/>
        <p:txBody>
          <a:bodyPr/>
          <a:lstStyle/>
          <a:p>
            <a:fld id="{F966D7FF-EADB-4E92-9989-4DE4533DAC48}" type="slidenum">
              <a:rPr lang="de-DE" smtClean="0"/>
              <a:pPr/>
              <a:t>47</a:t>
            </a:fld>
            <a:endParaRPr lang="de-DE" dirty="0"/>
          </a:p>
        </p:txBody>
      </p:sp>
      <p:sp>
        <p:nvSpPr>
          <p:cNvPr id="3" name="Inhaltsplatzhalter 2">
            <a:extLst>
              <a:ext uri="{FF2B5EF4-FFF2-40B4-BE49-F238E27FC236}">
                <a16:creationId xmlns:a16="http://schemas.microsoft.com/office/drawing/2014/main" id="{A2552BCD-76BB-4370-9178-60F19549AC7C}"/>
              </a:ext>
            </a:extLst>
          </p:cNvPr>
          <p:cNvSpPr>
            <a:spLocks noGrp="1"/>
          </p:cNvSpPr>
          <p:nvPr>
            <p:ph idx="11"/>
          </p:nvPr>
        </p:nvSpPr>
        <p:spPr/>
        <p:txBody>
          <a:bodyPr/>
          <a:lstStyle/>
          <a:p>
            <a:r>
              <a:rPr lang="de-DE" dirty="0"/>
              <a:t>Umdenken bei den Anlegern? </a:t>
            </a:r>
          </a:p>
        </p:txBody>
      </p:sp>
      <p:sp>
        <p:nvSpPr>
          <p:cNvPr id="5" name="Inhaltsplatzhalter 4">
            <a:extLst>
              <a:ext uri="{FF2B5EF4-FFF2-40B4-BE49-F238E27FC236}">
                <a16:creationId xmlns:a16="http://schemas.microsoft.com/office/drawing/2014/main" id="{FD62BB1A-150C-440F-8512-BB7706D79851}"/>
              </a:ext>
            </a:extLst>
          </p:cNvPr>
          <p:cNvSpPr>
            <a:spLocks noGrp="1"/>
          </p:cNvSpPr>
          <p:nvPr>
            <p:ph idx="12"/>
          </p:nvPr>
        </p:nvSpPr>
        <p:spPr/>
        <p:txBody>
          <a:bodyPr/>
          <a:lstStyle/>
          <a:p>
            <a:r>
              <a:rPr lang="de-DE" dirty="0"/>
              <a:t>Das Volumen des deutschen </a:t>
            </a:r>
            <a:r>
              <a:rPr lang="de-DE" dirty="0" err="1"/>
              <a:t>Zertifikatemarkts</a:t>
            </a:r>
            <a:r>
              <a:rPr lang="de-DE" dirty="0"/>
              <a:t> ist in den letzten Jahren deutlich zurückgegangen</a:t>
            </a:r>
          </a:p>
        </p:txBody>
      </p:sp>
      <p:graphicFrame>
        <p:nvGraphicFramePr>
          <p:cNvPr id="7" name="Diagramm 6">
            <a:extLst>
              <a:ext uri="{FF2B5EF4-FFF2-40B4-BE49-F238E27FC236}">
                <a16:creationId xmlns:a16="http://schemas.microsoft.com/office/drawing/2014/main" id="{5407742B-B164-4F86-B699-5DB88DBCCF8E}"/>
              </a:ext>
            </a:extLst>
          </p:cNvPr>
          <p:cNvGraphicFramePr/>
          <p:nvPr>
            <p:extLst>
              <p:ext uri="{D42A27DB-BD31-4B8C-83A1-F6EECF244321}">
                <p14:modId xmlns:p14="http://schemas.microsoft.com/office/powerpoint/2010/main" val="1491076193"/>
              </p:ext>
            </p:extLst>
          </p:nvPr>
        </p:nvGraphicFramePr>
        <p:xfrm>
          <a:off x="1265160" y="1146695"/>
          <a:ext cx="9661680" cy="51625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373854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18EA103-7C79-47AA-8E8E-88F32017243D}"/>
              </a:ext>
            </a:extLst>
          </p:cNvPr>
          <p:cNvSpPr>
            <a:spLocks noGrp="1"/>
          </p:cNvSpPr>
          <p:nvPr>
            <p:ph type="sldNum" sz="quarter" idx="10"/>
          </p:nvPr>
        </p:nvSpPr>
        <p:spPr/>
        <p:txBody>
          <a:bodyPr/>
          <a:lstStyle/>
          <a:p>
            <a:fld id="{F966D7FF-EADB-4E92-9989-4DE4533DAC48}" type="slidenum">
              <a:rPr lang="de-DE" smtClean="0"/>
              <a:pPr/>
              <a:t>48</a:t>
            </a:fld>
            <a:endParaRPr lang="de-DE" dirty="0"/>
          </a:p>
        </p:txBody>
      </p:sp>
      <p:sp>
        <p:nvSpPr>
          <p:cNvPr id="3" name="Inhaltsplatzhalter 2">
            <a:extLst>
              <a:ext uri="{FF2B5EF4-FFF2-40B4-BE49-F238E27FC236}">
                <a16:creationId xmlns:a16="http://schemas.microsoft.com/office/drawing/2014/main" id="{5B7C49F4-F611-4B78-8556-3FBA0C68C0C7}"/>
              </a:ext>
            </a:extLst>
          </p:cNvPr>
          <p:cNvSpPr>
            <a:spLocks noGrp="1"/>
          </p:cNvSpPr>
          <p:nvPr>
            <p:ph idx="11"/>
          </p:nvPr>
        </p:nvSpPr>
        <p:spPr/>
        <p:txBody>
          <a:bodyPr/>
          <a:lstStyle/>
          <a:p>
            <a:r>
              <a:rPr lang="de-DE" sz="1200" dirty="0">
                <a:ea typeface="Verdana"/>
                <a:cs typeface="Arial"/>
              </a:rPr>
              <a:t>Rückzahlungsprofil</a:t>
            </a:r>
            <a:endParaRPr lang="de-DE" sz="1200" dirty="0"/>
          </a:p>
        </p:txBody>
      </p:sp>
      <p:sp>
        <p:nvSpPr>
          <p:cNvPr id="5" name="Inhaltsplatzhalter 4">
            <a:extLst>
              <a:ext uri="{FF2B5EF4-FFF2-40B4-BE49-F238E27FC236}">
                <a16:creationId xmlns:a16="http://schemas.microsoft.com/office/drawing/2014/main" id="{8D1642FA-DD3A-43C9-A829-3377954864EC}"/>
              </a:ext>
            </a:extLst>
          </p:cNvPr>
          <p:cNvSpPr>
            <a:spLocks noGrp="1"/>
          </p:cNvSpPr>
          <p:nvPr>
            <p:ph idx="12"/>
          </p:nvPr>
        </p:nvSpPr>
        <p:spPr/>
        <p:txBody>
          <a:bodyPr/>
          <a:lstStyle/>
          <a:p>
            <a:r>
              <a:rPr lang="de-DE" dirty="0"/>
              <a:t>Zertifikate haben entweder ein definiertes Rückzahlungsprofil oder sind reine Partizipationszertifikate</a:t>
            </a:r>
          </a:p>
        </p:txBody>
      </p:sp>
      <p:grpSp>
        <p:nvGrpSpPr>
          <p:cNvPr id="18" name="Gruppieren 17">
            <a:extLst>
              <a:ext uri="{FF2B5EF4-FFF2-40B4-BE49-F238E27FC236}">
                <a16:creationId xmlns:a16="http://schemas.microsoft.com/office/drawing/2014/main" id="{83A0AB4B-53FA-4898-B52A-28560C7979C6}"/>
              </a:ext>
            </a:extLst>
          </p:cNvPr>
          <p:cNvGrpSpPr/>
          <p:nvPr/>
        </p:nvGrpSpPr>
        <p:grpSpPr>
          <a:xfrm>
            <a:off x="1199160" y="1565794"/>
            <a:ext cx="9288967" cy="4866686"/>
            <a:chOff x="1199160" y="1565794"/>
            <a:chExt cx="9288967" cy="4866686"/>
          </a:xfrm>
        </p:grpSpPr>
        <p:sp>
          <p:nvSpPr>
            <p:cNvPr id="7" name="Line 2">
              <a:extLst>
                <a:ext uri="{FF2B5EF4-FFF2-40B4-BE49-F238E27FC236}">
                  <a16:creationId xmlns:a16="http://schemas.microsoft.com/office/drawing/2014/main" id="{F5F11EAB-6BD1-4BB5-BF10-762E0954111B}"/>
                </a:ext>
              </a:extLst>
            </p:cNvPr>
            <p:cNvSpPr/>
            <p:nvPr/>
          </p:nvSpPr>
          <p:spPr>
            <a:xfrm flipV="1">
              <a:off x="1199160" y="1616217"/>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9" name="CustomShape 3">
              <a:extLst>
                <a:ext uri="{FF2B5EF4-FFF2-40B4-BE49-F238E27FC236}">
                  <a16:creationId xmlns:a16="http://schemas.microsoft.com/office/drawing/2014/main" id="{FADEDDB1-705E-435E-90F1-15228C486411}"/>
                </a:ext>
              </a:extLst>
            </p:cNvPr>
            <p:cNvSpPr/>
            <p:nvPr/>
          </p:nvSpPr>
          <p:spPr>
            <a:xfrm>
              <a:off x="1200600" y="1611720"/>
              <a:ext cx="4127040" cy="212220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dirty="0">
                  <a:latin typeface="Arial" panose="020B0604020202020204" pitchFamily="34" charset="0"/>
                  <a:cs typeface="Arial" panose="020B0604020202020204" pitchFamily="34" charset="0"/>
                </a:rPr>
                <a:t>Partizipationszertifikate</a:t>
              </a:r>
              <a:endParaRPr lang="de-DE" sz="2400"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Wert des Zertifikats folgt dem Basiswert</a:t>
              </a:r>
            </a:p>
            <a:p>
              <a:pPr marL="2857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Laufzeit oft endlos</a:t>
              </a:r>
            </a:p>
            <a:p>
              <a:pPr marL="2857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Bsp.: Index- und Basket Zertifikate </a:t>
              </a:r>
            </a:p>
          </p:txBody>
        </p:sp>
        <p:sp>
          <p:nvSpPr>
            <p:cNvPr id="11" name="Line 4">
              <a:extLst>
                <a:ext uri="{FF2B5EF4-FFF2-40B4-BE49-F238E27FC236}">
                  <a16:creationId xmlns:a16="http://schemas.microsoft.com/office/drawing/2014/main" id="{734F5DE5-5048-4C2F-8175-ECBBB7688CD5}"/>
                </a:ext>
              </a:extLst>
            </p:cNvPr>
            <p:cNvSpPr/>
            <p:nvPr/>
          </p:nvSpPr>
          <p:spPr>
            <a:xfrm flipV="1">
              <a:off x="6192000" y="1565794"/>
              <a:ext cx="360" cy="100512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3" name="CustomShape 5">
              <a:extLst>
                <a:ext uri="{FF2B5EF4-FFF2-40B4-BE49-F238E27FC236}">
                  <a16:creationId xmlns:a16="http://schemas.microsoft.com/office/drawing/2014/main" id="{0F9F1939-519D-42C5-AA37-9E7AA7DB6F88}"/>
                </a:ext>
              </a:extLst>
            </p:cNvPr>
            <p:cNvSpPr/>
            <p:nvPr/>
          </p:nvSpPr>
          <p:spPr>
            <a:xfrm>
              <a:off x="6263887" y="1569554"/>
              <a:ext cx="4224240" cy="304553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400" b="1" strike="noStrike" spc="-1" dirty="0">
                  <a:latin typeface="Arial" panose="020B0604020202020204" pitchFamily="34" charset="0"/>
                  <a:cs typeface="Arial" panose="020B0604020202020204" pitchFamily="34" charset="0"/>
                </a:rPr>
                <a:t>Mit definiertem Rückzahlungsprofil</a:t>
              </a:r>
              <a:endParaRPr lang="de-DE" sz="2400"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Zur Fälligkeit nimmt das Zertifikat einen Wert an, je nach Bedingung</a:t>
              </a:r>
            </a:p>
            <a:p>
              <a:pPr marL="2857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Laufzeit oft terminiert</a:t>
              </a:r>
            </a:p>
            <a:p>
              <a:pPr marL="2857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a:p>
              <a:pPr marL="380880" indent="-380520">
                <a:lnSpc>
                  <a:spcPct val="100000"/>
                </a:lnSpc>
                <a:buFont typeface="Wingdings" panose="05000000000000000000" pitchFamily="2" charset="2"/>
                <a:buChar char="§"/>
              </a:pPr>
              <a:r>
                <a:rPr lang="de-DE" b="0" strike="noStrike" spc="-1" dirty="0">
                  <a:latin typeface="Arial" panose="020B0604020202020204" pitchFamily="34" charset="0"/>
                  <a:cs typeface="Arial" panose="020B0604020202020204" pitchFamily="34" charset="0"/>
                </a:rPr>
                <a:t>Bsp.: Discount-, Bonus-, Outperformance-, Expresszertifikate</a:t>
              </a:r>
            </a:p>
            <a:p>
              <a:pPr marL="285750" indent="-285750">
                <a:lnSpc>
                  <a:spcPct val="100000"/>
                </a:lnSpc>
                <a:buFont typeface="Wingdings" panose="05000000000000000000" pitchFamily="2" charset="2"/>
                <a:buChar char="§"/>
              </a:pPr>
              <a:endParaRPr lang="de-DE" b="0" strike="noStrike" spc="-1" dirty="0">
                <a:latin typeface="Arial" panose="020B0604020202020204" pitchFamily="34" charset="0"/>
                <a:cs typeface="Arial" panose="020B0604020202020204" pitchFamily="34" charset="0"/>
              </a:endParaRPr>
            </a:p>
          </p:txBody>
        </p:sp>
        <p:pic>
          <p:nvPicPr>
            <p:cNvPr id="15" name="Picture 2">
              <a:extLst>
                <a:ext uri="{FF2B5EF4-FFF2-40B4-BE49-F238E27FC236}">
                  <a16:creationId xmlns:a16="http://schemas.microsoft.com/office/drawing/2014/main" id="{98569FFD-3FD5-4C5A-9F8D-4E162E77277B}"/>
                </a:ext>
              </a:extLst>
            </p:cNvPr>
            <p:cNvPicPr/>
            <p:nvPr/>
          </p:nvPicPr>
          <p:blipFill>
            <a:blip r:embed="rId3"/>
            <a:stretch/>
          </p:blipFill>
          <p:spPr>
            <a:xfrm>
              <a:off x="1200600" y="4329000"/>
              <a:ext cx="1823760" cy="1834200"/>
            </a:xfrm>
            <a:prstGeom prst="rect">
              <a:avLst/>
            </a:prstGeom>
            <a:ln w="9360">
              <a:noFill/>
            </a:ln>
          </p:spPr>
        </p:pic>
        <p:pic>
          <p:nvPicPr>
            <p:cNvPr id="17" name="Picture 3">
              <a:extLst>
                <a:ext uri="{FF2B5EF4-FFF2-40B4-BE49-F238E27FC236}">
                  <a16:creationId xmlns:a16="http://schemas.microsoft.com/office/drawing/2014/main" id="{93198B4F-1F80-4DBB-82D9-DB757472570D}"/>
                </a:ext>
              </a:extLst>
            </p:cNvPr>
            <p:cNvPicPr/>
            <p:nvPr/>
          </p:nvPicPr>
          <p:blipFill>
            <a:blip r:embed="rId4"/>
            <a:stretch/>
          </p:blipFill>
          <p:spPr>
            <a:xfrm>
              <a:off x="6192000" y="4485240"/>
              <a:ext cx="2568960" cy="1947240"/>
            </a:xfrm>
            <a:prstGeom prst="rect">
              <a:avLst/>
            </a:prstGeom>
            <a:ln w="9360">
              <a:noFill/>
            </a:ln>
          </p:spPr>
        </p:pic>
      </p:grpSp>
    </p:spTree>
    <p:extLst>
      <p:ext uri="{BB962C8B-B14F-4D97-AF65-F5344CB8AC3E}">
        <p14:creationId xmlns:p14="http://schemas.microsoft.com/office/powerpoint/2010/main" val="13252895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82BC3C6-F724-4DD6-827E-2297CC35FAB8}"/>
              </a:ext>
            </a:extLst>
          </p:cNvPr>
          <p:cNvSpPr>
            <a:spLocks noGrp="1"/>
          </p:cNvSpPr>
          <p:nvPr>
            <p:ph type="sldNum" sz="quarter" idx="10"/>
          </p:nvPr>
        </p:nvSpPr>
        <p:spPr/>
        <p:txBody>
          <a:bodyPr/>
          <a:lstStyle/>
          <a:p>
            <a:fld id="{F966D7FF-EADB-4E92-9989-4DE4533DAC48}" type="slidenum">
              <a:rPr lang="de-DE" smtClean="0"/>
              <a:pPr/>
              <a:t>49</a:t>
            </a:fld>
            <a:endParaRPr lang="de-DE" dirty="0"/>
          </a:p>
        </p:txBody>
      </p:sp>
      <p:sp>
        <p:nvSpPr>
          <p:cNvPr id="3" name="Inhaltsplatzhalter 2">
            <a:extLst>
              <a:ext uri="{FF2B5EF4-FFF2-40B4-BE49-F238E27FC236}">
                <a16:creationId xmlns:a16="http://schemas.microsoft.com/office/drawing/2014/main" id="{693F454F-49BA-45C3-BD17-4B0685540C61}"/>
              </a:ext>
            </a:extLst>
          </p:cNvPr>
          <p:cNvSpPr>
            <a:spLocks noGrp="1"/>
          </p:cNvSpPr>
          <p:nvPr>
            <p:ph idx="11"/>
          </p:nvPr>
        </p:nvSpPr>
        <p:spPr/>
        <p:txBody>
          <a:bodyPr/>
          <a:lstStyle/>
          <a:p>
            <a:r>
              <a:rPr lang="de-DE" sz="1200" dirty="0">
                <a:ea typeface="Verdana"/>
                <a:cs typeface="Arial"/>
              </a:rPr>
              <a:t>Hebelzertifikate</a:t>
            </a:r>
            <a:endParaRPr lang="de-DE" sz="1200" dirty="0"/>
          </a:p>
        </p:txBody>
      </p:sp>
      <p:sp>
        <p:nvSpPr>
          <p:cNvPr id="5" name="Inhaltsplatzhalter 4">
            <a:extLst>
              <a:ext uri="{FF2B5EF4-FFF2-40B4-BE49-F238E27FC236}">
                <a16:creationId xmlns:a16="http://schemas.microsoft.com/office/drawing/2014/main" id="{01843A92-7748-4824-AF2E-61457D725491}"/>
              </a:ext>
            </a:extLst>
          </p:cNvPr>
          <p:cNvSpPr>
            <a:spLocks noGrp="1"/>
          </p:cNvSpPr>
          <p:nvPr>
            <p:ph idx="12"/>
          </p:nvPr>
        </p:nvSpPr>
        <p:spPr/>
        <p:txBody>
          <a:bodyPr/>
          <a:lstStyle/>
          <a:p>
            <a:r>
              <a:rPr lang="de-DE" dirty="0"/>
              <a:t>Mit Hebelprodukten kann mit wenig Einsatz vergleichsweise viel Kapital bewegt werden – mit sehr hohen Gewinn- und Verlustchancen</a:t>
            </a:r>
          </a:p>
        </p:txBody>
      </p:sp>
      <p:pic>
        <p:nvPicPr>
          <p:cNvPr id="7" name="Grafik 6">
            <a:extLst>
              <a:ext uri="{FF2B5EF4-FFF2-40B4-BE49-F238E27FC236}">
                <a16:creationId xmlns:a16="http://schemas.microsoft.com/office/drawing/2014/main" id="{A8DD8C90-4C9D-4317-8E4A-732EA07EB5EB}"/>
              </a:ext>
            </a:extLst>
          </p:cNvPr>
          <p:cNvPicPr/>
          <p:nvPr/>
        </p:nvPicPr>
        <p:blipFill>
          <a:blip r:embed="rId3"/>
          <a:srcRect l="27996" t="4197" r="50992" b="17400"/>
          <a:stretch/>
        </p:blipFill>
        <p:spPr>
          <a:xfrm>
            <a:off x="3572860" y="996840"/>
            <a:ext cx="2304720" cy="5280840"/>
          </a:xfrm>
          <a:prstGeom prst="rect">
            <a:avLst/>
          </a:prstGeom>
          <a:ln>
            <a:noFill/>
          </a:ln>
        </p:spPr>
      </p:pic>
      <p:sp>
        <p:nvSpPr>
          <p:cNvPr id="9" name="Line 2">
            <a:extLst>
              <a:ext uri="{FF2B5EF4-FFF2-40B4-BE49-F238E27FC236}">
                <a16:creationId xmlns:a16="http://schemas.microsoft.com/office/drawing/2014/main" id="{5ED7FBCF-BD44-46E9-B7EE-1E8530376DB7}"/>
              </a:ext>
            </a:extLst>
          </p:cNvPr>
          <p:cNvSpPr/>
          <p:nvPr/>
        </p:nvSpPr>
        <p:spPr>
          <a:xfrm flipV="1">
            <a:off x="448380" y="165492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11" name="CustomShape 3">
            <a:extLst>
              <a:ext uri="{FF2B5EF4-FFF2-40B4-BE49-F238E27FC236}">
                <a16:creationId xmlns:a16="http://schemas.microsoft.com/office/drawing/2014/main" id="{05FC6FF9-4C42-47A0-950E-9429CB54C83B}"/>
              </a:ext>
            </a:extLst>
          </p:cNvPr>
          <p:cNvSpPr/>
          <p:nvPr/>
        </p:nvSpPr>
        <p:spPr>
          <a:xfrm>
            <a:off x="448740" y="1989720"/>
            <a:ext cx="3059084" cy="1875983"/>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800" b="1" strike="noStrike" spc="-1" dirty="0">
                <a:latin typeface="Arial" panose="020B0604020202020204" pitchFamily="34" charset="0"/>
                <a:cs typeface="Arial" panose="020B0604020202020204" pitchFamily="34" charset="0"/>
              </a:rPr>
              <a:t>Hebelprodukte</a:t>
            </a:r>
            <a:endParaRPr lang="de-DE" sz="2800" b="0" strike="noStrike" spc="-1" dirty="0">
              <a:latin typeface="Arial" panose="020B0604020202020204" pitchFamily="34" charset="0"/>
              <a:cs typeface="Arial" panose="020B0604020202020204" pitchFamily="34" charset="0"/>
            </a:endParaRPr>
          </a:p>
          <a:p>
            <a:pPr>
              <a:lnSpc>
                <a:spcPct val="100000"/>
              </a:lnSpc>
            </a:pPr>
            <a:endParaRPr lang="de-DE" sz="2800" b="0" strike="noStrike" spc="-1" dirty="0">
              <a:latin typeface="Arial" panose="020B0604020202020204" pitchFamily="34" charset="0"/>
              <a:cs typeface="Arial" panose="020B0604020202020204" pitchFamily="34" charset="0"/>
            </a:endParaRPr>
          </a:p>
          <a:p>
            <a:pPr>
              <a:lnSpc>
                <a:spcPct val="100000"/>
              </a:lnSpc>
            </a:pPr>
            <a:r>
              <a:rPr lang="de-DE" sz="2000" b="0" strike="noStrike" spc="-1" dirty="0">
                <a:latin typeface="Arial" panose="020B0604020202020204" pitchFamily="34" charset="0"/>
                <a:cs typeface="Arial" panose="020B0604020202020204" pitchFamily="34" charset="0"/>
              </a:rPr>
              <a:t>Weniger Kapital nötig als bei Direktinvestment in</a:t>
            </a:r>
          </a:p>
          <a:p>
            <a:pPr>
              <a:lnSpc>
                <a:spcPct val="100000"/>
              </a:lnSpc>
            </a:pPr>
            <a:r>
              <a:rPr lang="de-DE" sz="2000" b="0" strike="noStrike" spc="-1" dirty="0">
                <a:latin typeface="Arial" panose="020B0604020202020204" pitchFamily="34" charset="0"/>
                <a:cs typeface="Arial" panose="020B0604020202020204" pitchFamily="34" charset="0"/>
              </a:rPr>
              <a:t>den Basiswert</a:t>
            </a:r>
          </a:p>
        </p:txBody>
      </p:sp>
      <p:sp>
        <p:nvSpPr>
          <p:cNvPr id="13" name="Line 4">
            <a:extLst>
              <a:ext uri="{FF2B5EF4-FFF2-40B4-BE49-F238E27FC236}">
                <a16:creationId xmlns:a16="http://schemas.microsoft.com/office/drawing/2014/main" id="{54E548BF-EAF6-4299-9EA8-F81ED15DD266}"/>
              </a:ext>
            </a:extLst>
          </p:cNvPr>
          <p:cNvSpPr/>
          <p:nvPr/>
        </p:nvSpPr>
        <p:spPr>
          <a:xfrm flipV="1">
            <a:off x="8462360" y="165492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15" name="CustomShape 5">
            <a:extLst>
              <a:ext uri="{FF2B5EF4-FFF2-40B4-BE49-F238E27FC236}">
                <a16:creationId xmlns:a16="http://schemas.microsoft.com/office/drawing/2014/main" id="{928A8AC2-6B62-4CC6-88D8-4E55D5954665}"/>
              </a:ext>
            </a:extLst>
          </p:cNvPr>
          <p:cNvSpPr/>
          <p:nvPr/>
        </p:nvSpPr>
        <p:spPr>
          <a:xfrm>
            <a:off x="8462360" y="1989720"/>
            <a:ext cx="4127040" cy="156820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800" b="1" strike="noStrike" spc="-1">
                <a:latin typeface="Arial" panose="020B0604020202020204" pitchFamily="34" charset="0"/>
                <a:cs typeface="Arial" panose="020B0604020202020204" pitchFamily="34" charset="0"/>
              </a:rPr>
              <a:t>Anlageprodukte</a:t>
            </a:r>
            <a:endParaRPr lang="de-DE" sz="2800" b="0" strike="noStrike" spc="-1">
              <a:latin typeface="Arial" panose="020B0604020202020204" pitchFamily="34" charset="0"/>
              <a:cs typeface="Arial" panose="020B0604020202020204" pitchFamily="34" charset="0"/>
            </a:endParaRPr>
          </a:p>
          <a:p>
            <a:pPr>
              <a:lnSpc>
                <a:spcPct val="100000"/>
              </a:lnSpc>
            </a:pPr>
            <a:endParaRPr lang="de-DE" sz="2800" b="0" strike="noStrike" spc="-1">
              <a:latin typeface="Arial" panose="020B0604020202020204" pitchFamily="34" charset="0"/>
              <a:cs typeface="Arial" panose="020B0604020202020204" pitchFamily="34" charset="0"/>
            </a:endParaRPr>
          </a:p>
          <a:p>
            <a:pPr>
              <a:lnSpc>
                <a:spcPct val="100000"/>
              </a:lnSpc>
            </a:pPr>
            <a:r>
              <a:rPr lang="de-DE" sz="2000" b="0" strike="noStrike" spc="-1">
                <a:latin typeface="Arial" panose="020B0604020202020204" pitchFamily="34" charset="0"/>
                <a:cs typeface="Arial" panose="020B0604020202020204" pitchFamily="34" charset="0"/>
              </a:rPr>
              <a:t>Gewinne/ Verluste sind 1:1</a:t>
            </a:r>
          </a:p>
          <a:p>
            <a:pPr>
              <a:lnSpc>
                <a:spcPct val="100000"/>
              </a:lnSpc>
            </a:pPr>
            <a:r>
              <a:rPr lang="de-DE" sz="2000" b="0" strike="noStrike" spc="-1">
                <a:latin typeface="Arial" panose="020B0604020202020204" pitchFamily="34" charset="0"/>
                <a:cs typeface="Arial" panose="020B0604020202020204" pitchFamily="34" charset="0"/>
              </a:rPr>
              <a:t>an Basiswert gebunden</a:t>
            </a:r>
          </a:p>
        </p:txBody>
      </p:sp>
      <p:pic>
        <p:nvPicPr>
          <p:cNvPr id="17" name="Grafik 16">
            <a:extLst>
              <a:ext uri="{FF2B5EF4-FFF2-40B4-BE49-F238E27FC236}">
                <a16:creationId xmlns:a16="http://schemas.microsoft.com/office/drawing/2014/main" id="{69C4857B-EE16-4F7D-B7E9-57E554F99E56}"/>
              </a:ext>
            </a:extLst>
          </p:cNvPr>
          <p:cNvPicPr/>
          <p:nvPr/>
        </p:nvPicPr>
        <p:blipFill>
          <a:blip r:embed="rId4"/>
          <a:srcRect l="26103" t="-500" r="42601" b="500"/>
          <a:stretch/>
        </p:blipFill>
        <p:spPr>
          <a:xfrm>
            <a:off x="5877940" y="996840"/>
            <a:ext cx="2302560" cy="5280840"/>
          </a:xfrm>
          <a:prstGeom prst="rect">
            <a:avLst/>
          </a:prstGeom>
          <a:ln>
            <a:noFill/>
          </a:ln>
        </p:spPr>
      </p:pic>
    </p:spTree>
    <p:extLst>
      <p:ext uri="{BB962C8B-B14F-4D97-AF65-F5344CB8AC3E}">
        <p14:creationId xmlns:p14="http://schemas.microsoft.com/office/powerpoint/2010/main" val="304995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D9BD46A-F98D-4963-B00E-2609C4FE8D9E}"/>
              </a:ext>
            </a:extLst>
          </p:cNvPr>
          <p:cNvSpPr>
            <a:spLocks noGrp="1"/>
          </p:cNvSpPr>
          <p:nvPr>
            <p:ph type="sldNum" sz="quarter" idx="10"/>
          </p:nvPr>
        </p:nvSpPr>
        <p:spPr/>
        <p:txBody>
          <a:bodyPr/>
          <a:lstStyle/>
          <a:p>
            <a:fld id="{F966D7FF-EADB-4E92-9989-4DE4533DAC48}" type="slidenum">
              <a:rPr lang="de-DE" smtClean="0"/>
              <a:pPr/>
              <a:t>5</a:t>
            </a:fld>
            <a:endParaRPr lang="de-DE" dirty="0"/>
          </a:p>
        </p:txBody>
      </p:sp>
      <p:sp>
        <p:nvSpPr>
          <p:cNvPr id="3" name="Inhaltsplatzhalter 2">
            <a:extLst>
              <a:ext uri="{FF2B5EF4-FFF2-40B4-BE49-F238E27FC236}">
                <a16:creationId xmlns:a16="http://schemas.microsoft.com/office/drawing/2014/main" id="{49DAB326-F57F-4799-87DF-B5D83512853E}"/>
              </a:ext>
            </a:extLst>
          </p:cNvPr>
          <p:cNvSpPr>
            <a:spLocks noGrp="1"/>
          </p:cNvSpPr>
          <p:nvPr>
            <p:ph idx="11"/>
          </p:nvPr>
        </p:nvSpPr>
        <p:spPr/>
        <p:txBody>
          <a:bodyPr/>
          <a:lstStyle/>
          <a:p>
            <a:r>
              <a:rPr lang="de-DE" dirty="0"/>
              <a:t>Was ist ein Derivat?</a:t>
            </a:r>
          </a:p>
        </p:txBody>
      </p:sp>
      <p:sp>
        <p:nvSpPr>
          <p:cNvPr id="5" name="Inhaltsplatzhalter 4">
            <a:extLst>
              <a:ext uri="{FF2B5EF4-FFF2-40B4-BE49-F238E27FC236}">
                <a16:creationId xmlns:a16="http://schemas.microsoft.com/office/drawing/2014/main" id="{877B4246-6B80-4502-BC4D-E92133571C12}"/>
              </a:ext>
            </a:extLst>
          </p:cNvPr>
          <p:cNvSpPr>
            <a:spLocks noGrp="1"/>
          </p:cNvSpPr>
          <p:nvPr>
            <p:ph idx="12"/>
          </p:nvPr>
        </p:nvSpPr>
        <p:spPr/>
        <p:txBody>
          <a:bodyPr/>
          <a:lstStyle/>
          <a:p>
            <a:r>
              <a:rPr lang="de-DE" dirty="0"/>
              <a:t>Derivate sind </a:t>
            </a:r>
            <a:r>
              <a:rPr lang="de-DE" sz="1800" dirty="0"/>
              <a:t>Finanzprodukte, die von marktbezogenen Referenzgrößen abgeleitet sind (</a:t>
            </a:r>
            <a:r>
              <a:rPr lang="de-DE" sz="1800" dirty="0">
                <a:solidFill>
                  <a:srgbClr val="002060"/>
                </a:solidFill>
              </a:rPr>
              <a:t>„</a:t>
            </a:r>
            <a:r>
              <a:rPr lang="de-DE" sz="1800" dirty="0" err="1">
                <a:solidFill>
                  <a:srgbClr val="002060"/>
                </a:solidFill>
              </a:rPr>
              <a:t>derivare</a:t>
            </a:r>
            <a:r>
              <a:rPr lang="de-DE" sz="1800" dirty="0">
                <a:solidFill>
                  <a:srgbClr val="002060"/>
                </a:solidFill>
              </a:rPr>
              <a:t>“ (lat.) &lt;-&gt; ableiten)</a:t>
            </a:r>
            <a:endParaRPr lang="de-DE" dirty="0"/>
          </a:p>
        </p:txBody>
      </p:sp>
      <p:grpSp>
        <p:nvGrpSpPr>
          <p:cNvPr id="13" name="Gruppieren 12">
            <a:extLst>
              <a:ext uri="{FF2B5EF4-FFF2-40B4-BE49-F238E27FC236}">
                <a16:creationId xmlns:a16="http://schemas.microsoft.com/office/drawing/2014/main" id="{8EB8044C-DB28-46F2-B73C-F85BD91D5FDD}"/>
              </a:ext>
            </a:extLst>
          </p:cNvPr>
          <p:cNvGrpSpPr/>
          <p:nvPr/>
        </p:nvGrpSpPr>
        <p:grpSpPr>
          <a:xfrm>
            <a:off x="1369995" y="1557530"/>
            <a:ext cx="9452009" cy="4310739"/>
            <a:chOff x="587632" y="1635646"/>
            <a:chExt cx="8039248" cy="2928237"/>
          </a:xfrm>
        </p:grpSpPr>
        <p:sp>
          <p:nvSpPr>
            <p:cNvPr id="6" name="Ellipse 5">
              <a:extLst>
                <a:ext uri="{FF2B5EF4-FFF2-40B4-BE49-F238E27FC236}">
                  <a16:creationId xmlns:a16="http://schemas.microsoft.com/office/drawing/2014/main" id="{41F5875D-B3F9-4307-A272-DD8AA752FCCA}"/>
                </a:ext>
              </a:extLst>
            </p:cNvPr>
            <p:cNvSpPr/>
            <p:nvPr/>
          </p:nvSpPr>
          <p:spPr>
            <a:xfrm>
              <a:off x="3755411" y="1635646"/>
              <a:ext cx="1828890" cy="117583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4057" tIns="37029" rIns="74057" bIns="37029" rtlCol="0" anchor="ctr"/>
            <a:lstStyle/>
            <a:p>
              <a:pPr algn="ctr"/>
              <a:r>
                <a:rPr lang="de-DE" sz="1600"/>
                <a:t>Derivate</a:t>
              </a:r>
            </a:p>
          </p:txBody>
        </p:sp>
        <p:sp>
          <p:nvSpPr>
            <p:cNvPr id="7" name="Ellipse 6">
              <a:extLst>
                <a:ext uri="{FF2B5EF4-FFF2-40B4-BE49-F238E27FC236}">
                  <a16:creationId xmlns:a16="http://schemas.microsoft.com/office/drawing/2014/main" id="{3EC3EACE-04EF-4295-AD7A-404A325D34F6}"/>
                </a:ext>
              </a:extLst>
            </p:cNvPr>
            <p:cNvSpPr/>
            <p:nvPr/>
          </p:nvSpPr>
          <p:spPr>
            <a:xfrm>
              <a:off x="587632" y="3272526"/>
              <a:ext cx="1828890" cy="117583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4057" tIns="37029" rIns="74057" bIns="37029" rtlCol="0" anchor="ctr"/>
            <a:lstStyle/>
            <a:p>
              <a:pPr algn="ctr"/>
              <a:r>
                <a:rPr lang="de-DE" sz="1600" dirty="0"/>
                <a:t>Forwards / Futures</a:t>
              </a:r>
            </a:p>
          </p:txBody>
        </p:sp>
        <p:sp>
          <p:nvSpPr>
            <p:cNvPr id="8" name="Ellipse 7">
              <a:extLst>
                <a:ext uri="{FF2B5EF4-FFF2-40B4-BE49-F238E27FC236}">
                  <a16:creationId xmlns:a16="http://schemas.microsoft.com/office/drawing/2014/main" id="{0B8F204A-D0A9-4A78-AE3D-AAD07C466520}"/>
                </a:ext>
              </a:extLst>
            </p:cNvPr>
            <p:cNvSpPr/>
            <p:nvPr/>
          </p:nvSpPr>
          <p:spPr>
            <a:xfrm>
              <a:off x="3784595" y="3388045"/>
              <a:ext cx="1828890" cy="117583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4057" tIns="37029" rIns="74057" bIns="37029" rtlCol="0" anchor="ctr"/>
            <a:lstStyle/>
            <a:p>
              <a:pPr algn="ctr"/>
              <a:r>
                <a:rPr lang="de-DE" sz="1600"/>
                <a:t>Optionen</a:t>
              </a:r>
            </a:p>
          </p:txBody>
        </p:sp>
        <p:sp>
          <p:nvSpPr>
            <p:cNvPr id="9" name="Ellipse 8">
              <a:extLst>
                <a:ext uri="{FF2B5EF4-FFF2-40B4-BE49-F238E27FC236}">
                  <a16:creationId xmlns:a16="http://schemas.microsoft.com/office/drawing/2014/main" id="{E8D9D0FC-C092-4C6A-BCF5-FA6194905F6B}"/>
                </a:ext>
              </a:extLst>
            </p:cNvPr>
            <p:cNvSpPr/>
            <p:nvPr/>
          </p:nvSpPr>
          <p:spPr>
            <a:xfrm>
              <a:off x="6797990" y="3272526"/>
              <a:ext cx="1828890" cy="117583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4057" tIns="37029" rIns="74057" bIns="37029" rtlCol="0" anchor="ctr"/>
            <a:lstStyle/>
            <a:p>
              <a:pPr algn="ctr"/>
              <a:r>
                <a:rPr lang="de-DE" sz="1600"/>
                <a:t>Zertifikate</a:t>
              </a:r>
            </a:p>
          </p:txBody>
        </p:sp>
        <p:cxnSp>
          <p:nvCxnSpPr>
            <p:cNvPr id="10" name="Gerade Verbindung mit Pfeil 9">
              <a:extLst>
                <a:ext uri="{FF2B5EF4-FFF2-40B4-BE49-F238E27FC236}">
                  <a16:creationId xmlns:a16="http://schemas.microsoft.com/office/drawing/2014/main" id="{1EBC5B50-FF66-438A-A2D6-EB2FDF06C811}"/>
                </a:ext>
              </a:extLst>
            </p:cNvPr>
            <p:cNvCxnSpPr/>
            <p:nvPr/>
          </p:nvCxnSpPr>
          <p:spPr>
            <a:xfrm flipH="1">
              <a:off x="2220570" y="2555160"/>
              <a:ext cx="1533513" cy="832885"/>
            </a:xfrm>
            <a:prstGeom prst="straightConnector1">
              <a:avLst/>
            </a:prstGeom>
            <a:ln w="38100">
              <a:solidFill>
                <a:srgbClr val="193052"/>
              </a:solidFill>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4187E06B-BD99-483F-83FD-CBE00333CA79}"/>
                </a:ext>
              </a:extLst>
            </p:cNvPr>
            <p:cNvCxnSpPr/>
            <p:nvPr/>
          </p:nvCxnSpPr>
          <p:spPr>
            <a:xfrm>
              <a:off x="4699040" y="2873616"/>
              <a:ext cx="0" cy="416443"/>
            </a:xfrm>
            <a:prstGeom prst="straightConnector1">
              <a:avLst/>
            </a:prstGeom>
            <a:ln w="38100">
              <a:solidFill>
                <a:srgbClr val="193052"/>
              </a:solidFill>
              <a:tailEnd type="arrow"/>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50E8AA7D-7B42-4845-9E7E-5371F8EBF381}"/>
                </a:ext>
              </a:extLst>
            </p:cNvPr>
            <p:cNvCxnSpPr/>
            <p:nvPr/>
          </p:nvCxnSpPr>
          <p:spPr>
            <a:xfrm>
              <a:off x="5584301" y="2457174"/>
              <a:ext cx="1600398" cy="832885"/>
            </a:xfrm>
            <a:prstGeom prst="straightConnector1">
              <a:avLst/>
            </a:prstGeom>
            <a:ln w="38100">
              <a:solidFill>
                <a:srgbClr val="193052"/>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11063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B8F24E7-4BE1-4E8B-A8D9-945A97C4AEEA}"/>
              </a:ext>
            </a:extLst>
          </p:cNvPr>
          <p:cNvSpPr>
            <a:spLocks noGrp="1"/>
          </p:cNvSpPr>
          <p:nvPr>
            <p:ph type="sldNum" sz="quarter" idx="10"/>
          </p:nvPr>
        </p:nvSpPr>
        <p:spPr/>
        <p:txBody>
          <a:bodyPr/>
          <a:lstStyle/>
          <a:p>
            <a:fld id="{F966D7FF-EADB-4E92-9989-4DE4533DAC48}" type="slidenum">
              <a:rPr lang="de-DE" smtClean="0"/>
              <a:pPr/>
              <a:t>50</a:t>
            </a:fld>
            <a:endParaRPr lang="de-DE" dirty="0"/>
          </a:p>
        </p:txBody>
      </p:sp>
      <p:sp>
        <p:nvSpPr>
          <p:cNvPr id="3" name="Inhaltsplatzhalter 2">
            <a:extLst>
              <a:ext uri="{FF2B5EF4-FFF2-40B4-BE49-F238E27FC236}">
                <a16:creationId xmlns:a16="http://schemas.microsoft.com/office/drawing/2014/main" id="{9E390483-7357-45E2-9B00-2A534567A394}"/>
              </a:ext>
            </a:extLst>
          </p:cNvPr>
          <p:cNvSpPr>
            <a:spLocks noGrp="1"/>
          </p:cNvSpPr>
          <p:nvPr>
            <p:ph idx="11"/>
          </p:nvPr>
        </p:nvSpPr>
        <p:spPr/>
        <p:txBody>
          <a:bodyPr/>
          <a:lstStyle/>
          <a:p>
            <a:r>
              <a:rPr lang="de-DE" dirty="0"/>
              <a:t>Garantiezertifikate</a:t>
            </a:r>
          </a:p>
        </p:txBody>
      </p:sp>
      <p:sp>
        <p:nvSpPr>
          <p:cNvPr id="5" name="Inhaltsplatzhalter 4">
            <a:extLst>
              <a:ext uri="{FF2B5EF4-FFF2-40B4-BE49-F238E27FC236}">
                <a16:creationId xmlns:a16="http://schemas.microsoft.com/office/drawing/2014/main" id="{462CC0B9-AD65-4CC7-BB62-AB0A9A566973}"/>
              </a:ext>
            </a:extLst>
          </p:cNvPr>
          <p:cNvSpPr>
            <a:spLocks noGrp="1"/>
          </p:cNvSpPr>
          <p:nvPr>
            <p:ph idx="12"/>
          </p:nvPr>
        </p:nvSpPr>
        <p:spPr/>
        <p:txBody>
          <a:bodyPr/>
          <a:lstStyle/>
          <a:p>
            <a:r>
              <a:rPr lang="de-DE" dirty="0"/>
              <a:t>Garantiezertifikate partizipieren an Indizes und garantieren bei Laufzeitende eine Mindestzahlung</a:t>
            </a:r>
          </a:p>
        </p:txBody>
      </p:sp>
      <p:grpSp>
        <p:nvGrpSpPr>
          <p:cNvPr id="52" name="Gruppieren 51">
            <a:extLst>
              <a:ext uri="{FF2B5EF4-FFF2-40B4-BE49-F238E27FC236}">
                <a16:creationId xmlns:a16="http://schemas.microsoft.com/office/drawing/2014/main" id="{11DFB617-7A51-47AA-9234-CE9324E1B067}"/>
              </a:ext>
            </a:extLst>
          </p:cNvPr>
          <p:cNvGrpSpPr/>
          <p:nvPr/>
        </p:nvGrpSpPr>
        <p:grpSpPr>
          <a:xfrm>
            <a:off x="578047" y="1510592"/>
            <a:ext cx="11279520" cy="3836815"/>
            <a:chOff x="912240" y="1291320"/>
            <a:chExt cx="11279520" cy="3836815"/>
          </a:xfrm>
        </p:grpSpPr>
        <p:sp>
          <p:nvSpPr>
            <p:cNvPr id="7" name="Line 2">
              <a:extLst>
                <a:ext uri="{FF2B5EF4-FFF2-40B4-BE49-F238E27FC236}">
                  <a16:creationId xmlns:a16="http://schemas.microsoft.com/office/drawing/2014/main" id="{86181636-BB06-48D3-AE09-6CE5831B4362}"/>
                </a:ext>
              </a:extLst>
            </p:cNvPr>
            <p:cNvSpPr/>
            <p:nvPr/>
          </p:nvSpPr>
          <p:spPr>
            <a:xfrm flipV="1">
              <a:off x="912240" y="251856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9" name="CustomShape 3">
              <a:extLst>
                <a:ext uri="{FF2B5EF4-FFF2-40B4-BE49-F238E27FC236}">
                  <a16:creationId xmlns:a16="http://schemas.microsoft.com/office/drawing/2014/main" id="{D81B361A-52F4-4194-AED3-A421620B3B1C}"/>
                </a:ext>
              </a:extLst>
            </p:cNvPr>
            <p:cNvSpPr/>
            <p:nvPr/>
          </p:nvSpPr>
          <p:spPr>
            <a:xfrm>
              <a:off x="912240" y="2853360"/>
              <a:ext cx="4127040" cy="177595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solidFill>
                    <a:sysClr val="windowText" lastClr="000000"/>
                  </a:solidFill>
                  <a:latin typeface="Arial" panose="020B0604020202020204" pitchFamily="34" charset="0"/>
                  <a:cs typeface="Arial" panose="020B0604020202020204" pitchFamily="34" charset="0"/>
                </a:rPr>
                <a:t>Garantiezertifikate</a:t>
              </a:r>
              <a:endParaRPr lang="de-DE" sz="2670" b="0" strike="noStrike" spc="-1" dirty="0">
                <a:solidFill>
                  <a:sysClr val="windowText" lastClr="000000"/>
                </a:solidFill>
                <a:latin typeface="Arial" panose="020B0604020202020204" pitchFamily="34" charset="0"/>
                <a:cs typeface="Arial" panose="020B0604020202020204" pitchFamily="34" charset="0"/>
              </a:endParaRPr>
            </a:p>
            <a:p>
              <a:pPr>
                <a:lnSpc>
                  <a:spcPct val="100000"/>
                </a:lnSpc>
              </a:pPr>
              <a:endParaRPr lang="de-DE" sz="2670" b="0" strike="noStrike" spc="-1" dirty="0">
                <a:solidFill>
                  <a:sysClr val="windowText" lastClr="000000"/>
                </a:solidFill>
                <a:latin typeface="Arial" panose="020B0604020202020204" pitchFamily="34" charset="0"/>
                <a:cs typeface="Arial" panose="020B0604020202020204" pitchFamily="34" charset="0"/>
              </a:endParaRPr>
            </a:p>
            <a:p>
              <a:pPr>
                <a:lnSpc>
                  <a:spcPct val="100000"/>
                </a:lnSpc>
              </a:pPr>
              <a:r>
                <a:rPr lang="de-DE" sz="1870" b="0" strike="noStrike" spc="-1" dirty="0">
                  <a:solidFill>
                    <a:sysClr val="windowText" lastClr="000000"/>
                  </a:solidFill>
                  <a:latin typeface="Arial" panose="020B0604020202020204" pitchFamily="34" charset="0"/>
                  <a:cs typeface="Arial" panose="020B0604020202020204" pitchFamily="34" charset="0"/>
                </a:rPr>
                <a:t>Partizipieren an Indizes und garantieren bei Laufzeitende eine Mindestzahlung</a:t>
              </a:r>
            </a:p>
          </p:txBody>
        </p:sp>
        <p:sp>
          <p:nvSpPr>
            <p:cNvPr id="11" name="CustomShape 6">
              <a:extLst>
                <a:ext uri="{FF2B5EF4-FFF2-40B4-BE49-F238E27FC236}">
                  <a16:creationId xmlns:a16="http://schemas.microsoft.com/office/drawing/2014/main" id="{55CCED5D-680D-4D09-B576-96284B195BD2}"/>
                </a:ext>
              </a:extLst>
            </p:cNvPr>
            <p:cNvSpPr/>
            <p:nvPr/>
          </p:nvSpPr>
          <p:spPr>
            <a:xfrm>
              <a:off x="5520240" y="1291320"/>
              <a:ext cx="95832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Pay-Off</a:t>
              </a:r>
            </a:p>
          </p:txBody>
        </p:sp>
        <p:sp>
          <p:nvSpPr>
            <p:cNvPr id="13" name="CustomShape 7">
              <a:extLst>
                <a:ext uri="{FF2B5EF4-FFF2-40B4-BE49-F238E27FC236}">
                  <a16:creationId xmlns:a16="http://schemas.microsoft.com/office/drawing/2014/main" id="{391E817F-6B8A-4014-A8AF-4FCB6F63FDF3}"/>
                </a:ext>
              </a:extLst>
            </p:cNvPr>
            <p:cNvSpPr/>
            <p:nvPr/>
          </p:nvSpPr>
          <p:spPr>
            <a:xfrm>
              <a:off x="10655280" y="3786840"/>
              <a:ext cx="153648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Kurs des Basiswertes</a:t>
              </a:r>
            </a:p>
          </p:txBody>
        </p:sp>
        <p:sp>
          <p:nvSpPr>
            <p:cNvPr id="15" name="CustomShape 8">
              <a:extLst>
                <a:ext uri="{FF2B5EF4-FFF2-40B4-BE49-F238E27FC236}">
                  <a16:creationId xmlns:a16="http://schemas.microsoft.com/office/drawing/2014/main" id="{91098BEA-F7EF-441B-8AF2-33BD5A5AB292}"/>
                </a:ext>
              </a:extLst>
            </p:cNvPr>
            <p:cNvSpPr/>
            <p:nvPr/>
          </p:nvSpPr>
          <p:spPr>
            <a:xfrm>
              <a:off x="7598880" y="3786840"/>
              <a:ext cx="1665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solidFill>
                    <a:sysClr val="windowText" lastClr="000000"/>
                  </a:solidFill>
                  <a:latin typeface="Arial" panose="020B0604020202020204" pitchFamily="34" charset="0"/>
                  <a:cs typeface="Arial" panose="020B0604020202020204" pitchFamily="34" charset="0"/>
                </a:rPr>
                <a:t>100%</a:t>
              </a:r>
            </a:p>
          </p:txBody>
        </p:sp>
        <p:sp>
          <p:nvSpPr>
            <p:cNvPr id="17" name="CustomShape 9">
              <a:extLst>
                <a:ext uri="{FF2B5EF4-FFF2-40B4-BE49-F238E27FC236}">
                  <a16:creationId xmlns:a16="http://schemas.microsoft.com/office/drawing/2014/main" id="{61BDF382-2DEB-44AD-A3DF-E418206760D1}"/>
                </a:ext>
              </a:extLst>
            </p:cNvPr>
            <p:cNvSpPr/>
            <p:nvPr/>
          </p:nvSpPr>
          <p:spPr>
            <a:xfrm>
              <a:off x="8879400" y="3786840"/>
              <a:ext cx="1098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solidFill>
                    <a:sysClr val="windowText" lastClr="000000"/>
                  </a:solidFill>
                  <a:latin typeface="Arial" panose="020B0604020202020204" pitchFamily="34" charset="0"/>
                  <a:cs typeface="Arial" panose="020B0604020202020204" pitchFamily="34" charset="0"/>
                </a:rPr>
                <a:t>120%</a:t>
              </a:r>
            </a:p>
          </p:txBody>
        </p:sp>
        <p:sp>
          <p:nvSpPr>
            <p:cNvPr id="19" name="CustomShape 10">
              <a:extLst>
                <a:ext uri="{FF2B5EF4-FFF2-40B4-BE49-F238E27FC236}">
                  <a16:creationId xmlns:a16="http://schemas.microsoft.com/office/drawing/2014/main" id="{22969844-F437-4F2B-A9C9-95EF243EAACD}"/>
                </a:ext>
              </a:extLst>
            </p:cNvPr>
            <p:cNvSpPr/>
            <p:nvPr/>
          </p:nvSpPr>
          <p:spPr>
            <a:xfrm>
              <a:off x="9840240" y="3786840"/>
              <a:ext cx="109620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solidFill>
                    <a:sysClr val="windowText" lastClr="000000"/>
                  </a:solidFill>
                  <a:latin typeface="Arial" panose="020B0604020202020204" pitchFamily="34" charset="0"/>
                  <a:cs typeface="Arial" panose="020B0604020202020204" pitchFamily="34" charset="0"/>
                </a:rPr>
                <a:t>140%</a:t>
              </a:r>
            </a:p>
          </p:txBody>
        </p:sp>
        <p:sp>
          <p:nvSpPr>
            <p:cNvPr id="21" name="CustomShape 11">
              <a:extLst>
                <a:ext uri="{FF2B5EF4-FFF2-40B4-BE49-F238E27FC236}">
                  <a16:creationId xmlns:a16="http://schemas.microsoft.com/office/drawing/2014/main" id="{5BDFF984-090D-4A95-9124-831F1C9AE21D}"/>
                </a:ext>
              </a:extLst>
            </p:cNvPr>
            <p:cNvSpPr/>
            <p:nvPr/>
          </p:nvSpPr>
          <p:spPr>
            <a:xfrm>
              <a:off x="6671880" y="3786840"/>
              <a:ext cx="149832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solidFill>
                    <a:sysClr val="windowText" lastClr="000000"/>
                  </a:solidFill>
                  <a:latin typeface="Arial" panose="020B0604020202020204" pitchFamily="34" charset="0"/>
                  <a:cs typeface="Arial" panose="020B0604020202020204" pitchFamily="34" charset="0"/>
                </a:rPr>
                <a:t>80%</a:t>
              </a:r>
            </a:p>
          </p:txBody>
        </p:sp>
        <p:sp>
          <p:nvSpPr>
            <p:cNvPr id="23" name="CustomShape 12">
              <a:extLst>
                <a:ext uri="{FF2B5EF4-FFF2-40B4-BE49-F238E27FC236}">
                  <a16:creationId xmlns:a16="http://schemas.microsoft.com/office/drawing/2014/main" id="{C462C8AC-AC27-457F-BC59-AF6652A372DB}"/>
                </a:ext>
              </a:extLst>
            </p:cNvPr>
            <p:cNvSpPr/>
            <p:nvPr/>
          </p:nvSpPr>
          <p:spPr>
            <a:xfrm>
              <a:off x="5708520" y="3786840"/>
              <a:ext cx="153828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solidFill>
                    <a:sysClr val="windowText" lastClr="000000"/>
                  </a:solidFill>
                  <a:latin typeface="Arial" panose="020B0604020202020204" pitchFamily="34" charset="0"/>
                  <a:cs typeface="Arial" panose="020B0604020202020204" pitchFamily="34" charset="0"/>
                </a:rPr>
                <a:t>60%</a:t>
              </a:r>
            </a:p>
          </p:txBody>
        </p:sp>
        <p:sp>
          <p:nvSpPr>
            <p:cNvPr id="25" name="CustomShape 13">
              <a:extLst>
                <a:ext uri="{FF2B5EF4-FFF2-40B4-BE49-F238E27FC236}">
                  <a16:creationId xmlns:a16="http://schemas.microsoft.com/office/drawing/2014/main" id="{6CD67990-BA58-4443-9C6C-282C93D1C100}"/>
                </a:ext>
              </a:extLst>
            </p:cNvPr>
            <p:cNvSpPr/>
            <p:nvPr/>
          </p:nvSpPr>
          <p:spPr>
            <a:xfrm>
              <a:off x="5334120" y="33930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solidFill>
                    <a:sysClr val="windowText" lastClr="000000"/>
                  </a:solidFill>
                  <a:latin typeface="Arial" panose="020B0604020202020204" pitchFamily="34" charset="0"/>
                  <a:cs typeface="Arial" panose="020B0604020202020204" pitchFamily="34" charset="0"/>
                </a:rPr>
                <a:t>   0%</a:t>
              </a:r>
            </a:p>
          </p:txBody>
        </p:sp>
        <p:sp>
          <p:nvSpPr>
            <p:cNvPr id="27" name="CustomShape 14">
              <a:extLst>
                <a:ext uri="{FF2B5EF4-FFF2-40B4-BE49-F238E27FC236}">
                  <a16:creationId xmlns:a16="http://schemas.microsoft.com/office/drawing/2014/main" id="{C40D5496-3916-4276-A5B8-A450960242C8}"/>
                </a:ext>
              </a:extLst>
            </p:cNvPr>
            <p:cNvSpPr/>
            <p:nvPr/>
          </p:nvSpPr>
          <p:spPr>
            <a:xfrm>
              <a:off x="5334120" y="4100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solidFill>
                    <a:sysClr val="windowText" lastClr="000000"/>
                  </a:solidFill>
                  <a:latin typeface="Arial" panose="020B0604020202020204" pitchFamily="34" charset="0"/>
                  <a:cs typeface="Arial" panose="020B0604020202020204" pitchFamily="34" charset="0"/>
                </a:rPr>
                <a:t>-20%</a:t>
              </a:r>
            </a:p>
          </p:txBody>
        </p:sp>
        <p:sp>
          <p:nvSpPr>
            <p:cNvPr id="29" name="CustomShape 15">
              <a:extLst>
                <a:ext uri="{FF2B5EF4-FFF2-40B4-BE49-F238E27FC236}">
                  <a16:creationId xmlns:a16="http://schemas.microsoft.com/office/drawing/2014/main" id="{3F630AC9-60E9-49C1-A883-9184F369C095}"/>
                </a:ext>
              </a:extLst>
            </p:cNvPr>
            <p:cNvSpPr/>
            <p:nvPr/>
          </p:nvSpPr>
          <p:spPr>
            <a:xfrm>
              <a:off x="5334120" y="4811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solidFill>
                    <a:sysClr val="windowText" lastClr="000000"/>
                  </a:solidFill>
                  <a:latin typeface="Arial" panose="020B0604020202020204" pitchFamily="34" charset="0"/>
                  <a:cs typeface="Arial" panose="020B0604020202020204" pitchFamily="34" charset="0"/>
                </a:rPr>
                <a:t>-40%</a:t>
              </a:r>
            </a:p>
          </p:txBody>
        </p:sp>
        <p:sp>
          <p:nvSpPr>
            <p:cNvPr id="31" name="CustomShape 16">
              <a:extLst>
                <a:ext uri="{FF2B5EF4-FFF2-40B4-BE49-F238E27FC236}">
                  <a16:creationId xmlns:a16="http://schemas.microsoft.com/office/drawing/2014/main" id="{34117B56-3EA7-4B7C-9134-F1FC0B1A17E9}"/>
                </a:ext>
              </a:extLst>
            </p:cNvPr>
            <p:cNvSpPr/>
            <p:nvPr/>
          </p:nvSpPr>
          <p:spPr>
            <a:xfrm>
              <a:off x="5334120" y="26838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solidFill>
                    <a:sysClr val="windowText" lastClr="000000"/>
                  </a:solidFill>
                  <a:latin typeface="Arial" panose="020B0604020202020204" pitchFamily="34" charset="0"/>
                  <a:cs typeface="Arial" panose="020B0604020202020204" pitchFamily="34" charset="0"/>
                </a:rPr>
                <a:t> 20%</a:t>
              </a:r>
            </a:p>
          </p:txBody>
        </p:sp>
        <p:sp>
          <p:nvSpPr>
            <p:cNvPr id="33" name="CustomShape 17">
              <a:extLst>
                <a:ext uri="{FF2B5EF4-FFF2-40B4-BE49-F238E27FC236}">
                  <a16:creationId xmlns:a16="http://schemas.microsoft.com/office/drawing/2014/main" id="{AC3A9134-9DA9-4A9C-BFD3-BB5C20EED255}"/>
                </a:ext>
              </a:extLst>
            </p:cNvPr>
            <p:cNvSpPr/>
            <p:nvPr/>
          </p:nvSpPr>
          <p:spPr>
            <a:xfrm>
              <a:off x="5334120" y="197496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solidFill>
                    <a:sysClr val="windowText" lastClr="000000"/>
                  </a:solidFill>
                  <a:latin typeface="Arial" panose="020B0604020202020204" pitchFamily="34" charset="0"/>
                  <a:cs typeface="Arial" panose="020B0604020202020204" pitchFamily="34" charset="0"/>
                </a:rPr>
                <a:t> 40%</a:t>
              </a:r>
            </a:p>
          </p:txBody>
        </p:sp>
        <p:sp>
          <p:nvSpPr>
            <p:cNvPr id="35" name="Line 18">
              <a:extLst>
                <a:ext uri="{FF2B5EF4-FFF2-40B4-BE49-F238E27FC236}">
                  <a16:creationId xmlns:a16="http://schemas.microsoft.com/office/drawing/2014/main" id="{DE86F4CF-B594-4DA8-BFB9-B6FE47833125}"/>
                </a:ext>
              </a:extLst>
            </p:cNvPr>
            <p:cNvSpPr/>
            <p:nvPr/>
          </p:nvSpPr>
          <p:spPr>
            <a:xfrm>
              <a:off x="6476760" y="3621600"/>
              <a:ext cx="108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37" name="Line 19">
              <a:extLst>
                <a:ext uri="{FF2B5EF4-FFF2-40B4-BE49-F238E27FC236}">
                  <a16:creationId xmlns:a16="http://schemas.microsoft.com/office/drawing/2014/main" id="{CCFCE7E1-EA99-4858-8F1D-BECBC8F90AE0}"/>
                </a:ext>
              </a:extLst>
            </p:cNvPr>
            <p:cNvSpPr/>
            <p:nvPr/>
          </p:nvSpPr>
          <p:spPr>
            <a:xfrm>
              <a:off x="74206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39" name="Line 20">
              <a:extLst>
                <a:ext uri="{FF2B5EF4-FFF2-40B4-BE49-F238E27FC236}">
                  <a16:creationId xmlns:a16="http://schemas.microsoft.com/office/drawing/2014/main" id="{06F2F008-2F7A-471C-94D5-3A97DBA67B52}"/>
                </a:ext>
              </a:extLst>
            </p:cNvPr>
            <p:cNvSpPr/>
            <p:nvPr/>
          </p:nvSpPr>
          <p:spPr>
            <a:xfrm>
              <a:off x="84304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41" name="Line 21">
              <a:extLst>
                <a:ext uri="{FF2B5EF4-FFF2-40B4-BE49-F238E27FC236}">
                  <a16:creationId xmlns:a16="http://schemas.microsoft.com/office/drawing/2014/main" id="{E5F0D8BB-22B6-4503-9A6B-BC32CBEC7E2A}"/>
                </a:ext>
              </a:extLst>
            </p:cNvPr>
            <p:cNvSpPr/>
            <p:nvPr/>
          </p:nvSpPr>
          <p:spPr>
            <a:xfrm>
              <a:off x="938736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43" name="Line 22">
              <a:extLst>
                <a:ext uri="{FF2B5EF4-FFF2-40B4-BE49-F238E27FC236}">
                  <a16:creationId xmlns:a16="http://schemas.microsoft.com/office/drawing/2014/main" id="{4F778F0F-9CE8-48B8-BD82-3BD7C1C3A4C7}"/>
                </a:ext>
              </a:extLst>
            </p:cNvPr>
            <p:cNvSpPr/>
            <p:nvPr/>
          </p:nvSpPr>
          <p:spPr>
            <a:xfrm>
              <a:off x="1039464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45" name="Line 23">
              <a:extLst>
                <a:ext uri="{FF2B5EF4-FFF2-40B4-BE49-F238E27FC236}">
                  <a16:creationId xmlns:a16="http://schemas.microsoft.com/office/drawing/2014/main" id="{C732B726-F208-4555-A1C1-CC94788DE233}"/>
                </a:ext>
              </a:extLst>
            </p:cNvPr>
            <p:cNvSpPr/>
            <p:nvPr/>
          </p:nvSpPr>
          <p:spPr>
            <a:xfrm flipV="1">
              <a:off x="6430320" y="2061360"/>
              <a:ext cx="4658760" cy="2749680"/>
            </a:xfrm>
            <a:prstGeom prst="line">
              <a:avLst/>
            </a:prstGeom>
            <a:ln w="38160">
              <a:solidFill>
                <a:schemeClr val="accent4"/>
              </a:solidFill>
              <a:prstDash val="dash"/>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47" name="Line 24">
              <a:extLst>
                <a:ext uri="{FF2B5EF4-FFF2-40B4-BE49-F238E27FC236}">
                  <a16:creationId xmlns:a16="http://schemas.microsoft.com/office/drawing/2014/main" id="{0E6B6F97-3F40-4FB2-80E8-8E5074577FF5}"/>
                </a:ext>
              </a:extLst>
            </p:cNvPr>
            <p:cNvSpPr/>
            <p:nvPr/>
          </p:nvSpPr>
          <p:spPr>
            <a:xfrm flipV="1">
              <a:off x="8430480" y="2683800"/>
              <a:ext cx="2993040" cy="937800"/>
            </a:xfrm>
            <a:prstGeom prst="line">
              <a:avLst/>
            </a:prstGeom>
            <a:ln w="19080"/>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49" name="CustomShape 25">
              <a:extLst>
                <a:ext uri="{FF2B5EF4-FFF2-40B4-BE49-F238E27FC236}">
                  <a16:creationId xmlns:a16="http://schemas.microsoft.com/office/drawing/2014/main" id="{B2CD3E28-E450-42B5-A82B-1AC4B9F1BC78}"/>
                </a:ext>
              </a:extLst>
            </p:cNvPr>
            <p:cNvSpPr/>
            <p:nvPr/>
          </p:nvSpPr>
          <p:spPr>
            <a:xfrm>
              <a:off x="9493920" y="1689120"/>
              <a:ext cx="1238586" cy="460211"/>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Basiswer</a:t>
              </a:r>
              <a:r>
                <a:rPr lang="de-DE" sz="2400" b="0" strike="noStrike" spc="-1">
                  <a:solidFill>
                    <a:sysClr val="windowText" lastClr="000000"/>
                  </a:solidFill>
                  <a:latin typeface="Arial" panose="020B0604020202020204" pitchFamily="34" charset="0"/>
                  <a:cs typeface="Arial" panose="020B0604020202020204" pitchFamily="34" charset="0"/>
                </a:rPr>
                <a:t>t</a:t>
              </a:r>
            </a:p>
          </p:txBody>
        </p:sp>
        <p:sp>
          <p:nvSpPr>
            <p:cNvPr id="51" name="CustomShape 26">
              <a:extLst>
                <a:ext uri="{FF2B5EF4-FFF2-40B4-BE49-F238E27FC236}">
                  <a16:creationId xmlns:a16="http://schemas.microsoft.com/office/drawing/2014/main" id="{E248E2F9-1E08-43DC-826C-57A0783DE0AB}"/>
                </a:ext>
              </a:extLst>
            </p:cNvPr>
            <p:cNvSpPr/>
            <p:nvPr/>
          </p:nvSpPr>
          <p:spPr>
            <a:xfrm>
              <a:off x="10242720" y="2925360"/>
              <a:ext cx="1619587" cy="666421"/>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Garantie des </a:t>
              </a:r>
            </a:p>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Zertifikats</a:t>
              </a:r>
            </a:p>
          </p:txBody>
        </p:sp>
      </p:grpSp>
    </p:spTree>
    <p:extLst>
      <p:ext uri="{BB962C8B-B14F-4D97-AF65-F5344CB8AC3E}">
        <p14:creationId xmlns:p14="http://schemas.microsoft.com/office/powerpoint/2010/main" val="28669919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E3D2538-76D2-4DA7-9055-6E67A5BC3ECC}"/>
              </a:ext>
            </a:extLst>
          </p:cNvPr>
          <p:cNvSpPr>
            <a:spLocks noGrp="1"/>
          </p:cNvSpPr>
          <p:nvPr>
            <p:ph type="sldNum" sz="quarter" idx="10"/>
          </p:nvPr>
        </p:nvSpPr>
        <p:spPr/>
        <p:txBody>
          <a:bodyPr/>
          <a:lstStyle/>
          <a:p>
            <a:fld id="{F966D7FF-EADB-4E92-9989-4DE4533DAC48}" type="slidenum">
              <a:rPr lang="de-DE" smtClean="0"/>
              <a:pPr/>
              <a:t>51</a:t>
            </a:fld>
            <a:endParaRPr lang="de-DE" dirty="0"/>
          </a:p>
        </p:txBody>
      </p:sp>
      <p:sp>
        <p:nvSpPr>
          <p:cNvPr id="3" name="Inhaltsplatzhalter 2">
            <a:extLst>
              <a:ext uri="{FF2B5EF4-FFF2-40B4-BE49-F238E27FC236}">
                <a16:creationId xmlns:a16="http://schemas.microsoft.com/office/drawing/2014/main" id="{BC74A8BB-06B9-425F-B5A5-1ABAC5DE3ED0}"/>
              </a:ext>
            </a:extLst>
          </p:cNvPr>
          <p:cNvSpPr>
            <a:spLocks noGrp="1"/>
          </p:cNvSpPr>
          <p:nvPr>
            <p:ph idx="11"/>
          </p:nvPr>
        </p:nvSpPr>
        <p:spPr/>
        <p:txBody>
          <a:bodyPr/>
          <a:lstStyle/>
          <a:p>
            <a:r>
              <a:rPr lang="de-DE" dirty="0"/>
              <a:t>Bonuszertifikate</a:t>
            </a:r>
          </a:p>
        </p:txBody>
      </p:sp>
      <p:sp>
        <p:nvSpPr>
          <p:cNvPr id="5" name="Inhaltsplatzhalter 4">
            <a:extLst>
              <a:ext uri="{FF2B5EF4-FFF2-40B4-BE49-F238E27FC236}">
                <a16:creationId xmlns:a16="http://schemas.microsoft.com/office/drawing/2014/main" id="{E37ABC2D-53E7-41B4-95C1-EF1F09063933}"/>
              </a:ext>
            </a:extLst>
          </p:cNvPr>
          <p:cNvSpPr>
            <a:spLocks noGrp="1"/>
          </p:cNvSpPr>
          <p:nvPr>
            <p:ph idx="12"/>
          </p:nvPr>
        </p:nvSpPr>
        <p:spPr/>
        <p:txBody>
          <a:bodyPr/>
          <a:lstStyle/>
          <a:p>
            <a:r>
              <a:rPr lang="de-DE" dirty="0"/>
              <a:t>Bonuszertifikate garantieren eine Bonuszahlung, falls eine vorher festgelegte Barriere nicht berührt oder unterschritten wird</a:t>
            </a:r>
          </a:p>
        </p:txBody>
      </p:sp>
      <p:grpSp>
        <p:nvGrpSpPr>
          <p:cNvPr id="58" name="Gruppieren 57">
            <a:extLst>
              <a:ext uri="{FF2B5EF4-FFF2-40B4-BE49-F238E27FC236}">
                <a16:creationId xmlns:a16="http://schemas.microsoft.com/office/drawing/2014/main" id="{B0E870F2-6B7A-4362-ADC5-EB763ADBDC15}"/>
              </a:ext>
            </a:extLst>
          </p:cNvPr>
          <p:cNvGrpSpPr/>
          <p:nvPr/>
        </p:nvGrpSpPr>
        <p:grpSpPr>
          <a:xfrm>
            <a:off x="541687" y="1512360"/>
            <a:ext cx="11517944" cy="3913538"/>
            <a:chOff x="912240" y="1291320"/>
            <a:chExt cx="11517944" cy="3913538"/>
          </a:xfrm>
        </p:grpSpPr>
        <p:sp>
          <p:nvSpPr>
            <p:cNvPr id="7" name="Line 2">
              <a:extLst>
                <a:ext uri="{FF2B5EF4-FFF2-40B4-BE49-F238E27FC236}">
                  <a16:creationId xmlns:a16="http://schemas.microsoft.com/office/drawing/2014/main" id="{208DFDEC-02B2-4F98-996F-35803B406FF5}"/>
                </a:ext>
              </a:extLst>
            </p:cNvPr>
            <p:cNvSpPr/>
            <p:nvPr/>
          </p:nvSpPr>
          <p:spPr>
            <a:xfrm flipV="1">
              <a:off x="912240" y="251856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9" name="CustomShape 3">
              <a:extLst>
                <a:ext uri="{FF2B5EF4-FFF2-40B4-BE49-F238E27FC236}">
                  <a16:creationId xmlns:a16="http://schemas.microsoft.com/office/drawing/2014/main" id="{5DFB58AA-DDFD-4480-A40D-50A0D85DCBAE}"/>
                </a:ext>
              </a:extLst>
            </p:cNvPr>
            <p:cNvSpPr/>
            <p:nvPr/>
          </p:nvSpPr>
          <p:spPr>
            <a:xfrm>
              <a:off x="912240" y="2853360"/>
              <a:ext cx="4127040" cy="235149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latin typeface="Arial" panose="020B0604020202020204" pitchFamily="34" charset="0"/>
                  <a:cs typeface="Arial" panose="020B0604020202020204" pitchFamily="34" charset="0"/>
                </a:rPr>
                <a:t>Bonuszertifikate</a:t>
              </a:r>
              <a:endParaRPr lang="de-DE" sz="2670" b="0" strike="noStrike" spc="-1" dirty="0">
                <a:latin typeface="Arial" panose="020B0604020202020204" pitchFamily="34" charset="0"/>
                <a:cs typeface="Arial" panose="020B0604020202020204" pitchFamily="34" charset="0"/>
              </a:endParaRPr>
            </a:p>
            <a:p>
              <a:pPr>
                <a:lnSpc>
                  <a:spcPct val="100000"/>
                </a:lnSpc>
              </a:pPr>
              <a:endParaRPr lang="de-DE" sz="2670" b="0" strike="noStrike" spc="-1" dirty="0">
                <a:latin typeface="Arial" panose="020B0604020202020204" pitchFamily="34" charset="0"/>
                <a:cs typeface="Arial" panose="020B0604020202020204" pitchFamily="34" charset="0"/>
              </a:endParaRPr>
            </a:p>
            <a:p>
              <a:pPr>
                <a:lnSpc>
                  <a:spcPct val="100000"/>
                </a:lnSpc>
              </a:pPr>
              <a:r>
                <a:rPr lang="de-DE" sz="1870" b="0" strike="noStrike" spc="-1" dirty="0">
                  <a:latin typeface="Arial" panose="020B0604020202020204" pitchFamily="34" charset="0"/>
                  <a:cs typeface="Arial" panose="020B0604020202020204" pitchFamily="34" charset="0"/>
                </a:rPr>
                <a:t>Mindestauszahlung bzw. voll partizipierend, falls Barriere nicht verletzt (1), partizipieren am Basistitel, falls Barriere während Laufzeit verletzt wird (2)</a:t>
              </a:r>
            </a:p>
          </p:txBody>
        </p:sp>
        <p:sp>
          <p:nvSpPr>
            <p:cNvPr id="11" name="CustomShape 6">
              <a:extLst>
                <a:ext uri="{FF2B5EF4-FFF2-40B4-BE49-F238E27FC236}">
                  <a16:creationId xmlns:a16="http://schemas.microsoft.com/office/drawing/2014/main" id="{55C3E87D-2E3C-4C74-A336-692FA1947548}"/>
                </a:ext>
              </a:extLst>
            </p:cNvPr>
            <p:cNvSpPr/>
            <p:nvPr/>
          </p:nvSpPr>
          <p:spPr>
            <a:xfrm>
              <a:off x="5520240" y="1291320"/>
              <a:ext cx="95832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Pay-Off</a:t>
              </a:r>
            </a:p>
          </p:txBody>
        </p:sp>
        <p:sp>
          <p:nvSpPr>
            <p:cNvPr id="13" name="CustomShape 7">
              <a:extLst>
                <a:ext uri="{FF2B5EF4-FFF2-40B4-BE49-F238E27FC236}">
                  <a16:creationId xmlns:a16="http://schemas.microsoft.com/office/drawing/2014/main" id="{93688496-58C9-4504-A800-2538D8E1D400}"/>
                </a:ext>
              </a:extLst>
            </p:cNvPr>
            <p:cNvSpPr/>
            <p:nvPr/>
          </p:nvSpPr>
          <p:spPr>
            <a:xfrm>
              <a:off x="10655280" y="3786840"/>
              <a:ext cx="153648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Kurs des Basiswertes</a:t>
              </a:r>
            </a:p>
          </p:txBody>
        </p:sp>
        <p:sp>
          <p:nvSpPr>
            <p:cNvPr id="15" name="CustomShape 8">
              <a:extLst>
                <a:ext uri="{FF2B5EF4-FFF2-40B4-BE49-F238E27FC236}">
                  <a16:creationId xmlns:a16="http://schemas.microsoft.com/office/drawing/2014/main" id="{ED75273D-F7B7-4A12-802E-DC5B81BA8972}"/>
                </a:ext>
              </a:extLst>
            </p:cNvPr>
            <p:cNvSpPr/>
            <p:nvPr/>
          </p:nvSpPr>
          <p:spPr>
            <a:xfrm>
              <a:off x="7598880" y="3786840"/>
              <a:ext cx="1665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00%</a:t>
              </a:r>
            </a:p>
          </p:txBody>
        </p:sp>
        <p:sp>
          <p:nvSpPr>
            <p:cNvPr id="17" name="CustomShape 9">
              <a:extLst>
                <a:ext uri="{FF2B5EF4-FFF2-40B4-BE49-F238E27FC236}">
                  <a16:creationId xmlns:a16="http://schemas.microsoft.com/office/drawing/2014/main" id="{0DBF00B5-562A-439F-B082-A6F8A2E71DE8}"/>
                </a:ext>
              </a:extLst>
            </p:cNvPr>
            <p:cNvSpPr/>
            <p:nvPr/>
          </p:nvSpPr>
          <p:spPr>
            <a:xfrm>
              <a:off x="8879400" y="3786840"/>
              <a:ext cx="1098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20%</a:t>
              </a:r>
            </a:p>
          </p:txBody>
        </p:sp>
        <p:sp>
          <p:nvSpPr>
            <p:cNvPr id="19" name="CustomShape 10">
              <a:extLst>
                <a:ext uri="{FF2B5EF4-FFF2-40B4-BE49-F238E27FC236}">
                  <a16:creationId xmlns:a16="http://schemas.microsoft.com/office/drawing/2014/main" id="{A6B6DB4B-4275-4CF1-A331-B1D762D333EC}"/>
                </a:ext>
              </a:extLst>
            </p:cNvPr>
            <p:cNvSpPr/>
            <p:nvPr/>
          </p:nvSpPr>
          <p:spPr>
            <a:xfrm>
              <a:off x="9840240" y="3786840"/>
              <a:ext cx="109620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40%</a:t>
              </a:r>
            </a:p>
          </p:txBody>
        </p:sp>
        <p:sp>
          <p:nvSpPr>
            <p:cNvPr id="21" name="CustomShape 11">
              <a:extLst>
                <a:ext uri="{FF2B5EF4-FFF2-40B4-BE49-F238E27FC236}">
                  <a16:creationId xmlns:a16="http://schemas.microsoft.com/office/drawing/2014/main" id="{4C8AF14E-07E5-495C-917D-DC4A642DCA0E}"/>
                </a:ext>
              </a:extLst>
            </p:cNvPr>
            <p:cNvSpPr/>
            <p:nvPr/>
          </p:nvSpPr>
          <p:spPr>
            <a:xfrm>
              <a:off x="6671880" y="3786840"/>
              <a:ext cx="149832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80%</a:t>
              </a:r>
            </a:p>
          </p:txBody>
        </p:sp>
        <p:sp>
          <p:nvSpPr>
            <p:cNvPr id="23" name="CustomShape 12">
              <a:extLst>
                <a:ext uri="{FF2B5EF4-FFF2-40B4-BE49-F238E27FC236}">
                  <a16:creationId xmlns:a16="http://schemas.microsoft.com/office/drawing/2014/main" id="{F8EAE8FE-01D1-4096-9355-CD002B67B8C9}"/>
                </a:ext>
              </a:extLst>
            </p:cNvPr>
            <p:cNvSpPr/>
            <p:nvPr/>
          </p:nvSpPr>
          <p:spPr>
            <a:xfrm>
              <a:off x="5708520" y="3786840"/>
              <a:ext cx="153828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60%</a:t>
              </a:r>
            </a:p>
          </p:txBody>
        </p:sp>
        <p:sp>
          <p:nvSpPr>
            <p:cNvPr id="25" name="CustomShape 13">
              <a:extLst>
                <a:ext uri="{FF2B5EF4-FFF2-40B4-BE49-F238E27FC236}">
                  <a16:creationId xmlns:a16="http://schemas.microsoft.com/office/drawing/2014/main" id="{A7EAD369-98F1-433C-AF5F-D1C46D5FDC84}"/>
                </a:ext>
              </a:extLst>
            </p:cNvPr>
            <p:cNvSpPr/>
            <p:nvPr/>
          </p:nvSpPr>
          <p:spPr>
            <a:xfrm>
              <a:off x="5334120" y="33930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0%</a:t>
              </a:r>
            </a:p>
          </p:txBody>
        </p:sp>
        <p:sp>
          <p:nvSpPr>
            <p:cNvPr id="27" name="CustomShape 14">
              <a:extLst>
                <a:ext uri="{FF2B5EF4-FFF2-40B4-BE49-F238E27FC236}">
                  <a16:creationId xmlns:a16="http://schemas.microsoft.com/office/drawing/2014/main" id="{3974CB08-78CE-4F7C-A55E-F148A5F3F05C}"/>
                </a:ext>
              </a:extLst>
            </p:cNvPr>
            <p:cNvSpPr/>
            <p:nvPr/>
          </p:nvSpPr>
          <p:spPr>
            <a:xfrm>
              <a:off x="5334120" y="4100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20%</a:t>
              </a:r>
            </a:p>
          </p:txBody>
        </p:sp>
        <p:sp>
          <p:nvSpPr>
            <p:cNvPr id="29" name="CustomShape 15">
              <a:extLst>
                <a:ext uri="{FF2B5EF4-FFF2-40B4-BE49-F238E27FC236}">
                  <a16:creationId xmlns:a16="http://schemas.microsoft.com/office/drawing/2014/main" id="{8377C5BD-8B0C-463F-AB6E-8B32D308CDF0}"/>
                </a:ext>
              </a:extLst>
            </p:cNvPr>
            <p:cNvSpPr/>
            <p:nvPr/>
          </p:nvSpPr>
          <p:spPr>
            <a:xfrm>
              <a:off x="5334120" y="4811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40%</a:t>
              </a:r>
            </a:p>
          </p:txBody>
        </p:sp>
        <p:sp>
          <p:nvSpPr>
            <p:cNvPr id="31" name="CustomShape 16">
              <a:extLst>
                <a:ext uri="{FF2B5EF4-FFF2-40B4-BE49-F238E27FC236}">
                  <a16:creationId xmlns:a16="http://schemas.microsoft.com/office/drawing/2014/main" id="{001A9FAA-AA9B-4ABA-BD5C-E85543B97CCC}"/>
                </a:ext>
              </a:extLst>
            </p:cNvPr>
            <p:cNvSpPr/>
            <p:nvPr/>
          </p:nvSpPr>
          <p:spPr>
            <a:xfrm>
              <a:off x="5334120" y="26838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20%</a:t>
              </a:r>
            </a:p>
          </p:txBody>
        </p:sp>
        <p:sp>
          <p:nvSpPr>
            <p:cNvPr id="33" name="CustomShape 17">
              <a:extLst>
                <a:ext uri="{FF2B5EF4-FFF2-40B4-BE49-F238E27FC236}">
                  <a16:creationId xmlns:a16="http://schemas.microsoft.com/office/drawing/2014/main" id="{2985783A-A971-4AD2-A2BA-D8F0D31BEB04}"/>
                </a:ext>
              </a:extLst>
            </p:cNvPr>
            <p:cNvSpPr/>
            <p:nvPr/>
          </p:nvSpPr>
          <p:spPr>
            <a:xfrm>
              <a:off x="5334120" y="197496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40%</a:t>
              </a:r>
            </a:p>
          </p:txBody>
        </p:sp>
        <p:sp>
          <p:nvSpPr>
            <p:cNvPr id="35" name="Line 18">
              <a:extLst>
                <a:ext uri="{FF2B5EF4-FFF2-40B4-BE49-F238E27FC236}">
                  <a16:creationId xmlns:a16="http://schemas.microsoft.com/office/drawing/2014/main" id="{1331AB02-C4E3-47B5-B97F-2A9A76F34CA5}"/>
                </a:ext>
              </a:extLst>
            </p:cNvPr>
            <p:cNvSpPr/>
            <p:nvPr/>
          </p:nvSpPr>
          <p:spPr>
            <a:xfrm>
              <a:off x="6476760" y="3621600"/>
              <a:ext cx="108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37" name="Line 19">
              <a:extLst>
                <a:ext uri="{FF2B5EF4-FFF2-40B4-BE49-F238E27FC236}">
                  <a16:creationId xmlns:a16="http://schemas.microsoft.com/office/drawing/2014/main" id="{8FADBFEF-9F97-4486-AC57-835F9D282972}"/>
                </a:ext>
              </a:extLst>
            </p:cNvPr>
            <p:cNvSpPr/>
            <p:nvPr/>
          </p:nvSpPr>
          <p:spPr>
            <a:xfrm flipV="1">
              <a:off x="6190920" y="2453040"/>
              <a:ext cx="4265280" cy="2531520"/>
            </a:xfrm>
            <a:prstGeom prst="line">
              <a:avLst/>
            </a:prstGeom>
            <a:ln w="19080"/>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39" name="Line 20">
              <a:extLst>
                <a:ext uri="{FF2B5EF4-FFF2-40B4-BE49-F238E27FC236}">
                  <a16:creationId xmlns:a16="http://schemas.microsoft.com/office/drawing/2014/main" id="{E0F6AE3C-CBA6-4E64-80DE-5417A004FAA1}"/>
                </a:ext>
              </a:extLst>
            </p:cNvPr>
            <p:cNvSpPr/>
            <p:nvPr/>
          </p:nvSpPr>
          <p:spPr>
            <a:xfrm>
              <a:off x="74206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1" name="Line 21">
              <a:extLst>
                <a:ext uri="{FF2B5EF4-FFF2-40B4-BE49-F238E27FC236}">
                  <a16:creationId xmlns:a16="http://schemas.microsoft.com/office/drawing/2014/main" id="{C0CF2B0E-C94E-4983-A864-0EE466D196BD}"/>
                </a:ext>
              </a:extLst>
            </p:cNvPr>
            <p:cNvSpPr/>
            <p:nvPr/>
          </p:nvSpPr>
          <p:spPr>
            <a:xfrm>
              <a:off x="84304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3" name="Line 22">
              <a:extLst>
                <a:ext uri="{FF2B5EF4-FFF2-40B4-BE49-F238E27FC236}">
                  <a16:creationId xmlns:a16="http://schemas.microsoft.com/office/drawing/2014/main" id="{2749360A-D455-44BF-ACEB-6A2615587F4B}"/>
                </a:ext>
              </a:extLst>
            </p:cNvPr>
            <p:cNvSpPr/>
            <p:nvPr/>
          </p:nvSpPr>
          <p:spPr>
            <a:xfrm>
              <a:off x="938736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5" name="Line 23">
              <a:extLst>
                <a:ext uri="{FF2B5EF4-FFF2-40B4-BE49-F238E27FC236}">
                  <a16:creationId xmlns:a16="http://schemas.microsoft.com/office/drawing/2014/main" id="{4DD9C5A2-7030-45BE-80D8-6263F5E77419}"/>
                </a:ext>
              </a:extLst>
            </p:cNvPr>
            <p:cNvSpPr/>
            <p:nvPr/>
          </p:nvSpPr>
          <p:spPr>
            <a:xfrm>
              <a:off x="1039464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7" name="Line 24">
              <a:extLst>
                <a:ext uri="{FF2B5EF4-FFF2-40B4-BE49-F238E27FC236}">
                  <a16:creationId xmlns:a16="http://schemas.microsoft.com/office/drawing/2014/main" id="{E9D56A5B-24DA-4032-B0D7-9E76EAE4A96B}"/>
                </a:ext>
              </a:extLst>
            </p:cNvPr>
            <p:cNvSpPr/>
            <p:nvPr/>
          </p:nvSpPr>
          <p:spPr>
            <a:xfrm flipV="1">
              <a:off x="6430320" y="2061360"/>
              <a:ext cx="4658760" cy="2749680"/>
            </a:xfrm>
            <a:prstGeom prst="line">
              <a:avLst/>
            </a:prstGeom>
            <a:ln w="38160">
              <a:solidFill>
                <a:schemeClr val="accent4"/>
              </a:solidFill>
              <a:prstDash val="dash"/>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9" name="Line 25">
              <a:extLst>
                <a:ext uri="{FF2B5EF4-FFF2-40B4-BE49-F238E27FC236}">
                  <a16:creationId xmlns:a16="http://schemas.microsoft.com/office/drawing/2014/main" id="{0EBC537B-44F9-4911-9966-0911F32BED6B}"/>
                </a:ext>
              </a:extLst>
            </p:cNvPr>
            <p:cNvSpPr/>
            <p:nvPr/>
          </p:nvSpPr>
          <p:spPr>
            <a:xfrm flipV="1">
              <a:off x="6861960" y="2061360"/>
              <a:ext cx="16920" cy="2995200"/>
            </a:xfrm>
            <a:prstGeom prst="line">
              <a:avLst/>
            </a:prstGeom>
            <a:ln w="19080"/>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51" name="CustomShape 26">
              <a:extLst>
                <a:ext uri="{FF2B5EF4-FFF2-40B4-BE49-F238E27FC236}">
                  <a16:creationId xmlns:a16="http://schemas.microsoft.com/office/drawing/2014/main" id="{BA1A31FC-B777-4583-914A-84C926044917}"/>
                </a:ext>
              </a:extLst>
            </p:cNvPr>
            <p:cNvSpPr/>
            <p:nvPr/>
          </p:nvSpPr>
          <p:spPr>
            <a:xfrm>
              <a:off x="10248840" y="2629080"/>
              <a:ext cx="2181344" cy="666421"/>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Basiswert &amp; </a:t>
              </a:r>
            </a:p>
            <a:p>
              <a:pPr>
                <a:lnSpc>
                  <a:spcPct val="100000"/>
                </a:lnSpc>
              </a:pPr>
              <a:r>
                <a:rPr lang="de-DE" sz="1870" b="0" strike="noStrike" spc="-1">
                  <a:latin typeface="Arial" panose="020B0604020202020204" pitchFamily="34" charset="0"/>
                  <a:cs typeface="Arial" panose="020B0604020202020204" pitchFamily="34" charset="0"/>
                </a:rPr>
                <a:t>Bonuszertifikat (2) </a:t>
              </a:r>
            </a:p>
          </p:txBody>
        </p:sp>
        <p:sp>
          <p:nvSpPr>
            <p:cNvPr id="53" name="Line 27">
              <a:extLst>
                <a:ext uri="{FF2B5EF4-FFF2-40B4-BE49-F238E27FC236}">
                  <a16:creationId xmlns:a16="http://schemas.microsoft.com/office/drawing/2014/main" id="{B0219EB6-1F05-4546-A088-9260A0CD651F}"/>
                </a:ext>
              </a:extLst>
            </p:cNvPr>
            <p:cNvSpPr/>
            <p:nvPr/>
          </p:nvSpPr>
          <p:spPr>
            <a:xfrm>
              <a:off x="6895800" y="3272040"/>
              <a:ext cx="2129400" cy="360"/>
            </a:xfrm>
            <a:prstGeom prst="line">
              <a:avLst/>
            </a:prstGeom>
            <a:ln w="19080"/>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55" name="CustomShape 28">
              <a:extLst>
                <a:ext uri="{FF2B5EF4-FFF2-40B4-BE49-F238E27FC236}">
                  <a16:creationId xmlns:a16="http://schemas.microsoft.com/office/drawing/2014/main" id="{A9ADA802-DF49-4F37-836B-41D795267672}"/>
                </a:ext>
              </a:extLst>
            </p:cNvPr>
            <p:cNvSpPr/>
            <p:nvPr/>
          </p:nvSpPr>
          <p:spPr>
            <a:xfrm>
              <a:off x="6402960" y="1689120"/>
              <a:ext cx="1033529" cy="37865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Barriere</a:t>
              </a:r>
            </a:p>
          </p:txBody>
        </p:sp>
        <p:sp>
          <p:nvSpPr>
            <p:cNvPr id="57" name="CustomShape 29">
              <a:extLst>
                <a:ext uri="{FF2B5EF4-FFF2-40B4-BE49-F238E27FC236}">
                  <a16:creationId xmlns:a16="http://schemas.microsoft.com/office/drawing/2014/main" id="{A49F968C-787F-4C88-9EE9-09F5A21CF699}"/>
                </a:ext>
              </a:extLst>
            </p:cNvPr>
            <p:cNvSpPr/>
            <p:nvPr/>
          </p:nvSpPr>
          <p:spPr>
            <a:xfrm>
              <a:off x="8618400" y="1833120"/>
              <a:ext cx="2114146" cy="37865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Bonuszertifikat (1)</a:t>
              </a:r>
            </a:p>
          </p:txBody>
        </p:sp>
      </p:grpSp>
    </p:spTree>
    <p:extLst>
      <p:ext uri="{BB962C8B-B14F-4D97-AF65-F5344CB8AC3E}">
        <p14:creationId xmlns:p14="http://schemas.microsoft.com/office/powerpoint/2010/main" val="34672184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8C7BDF1F-B400-4637-A7EE-4FE8B6ED92B9}"/>
              </a:ext>
            </a:extLst>
          </p:cNvPr>
          <p:cNvSpPr>
            <a:spLocks noGrp="1"/>
          </p:cNvSpPr>
          <p:nvPr>
            <p:ph type="sldNum" sz="quarter" idx="10"/>
          </p:nvPr>
        </p:nvSpPr>
        <p:spPr/>
        <p:txBody>
          <a:bodyPr/>
          <a:lstStyle/>
          <a:p>
            <a:fld id="{F966D7FF-EADB-4E92-9989-4DE4533DAC48}" type="slidenum">
              <a:rPr lang="de-DE" smtClean="0"/>
              <a:pPr/>
              <a:t>52</a:t>
            </a:fld>
            <a:endParaRPr lang="de-DE" dirty="0"/>
          </a:p>
        </p:txBody>
      </p:sp>
      <p:sp>
        <p:nvSpPr>
          <p:cNvPr id="3" name="Inhaltsplatzhalter 2">
            <a:extLst>
              <a:ext uri="{FF2B5EF4-FFF2-40B4-BE49-F238E27FC236}">
                <a16:creationId xmlns:a16="http://schemas.microsoft.com/office/drawing/2014/main" id="{BF3F22E6-200A-445A-99D5-4F634F3852AB}"/>
              </a:ext>
            </a:extLst>
          </p:cNvPr>
          <p:cNvSpPr>
            <a:spLocks noGrp="1"/>
          </p:cNvSpPr>
          <p:nvPr>
            <p:ph idx="11"/>
          </p:nvPr>
        </p:nvSpPr>
        <p:spPr/>
        <p:txBody>
          <a:bodyPr/>
          <a:lstStyle/>
          <a:p>
            <a:r>
              <a:rPr lang="de-DE" dirty="0"/>
              <a:t>Discountzertifikate</a:t>
            </a:r>
          </a:p>
        </p:txBody>
      </p:sp>
      <p:sp>
        <p:nvSpPr>
          <p:cNvPr id="5" name="Inhaltsplatzhalter 4">
            <a:extLst>
              <a:ext uri="{FF2B5EF4-FFF2-40B4-BE49-F238E27FC236}">
                <a16:creationId xmlns:a16="http://schemas.microsoft.com/office/drawing/2014/main" id="{6DEC34F5-B237-4400-9DED-EBBA44D0DBBD}"/>
              </a:ext>
            </a:extLst>
          </p:cNvPr>
          <p:cNvSpPr>
            <a:spLocks noGrp="1"/>
          </p:cNvSpPr>
          <p:nvPr>
            <p:ph idx="12"/>
          </p:nvPr>
        </p:nvSpPr>
        <p:spPr/>
        <p:txBody>
          <a:bodyPr/>
          <a:lstStyle/>
          <a:p>
            <a:r>
              <a:rPr lang="de-DE" dirty="0"/>
              <a:t>Discountzertifikate werden mit einem Abschlag (Discount) gehandelt, haben dann aber eine Begrenzung (Cap) beim Ertrag</a:t>
            </a:r>
          </a:p>
        </p:txBody>
      </p:sp>
      <p:grpSp>
        <p:nvGrpSpPr>
          <p:cNvPr id="54" name="Gruppieren 53">
            <a:extLst>
              <a:ext uri="{FF2B5EF4-FFF2-40B4-BE49-F238E27FC236}">
                <a16:creationId xmlns:a16="http://schemas.microsoft.com/office/drawing/2014/main" id="{B7D42FCF-66BA-4158-90D0-7116D83DEBD7}"/>
              </a:ext>
            </a:extLst>
          </p:cNvPr>
          <p:cNvGrpSpPr/>
          <p:nvPr/>
        </p:nvGrpSpPr>
        <p:grpSpPr>
          <a:xfrm>
            <a:off x="577518" y="2034989"/>
            <a:ext cx="11279520" cy="3836815"/>
            <a:chOff x="912240" y="1291320"/>
            <a:chExt cx="11279520" cy="3836815"/>
          </a:xfrm>
        </p:grpSpPr>
        <p:sp>
          <p:nvSpPr>
            <p:cNvPr id="7" name="Line 2">
              <a:extLst>
                <a:ext uri="{FF2B5EF4-FFF2-40B4-BE49-F238E27FC236}">
                  <a16:creationId xmlns:a16="http://schemas.microsoft.com/office/drawing/2014/main" id="{F6EED7F9-4DCC-4C58-85E6-8205EF72A5FF}"/>
                </a:ext>
              </a:extLst>
            </p:cNvPr>
            <p:cNvSpPr/>
            <p:nvPr/>
          </p:nvSpPr>
          <p:spPr>
            <a:xfrm flipV="1">
              <a:off x="912240" y="251856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9" name="CustomShape 3">
              <a:extLst>
                <a:ext uri="{FF2B5EF4-FFF2-40B4-BE49-F238E27FC236}">
                  <a16:creationId xmlns:a16="http://schemas.microsoft.com/office/drawing/2014/main" id="{A715FEE3-1B34-4620-B777-F8864F594F89}"/>
                </a:ext>
              </a:extLst>
            </p:cNvPr>
            <p:cNvSpPr/>
            <p:nvPr/>
          </p:nvSpPr>
          <p:spPr>
            <a:xfrm>
              <a:off x="912240" y="2853360"/>
              <a:ext cx="4127040" cy="177595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dirty="0">
                  <a:latin typeface="Arial" panose="020B0604020202020204" pitchFamily="34" charset="0"/>
                  <a:cs typeface="Arial" panose="020B0604020202020204" pitchFamily="34" charset="0"/>
                </a:rPr>
                <a:t>Discountzertifikate</a:t>
              </a:r>
              <a:endParaRPr lang="de-DE" sz="2670" b="0" strike="noStrike" spc="-1" dirty="0">
                <a:latin typeface="Arial" panose="020B0604020202020204" pitchFamily="34" charset="0"/>
                <a:cs typeface="Arial" panose="020B0604020202020204" pitchFamily="34" charset="0"/>
              </a:endParaRPr>
            </a:p>
            <a:p>
              <a:pPr>
                <a:lnSpc>
                  <a:spcPct val="100000"/>
                </a:lnSpc>
              </a:pPr>
              <a:endParaRPr lang="de-DE" sz="2670" b="0" strike="noStrike" spc="-1" dirty="0">
                <a:latin typeface="Arial" panose="020B0604020202020204" pitchFamily="34" charset="0"/>
                <a:cs typeface="Arial" panose="020B0604020202020204" pitchFamily="34" charset="0"/>
              </a:endParaRPr>
            </a:p>
            <a:p>
              <a:pPr>
                <a:lnSpc>
                  <a:spcPct val="100000"/>
                </a:lnSpc>
              </a:pPr>
              <a:r>
                <a:rPr lang="de-DE" sz="1870" b="0" strike="noStrike" spc="-1" dirty="0">
                  <a:latin typeface="Arial" panose="020B0604020202020204" pitchFamily="34" charset="0"/>
                  <a:cs typeface="Arial" panose="020B0604020202020204" pitchFamily="34" charset="0"/>
                </a:rPr>
                <a:t>Zertifikate werden zu einem Discount gehandelt, sind aber in ihren Ertragsmöglichkeiten begrenzt (Cap)</a:t>
              </a:r>
            </a:p>
          </p:txBody>
        </p:sp>
        <p:sp>
          <p:nvSpPr>
            <p:cNvPr id="11" name="CustomShape 6">
              <a:extLst>
                <a:ext uri="{FF2B5EF4-FFF2-40B4-BE49-F238E27FC236}">
                  <a16:creationId xmlns:a16="http://schemas.microsoft.com/office/drawing/2014/main" id="{B4AB06F8-F333-4BBD-9A33-FA6B52DA9764}"/>
                </a:ext>
              </a:extLst>
            </p:cNvPr>
            <p:cNvSpPr/>
            <p:nvPr/>
          </p:nvSpPr>
          <p:spPr>
            <a:xfrm>
              <a:off x="5520240" y="1291320"/>
              <a:ext cx="95832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Pay-Off</a:t>
              </a:r>
            </a:p>
          </p:txBody>
        </p:sp>
        <p:sp>
          <p:nvSpPr>
            <p:cNvPr id="13" name="CustomShape 7">
              <a:extLst>
                <a:ext uri="{FF2B5EF4-FFF2-40B4-BE49-F238E27FC236}">
                  <a16:creationId xmlns:a16="http://schemas.microsoft.com/office/drawing/2014/main" id="{78DAB4AB-DE3B-4614-8143-6DA3A5F8B19B}"/>
                </a:ext>
              </a:extLst>
            </p:cNvPr>
            <p:cNvSpPr/>
            <p:nvPr/>
          </p:nvSpPr>
          <p:spPr>
            <a:xfrm>
              <a:off x="10655280" y="3786840"/>
              <a:ext cx="1536480" cy="666421"/>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Kurs des Basiswertes</a:t>
              </a:r>
            </a:p>
          </p:txBody>
        </p:sp>
        <p:sp>
          <p:nvSpPr>
            <p:cNvPr id="15" name="CustomShape 8">
              <a:extLst>
                <a:ext uri="{FF2B5EF4-FFF2-40B4-BE49-F238E27FC236}">
                  <a16:creationId xmlns:a16="http://schemas.microsoft.com/office/drawing/2014/main" id="{8C24CE3B-5B39-4E2F-83CF-4424AFDEEEBF}"/>
                </a:ext>
              </a:extLst>
            </p:cNvPr>
            <p:cNvSpPr/>
            <p:nvPr/>
          </p:nvSpPr>
          <p:spPr>
            <a:xfrm>
              <a:off x="7598880" y="3786840"/>
              <a:ext cx="1665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00%</a:t>
              </a:r>
            </a:p>
          </p:txBody>
        </p:sp>
        <p:sp>
          <p:nvSpPr>
            <p:cNvPr id="17" name="CustomShape 9">
              <a:extLst>
                <a:ext uri="{FF2B5EF4-FFF2-40B4-BE49-F238E27FC236}">
                  <a16:creationId xmlns:a16="http://schemas.microsoft.com/office/drawing/2014/main" id="{20703357-0363-4B1B-A212-53E0CC84067A}"/>
                </a:ext>
              </a:extLst>
            </p:cNvPr>
            <p:cNvSpPr/>
            <p:nvPr/>
          </p:nvSpPr>
          <p:spPr>
            <a:xfrm>
              <a:off x="8879400" y="3786840"/>
              <a:ext cx="109836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20%</a:t>
              </a:r>
            </a:p>
          </p:txBody>
        </p:sp>
        <p:sp>
          <p:nvSpPr>
            <p:cNvPr id="19" name="CustomShape 10">
              <a:extLst>
                <a:ext uri="{FF2B5EF4-FFF2-40B4-BE49-F238E27FC236}">
                  <a16:creationId xmlns:a16="http://schemas.microsoft.com/office/drawing/2014/main" id="{BBA2C6D5-0F07-4FC7-B87B-26DAF160482C}"/>
                </a:ext>
              </a:extLst>
            </p:cNvPr>
            <p:cNvSpPr/>
            <p:nvPr/>
          </p:nvSpPr>
          <p:spPr>
            <a:xfrm>
              <a:off x="9840240" y="3786840"/>
              <a:ext cx="109620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140%</a:t>
              </a:r>
            </a:p>
          </p:txBody>
        </p:sp>
        <p:sp>
          <p:nvSpPr>
            <p:cNvPr id="21" name="CustomShape 11">
              <a:extLst>
                <a:ext uri="{FF2B5EF4-FFF2-40B4-BE49-F238E27FC236}">
                  <a16:creationId xmlns:a16="http://schemas.microsoft.com/office/drawing/2014/main" id="{8BC0FE52-C4C7-4DE1-97FC-31B7E9E7E45B}"/>
                </a:ext>
              </a:extLst>
            </p:cNvPr>
            <p:cNvSpPr/>
            <p:nvPr/>
          </p:nvSpPr>
          <p:spPr>
            <a:xfrm>
              <a:off x="6671880" y="3786840"/>
              <a:ext cx="149832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80%</a:t>
              </a:r>
            </a:p>
          </p:txBody>
        </p:sp>
        <p:sp>
          <p:nvSpPr>
            <p:cNvPr id="23" name="CustomShape 12">
              <a:extLst>
                <a:ext uri="{FF2B5EF4-FFF2-40B4-BE49-F238E27FC236}">
                  <a16:creationId xmlns:a16="http://schemas.microsoft.com/office/drawing/2014/main" id="{93DDBCC7-2E8F-4CDF-8F00-19173FBFCE45}"/>
                </a:ext>
              </a:extLst>
            </p:cNvPr>
            <p:cNvSpPr/>
            <p:nvPr/>
          </p:nvSpPr>
          <p:spPr>
            <a:xfrm>
              <a:off x="5708520" y="3786840"/>
              <a:ext cx="1538280" cy="337100"/>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pPr>
              <a:r>
                <a:rPr lang="de-DE" sz="1600" b="0" strike="noStrike" spc="-1">
                  <a:latin typeface="Arial" panose="020B0604020202020204" pitchFamily="34" charset="0"/>
                  <a:cs typeface="Arial" panose="020B0604020202020204" pitchFamily="34" charset="0"/>
                </a:rPr>
                <a:t>60%</a:t>
              </a:r>
            </a:p>
          </p:txBody>
        </p:sp>
        <p:sp>
          <p:nvSpPr>
            <p:cNvPr id="25" name="CustomShape 13">
              <a:extLst>
                <a:ext uri="{FF2B5EF4-FFF2-40B4-BE49-F238E27FC236}">
                  <a16:creationId xmlns:a16="http://schemas.microsoft.com/office/drawing/2014/main" id="{82C5FEF8-9720-49B2-AB6C-6510F9ACDDAE}"/>
                </a:ext>
              </a:extLst>
            </p:cNvPr>
            <p:cNvSpPr/>
            <p:nvPr/>
          </p:nvSpPr>
          <p:spPr>
            <a:xfrm>
              <a:off x="5334120" y="33930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0%</a:t>
              </a:r>
            </a:p>
          </p:txBody>
        </p:sp>
        <p:sp>
          <p:nvSpPr>
            <p:cNvPr id="27" name="CustomShape 14">
              <a:extLst>
                <a:ext uri="{FF2B5EF4-FFF2-40B4-BE49-F238E27FC236}">
                  <a16:creationId xmlns:a16="http://schemas.microsoft.com/office/drawing/2014/main" id="{C29B3DE9-AEFE-4B24-8E10-36BBBC746C97}"/>
                </a:ext>
              </a:extLst>
            </p:cNvPr>
            <p:cNvSpPr/>
            <p:nvPr/>
          </p:nvSpPr>
          <p:spPr>
            <a:xfrm>
              <a:off x="5334120" y="4100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20%</a:t>
              </a:r>
            </a:p>
          </p:txBody>
        </p:sp>
        <p:sp>
          <p:nvSpPr>
            <p:cNvPr id="29" name="CustomShape 15">
              <a:extLst>
                <a:ext uri="{FF2B5EF4-FFF2-40B4-BE49-F238E27FC236}">
                  <a16:creationId xmlns:a16="http://schemas.microsoft.com/office/drawing/2014/main" id="{BF0A7290-C65C-466B-8F40-58BE3A9AC801}"/>
                </a:ext>
              </a:extLst>
            </p:cNvPr>
            <p:cNvSpPr/>
            <p:nvPr/>
          </p:nvSpPr>
          <p:spPr>
            <a:xfrm>
              <a:off x="5334120" y="481104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40%</a:t>
              </a:r>
            </a:p>
          </p:txBody>
        </p:sp>
        <p:sp>
          <p:nvSpPr>
            <p:cNvPr id="31" name="CustomShape 16">
              <a:extLst>
                <a:ext uri="{FF2B5EF4-FFF2-40B4-BE49-F238E27FC236}">
                  <a16:creationId xmlns:a16="http://schemas.microsoft.com/office/drawing/2014/main" id="{241AEADD-9E64-4710-8A46-EBDC8E31C80A}"/>
                </a:ext>
              </a:extLst>
            </p:cNvPr>
            <p:cNvSpPr/>
            <p:nvPr/>
          </p:nvSpPr>
          <p:spPr>
            <a:xfrm>
              <a:off x="5334120" y="268380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20%</a:t>
              </a:r>
            </a:p>
          </p:txBody>
        </p:sp>
        <p:sp>
          <p:nvSpPr>
            <p:cNvPr id="33" name="CustomShape 17">
              <a:extLst>
                <a:ext uri="{FF2B5EF4-FFF2-40B4-BE49-F238E27FC236}">
                  <a16:creationId xmlns:a16="http://schemas.microsoft.com/office/drawing/2014/main" id="{2F5EA561-B726-46F3-81AD-AF1CC87ACB33}"/>
                </a:ext>
              </a:extLst>
            </p:cNvPr>
            <p:cNvSpPr/>
            <p:nvPr/>
          </p:nvSpPr>
          <p:spPr>
            <a:xfrm>
              <a:off x="5334120" y="1974960"/>
              <a:ext cx="1096200" cy="317095"/>
            </a:xfrm>
            <a:prstGeom prst="rect">
              <a:avLst/>
            </a:prstGeom>
            <a:noFill/>
            <a:ln w="9360">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470" b="0" strike="noStrike" spc="-1">
                  <a:latin typeface="Arial" panose="020B0604020202020204" pitchFamily="34" charset="0"/>
                  <a:cs typeface="Arial" panose="020B0604020202020204" pitchFamily="34" charset="0"/>
                </a:rPr>
                <a:t> 40%</a:t>
              </a:r>
            </a:p>
          </p:txBody>
        </p:sp>
        <p:sp>
          <p:nvSpPr>
            <p:cNvPr id="35" name="Line 18">
              <a:extLst>
                <a:ext uri="{FF2B5EF4-FFF2-40B4-BE49-F238E27FC236}">
                  <a16:creationId xmlns:a16="http://schemas.microsoft.com/office/drawing/2014/main" id="{1203FCB7-BA99-44AA-BC41-E61DAD8B378D}"/>
                </a:ext>
              </a:extLst>
            </p:cNvPr>
            <p:cNvSpPr/>
            <p:nvPr/>
          </p:nvSpPr>
          <p:spPr>
            <a:xfrm>
              <a:off x="6476760" y="3621600"/>
              <a:ext cx="108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37" name="Line 19">
              <a:extLst>
                <a:ext uri="{FF2B5EF4-FFF2-40B4-BE49-F238E27FC236}">
                  <a16:creationId xmlns:a16="http://schemas.microsoft.com/office/drawing/2014/main" id="{E65D61AE-F7F7-48AB-A6C0-AC6C92049C8F}"/>
                </a:ext>
              </a:extLst>
            </p:cNvPr>
            <p:cNvSpPr/>
            <p:nvPr/>
          </p:nvSpPr>
          <p:spPr>
            <a:xfrm>
              <a:off x="74206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39" name="Line 20">
              <a:extLst>
                <a:ext uri="{FF2B5EF4-FFF2-40B4-BE49-F238E27FC236}">
                  <a16:creationId xmlns:a16="http://schemas.microsoft.com/office/drawing/2014/main" id="{54E1B3B7-F28F-4507-BB2D-EB3D923BC5BA}"/>
                </a:ext>
              </a:extLst>
            </p:cNvPr>
            <p:cNvSpPr/>
            <p:nvPr/>
          </p:nvSpPr>
          <p:spPr>
            <a:xfrm>
              <a:off x="843048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1" name="Line 21">
              <a:extLst>
                <a:ext uri="{FF2B5EF4-FFF2-40B4-BE49-F238E27FC236}">
                  <a16:creationId xmlns:a16="http://schemas.microsoft.com/office/drawing/2014/main" id="{E814A6AE-3C6C-43F7-8DCD-B76B210A09BB}"/>
                </a:ext>
              </a:extLst>
            </p:cNvPr>
            <p:cNvSpPr/>
            <p:nvPr/>
          </p:nvSpPr>
          <p:spPr>
            <a:xfrm>
              <a:off x="938736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3" name="Line 22">
              <a:extLst>
                <a:ext uri="{FF2B5EF4-FFF2-40B4-BE49-F238E27FC236}">
                  <a16:creationId xmlns:a16="http://schemas.microsoft.com/office/drawing/2014/main" id="{6D2C1ACC-1B62-4597-962F-5F1E3854B1ED}"/>
                </a:ext>
              </a:extLst>
            </p:cNvPr>
            <p:cNvSpPr/>
            <p:nvPr/>
          </p:nvSpPr>
          <p:spPr>
            <a:xfrm>
              <a:off x="10394640" y="3621600"/>
              <a:ext cx="2160" cy="164880"/>
            </a:xfrm>
            <a:prstGeom prst="line">
              <a:avLst/>
            </a:prstGeom>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5" name="Line 23">
              <a:extLst>
                <a:ext uri="{FF2B5EF4-FFF2-40B4-BE49-F238E27FC236}">
                  <a16:creationId xmlns:a16="http://schemas.microsoft.com/office/drawing/2014/main" id="{6AD341A7-4DC5-4485-8F35-2E9CCB51AE2D}"/>
                </a:ext>
              </a:extLst>
            </p:cNvPr>
            <p:cNvSpPr/>
            <p:nvPr/>
          </p:nvSpPr>
          <p:spPr>
            <a:xfrm flipV="1">
              <a:off x="6430320" y="2061360"/>
              <a:ext cx="4658760" cy="2749680"/>
            </a:xfrm>
            <a:prstGeom prst="line">
              <a:avLst/>
            </a:prstGeom>
            <a:ln w="38160">
              <a:solidFill>
                <a:schemeClr val="accent4"/>
              </a:solidFill>
              <a:prstDash val="dash"/>
            </a:ln>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7" name="Line 24">
              <a:extLst>
                <a:ext uri="{FF2B5EF4-FFF2-40B4-BE49-F238E27FC236}">
                  <a16:creationId xmlns:a16="http://schemas.microsoft.com/office/drawing/2014/main" id="{E3B966FB-035C-4AED-A1D0-695C5FCE5BB2}"/>
                </a:ext>
              </a:extLst>
            </p:cNvPr>
            <p:cNvSpPr/>
            <p:nvPr/>
          </p:nvSpPr>
          <p:spPr>
            <a:xfrm flipV="1">
              <a:off x="6464160" y="3155760"/>
              <a:ext cx="1951560" cy="1263600"/>
            </a:xfrm>
            <a:prstGeom prst="line">
              <a:avLst/>
            </a:prstGeom>
            <a:ln w="19080"/>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sp>
          <p:nvSpPr>
            <p:cNvPr id="49" name="CustomShape 25">
              <a:extLst>
                <a:ext uri="{FF2B5EF4-FFF2-40B4-BE49-F238E27FC236}">
                  <a16:creationId xmlns:a16="http://schemas.microsoft.com/office/drawing/2014/main" id="{559887F2-0431-460C-8898-E748AFFCC9CD}"/>
                </a:ext>
              </a:extLst>
            </p:cNvPr>
            <p:cNvSpPr/>
            <p:nvPr/>
          </p:nvSpPr>
          <p:spPr>
            <a:xfrm>
              <a:off x="9493920" y="1689120"/>
              <a:ext cx="1238586" cy="460211"/>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Basiswer</a:t>
              </a:r>
              <a:r>
                <a:rPr lang="de-DE" sz="2400" b="0" strike="noStrike" spc="-1">
                  <a:latin typeface="Arial" panose="020B0604020202020204" pitchFamily="34" charset="0"/>
                  <a:cs typeface="Arial" panose="020B0604020202020204" pitchFamily="34" charset="0"/>
                </a:rPr>
                <a:t>t</a:t>
              </a:r>
            </a:p>
          </p:txBody>
        </p:sp>
        <p:sp>
          <p:nvSpPr>
            <p:cNvPr id="51" name="CustomShape 26">
              <a:extLst>
                <a:ext uri="{FF2B5EF4-FFF2-40B4-BE49-F238E27FC236}">
                  <a16:creationId xmlns:a16="http://schemas.microsoft.com/office/drawing/2014/main" id="{4114BE3C-23F8-4351-A07A-5F4079BE2BFC}"/>
                </a:ext>
              </a:extLst>
            </p:cNvPr>
            <p:cNvSpPr/>
            <p:nvPr/>
          </p:nvSpPr>
          <p:spPr>
            <a:xfrm>
              <a:off x="10240920" y="2925360"/>
              <a:ext cx="1220697" cy="666421"/>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latin typeface="Arial" panose="020B0604020202020204" pitchFamily="34" charset="0"/>
                  <a:cs typeface="Arial" panose="020B0604020202020204" pitchFamily="34" charset="0"/>
                </a:rPr>
                <a:t>Discount-</a:t>
              </a:r>
            </a:p>
            <a:p>
              <a:pPr>
                <a:lnSpc>
                  <a:spcPct val="100000"/>
                </a:lnSpc>
              </a:pPr>
              <a:r>
                <a:rPr lang="de-DE" sz="1870" b="0" strike="noStrike" spc="-1">
                  <a:latin typeface="Arial" panose="020B0604020202020204" pitchFamily="34" charset="0"/>
                  <a:cs typeface="Arial" panose="020B0604020202020204" pitchFamily="34" charset="0"/>
                </a:rPr>
                <a:t>Zertifikats</a:t>
              </a:r>
            </a:p>
          </p:txBody>
        </p:sp>
        <p:sp>
          <p:nvSpPr>
            <p:cNvPr id="53" name="Line 27">
              <a:extLst>
                <a:ext uri="{FF2B5EF4-FFF2-40B4-BE49-F238E27FC236}">
                  <a16:creationId xmlns:a16="http://schemas.microsoft.com/office/drawing/2014/main" id="{5BE28129-FE0F-4501-BD07-7220623B97C3}"/>
                </a:ext>
              </a:extLst>
            </p:cNvPr>
            <p:cNvSpPr/>
            <p:nvPr/>
          </p:nvSpPr>
          <p:spPr>
            <a:xfrm flipH="1">
              <a:off x="8413560" y="3155760"/>
              <a:ext cx="1739880" cy="360"/>
            </a:xfrm>
            <a:prstGeom prst="line">
              <a:avLst/>
            </a:prstGeom>
            <a:ln w="19080"/>
          </p:spPr>
          <p:style>
            <a:lnRef idx="1">
              <a:schemeClr val="accent1"/>
            </a:lnRef>
            <a:fillRef idx="0">
              <a:schemeClr val="accent1"/>
            </a:fillRef>
            <a:effectRef idx="0">
              <a:schemeClr val="accent1"/>
            </a:effectRef>
            <a:fontRef idx="minor"/>
          </p:style>
          <p:txBody>
            <a:bodyPr/>
            <a:lstStyle/>
            <a:p>
              <a:endParaRPr lang="de-DE">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879298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CD787DE-83C6-47E8-939A-FBAC5EA21182}"/>
              </a:ext>
            </a:extLst>
          </p:cNvPr>
          <p:cNvSpPr>
            <a:spLocks noGrp="1"/>
          </p:cNvSpPr>
          <p:nvPr>
            <p:ph type="sldNum" sz="quarter" idx="10"/>
          </p:nvPr>
        </p:nvSpPr>
        <p:spPr/>
        <p:txBody>
          <a:bodyPr/>
          <a:lstStyle/>
          <a:p>
            <a:fld id="{F966D7FF-EADB-4E92-9989-4DE4533DAC48}" type="slidenum">
              <a:rPr lang="de-DE" smtClean="0"/>
              <a:pPr/>
              <a:t>53</a:t>
            </a:fld>
            <a:endParaRPr lang="de-DE" dirty="0"/>
          </a:p>
        </p:txBody>
      </p:sp>
      <p:sp>
        <p:nvSpPr>
          <p:cNvPr id="3" name="Inhaltsplatzhalter 2">
            <a:extLst>
              <a:ext uri="{FF2B5EF4-FFF2-40B4-BE49-F238E27FC236}">
                <a16:creationId xmlns:a16="http://schemas.microsoft.com/office/drawing/2014/main" id="{D0B9C568-57B9-4D15-B433-1081C9A2565D}"/>
              </a:ext>
            </a:extLst>
          </p:cNvPr>
          <p:cNvSpPr>
            <a:spLocks noGrp="1"/>
          </p:cNvSpPr>
          <p:nvPr>
            <p:ph idx="11"/>
          </p:nvPr>
        </p:nvSpPr>
        <p:spPr/>
        <p:txBody>
          <a:bodyPr/>
          <a:lstStyle/>
          <a:p>
            <a:r>
              <a:rPr lang="de-DE" sz="1200" dirty="0">
                <a:ea typeface="Verdana"/>
                <a:cs typeface="Arial"/>
              </a:rPr>
              <a:t>Differenzkontrakte (engl. </a:t>
            </a:r>
            <a:r>
              <a:rPr lang="de-DE" sz="1200" dirty="0" err="1">
                <a:ea typeface="Verdana"/>
                <a:cs typeface="Arial"/>
              </a:rPr>
              <a:t>Contract</a:t>
            </a:r>
            <a:r>
              <a:rPr lang="de-DE" sz="1200" dirty="0">
                <a:ea typeface="Verdana"/>
                <a:cs typeface="Arial"/>
              </a:rPr>
              <a:t> </a:t>
            </a:r>
            <a:r>
              <a:rPr lang="de-DE" sz="1200" dirty="0" err="1">
                <a:ea typeface="Verdana"/>
                <a:cs typeface="Arial"/>
              </a:rPr>
              <a:t>For</a:t>
            </a:r>
            <a:r>
              <a:rPr lang="de-DE" sz="1200" dirty="0">
                <a:ea typeface="Verdana"/>
                <a:cs typeface="Arial"/>
              </a:rPr>
              <a:t> </a:t>
            </a:r>
            <a:r>
              <a:rPr lang="de-DE" sz="1200" dirty="0" err="1">
                <a:ea typeface="Verdana"/>
                <a:cs typeface="Arial"/>
              </a:rPr>
              <a:t>Difference</a:t>
            </a:r>
            <a:r>
              <a:rPr lang="de-DE" sz="1200" dirty="0">
                <a:ea typeface="Verdana"/>
                <a:cs typeface="Arial"/>
              </a:rPr>
              <a:t>, CFDs)</a:t>
            </a:r>
            <a:endParaRPr lang="de-DE" sz="1200" dirty="0"/>
          </a:p>
        </p:txBody>
      </p:sp>
      <p:sp>
        <p:nvSpPr>
          <p:cNvPr id="5" name="Inhaltsplatzhalter 4">
            <a:extLst>
              <a:ext uri="{FF2B5EF4-FFF2-40B4-BE49-F238E27FC236}">
                <a16:creationId xmlns:a16="http://schemas.microsoft.com/office/drawing/2014/main" id="{106CF0FD-FE85-4293-A0AF-BC7D42A8079E}"/>
              </a:ext>
            </a:extLst>
          </p:cNvPr>
          <p:cNvSpPr>
            <a:spLocks noGrp="1"/>
          </p:cNvSpPr>
          <p:nvPr>
            <p:ph idx="12"/>
          </p:nvPr>
        </p:nvSpPr>
        <p:spPr/>
        <p:txBody>
          <a:bodyPr/>
          <a:lstStyle/>
          <a:p>
            <a:r>
              <a:rPr lang="de-DE" dirty="0"/>
              <a:t>Differenzkontrakte (engl. „</a:t>
            </a:r>
            <a:r>
              <a:rPr lang="de-DE" dirty="0" err="1"/>
              <a:t>Contract</a:t>
            </a:r>
            <a:r>
              <a:rPr lang="de-DE" dirty="0"/>
              <a:t> </a:t>
            </a:r>
            <a:r>
              <a:rPr lang="de-DE" dirty="0" err="1"/>
              <a:t>For</a:t>
            </a:r>
            <a:r>
              <a:rPr lang="de-DE" dirty="0"/>
              <a:t> </a:t>
            </a:r>
            <a:r>
              <a:rPr lang="de-DE" dirty="0" err="1"/>
              <a:t>Difference</a:t>
            </a:r>
            <a:r>
              <a:rPr lang="de-DE" dirty="0"/>
              <a:t>“) bilden den Basiswert 1 zu 1 ab und ermöglichen große Hebel-Effekte</a:t>
            </a:r>
          </a:p>
        </p:txBody>
      </p:sp>
      <p:grpSp>
        <p:nvGrpSpPr>
          <p:cNvPr id="18" name="Gruppieren 17">
            <a:extLst>
              <a:ext uri="{FF2B5EF4-FFF2-40B4-BE49-F238E27FC236}">
                <a16:creationId xmlns:a16="http://schemas.microsoft.com/office/drawing/2014/main" id="{D7580763-B6A3-4298-8F7D-A4D85BC2FF87}"/>
              </a:ext>
            </a:extLst>
          </p:cNvPr>
          <p:cNvGrpSpPr/>
          <p:nvPr/>
        </p:nvGrpSpPr>
        <p:grpSpPr>
          <a:xfrm>
            <a:off x="-23400" y="1405380"/>
            <a:ext cx="12168360" cy="4840540"/>
            <a:chOff x="-23400" y="1506980"/>
            <a:chExt cx="12168360" cy="4840540"/>
          </a:xfrm>
        </p:grpSpPr>
        <p:sp>
          <p:nvSpPr>
            <p:cNvPr id="7" name="Line 2">
              <a:extLst>
                <a:ext uri="{FF2B5EF4-FFF2-40B4-BE49-F238E27FC236}">
                  <a16:creationId xmlns:a16="http://schemas.microsoft.com/office/drawing/2014/main" id="{10F58C3C-5608-4D1C-8A46-AC8582A72DE8}"/>
                </a:ext>
              </a:extLst>
            </p:cNvPr>
            <p:cNvSpPr/>
            <p:nvPr/>
          </p:nvSpPr>
          <p:spPr>
            <a:xfrm flipV="1">
              <a:off x="1582920" y="150698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solidFill>
                  <a:sysClr val="windowText" lastClr="000000"/>
                </a:solidFill>
                <a:latin typeface="Arial" panose="020B0604020202020204" pitchFamily="34" charset="0"/>
                <a:cs typeface="Arial" panose="020B0604020202020204" pitchFamily="34" charset="0"/>
              </a:endParaRPr>
            </a:p>
          </p:txBody>
        </p:sp>
        <p:sp>
          <p:nvSpPr>
            <p:cNvPr id="9" name="CustomShape 3">
              <a:extLst>
                <a:ext uri="{FF2B5EF4-FFF2-40B4-BE49-F238E27FC236}">
                  <a16:creationId xmlns:a16="http://schemas.microsoft.com/office/drawing/2014/main" id="{6C7F5459-E600-40BA-AC2A-36F0CE5C4015}"/>
                </a:ext>
              </a:extLst>
            </p:cNvPr>
            <p:cNvSpPr/>
            <p:nvPr/>
          </p:nvSpPr>
          <p:spPr>
            <a:xfrm>
              <a:off x="1583280" y="1701720"/>
              <a:ext cx="5185440" cy="235149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2670" b="1" strike="noStrike" spc="-1">
                  <a:solidFill>
                    <a:sysClr val="windowText" lastClr="000000"/>
                  </a:solidFill>
                  <a:latin typeface="Arial" panose="020B0604020202020204" pitchFamily="34" charset="0"/>
                  <a:cs typeface="Arial" panose="020B0604020202020204" pitchFamily="34" charset="0"/>
                </a:rPr>
                <a:t>Differenzkontrakte</a:t>
              </a:r>
              <a:endParaRPr lang="de-DE" sz="2670" b="0" strike="noStrike" spc="-1">
                <a:solidFill>
                  <a:sysClr val="windowText" lastClr="000000"/>
                </a:solidFill>
                <a:latin typeface="Arial" panose="020B0604020202020204" pitchFamily="34" charset="0"/>
                <a:cs typeface="Arial" panose="020B0604020202020204" pitchFamily="34" charset="0"/>
              </a:endParaRPr>
            </a:p>
            <a:p>
              <a:pPr>
                <a:lnSpc>
                  <a:spcPct val="100000"/>
                </a:lnSpc>
              </a:pPr>
              <a:endParaRPr lang="de-DE" sz="2670" b="0" strike="noStrike" spc="-1">
                <a:solidFill>
                  <a:sysClr val="windowText" lastClr="000000"/>
                </a:solidFill>
                <a:latin typeface="Arial" panose="020B0604020202020204" pitchFamily="34" charset="0"/>
                <a:cs typeface="Arial" panose="020B0604020202020204" pitchFamily="34" charset="0"/>
              </a:endParaRPr>
            </a:p>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Ein Differenzkontrakt stellt ein derivatives Finanzprodukt dar, welches keine Laufzeit besitzt und somit kein Termingeschäft darstellt.</a:t>
              </a:r>
            </a:p>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Der Kontrakt bildet den Basiswert 1 zu 1 ab!</a:t>
              </a:r>
            </a:p>
            <a:p>
              <a:pPr>
                <a:lnSpc>
                  <a:spcPct val="100000"/>
                </a:lnSpc>
              </a:pPr>
              <a:r>
                <a:rPr lang="de-DE" sz="1870" b="0" i="1" strike="noStrike" spc="-1">
                  <a:solidFill>
                    <a:sysClr val="windowText" lastClr="000000"/>
                  </a:solidFill>
                  <a:latin typeface="Arial" panose="020B0604020202020204" pitchFamily="34" charset="0"/>
                  <a:cs typeface="Arial" panose="020B0604020202020204" pitchFamily="34" charset="0"/>
                </a:rPr>
                <a:t>(= sog. „Delta One“ Produkt)</a:t>
              </a:r>
              <a:endParaRPr lang="de-DE" sz="1870" b="0" strike="noStrike" spc="-1">
                <a:solidFill>
                  <a:sysClr val="windowText" lastClr="000000"/>
                </a:solidFill>
                <a:latin typeface="Arial" panose="020B0604020202020204" pitchFamily="34" charset="0"/>
                <a:cs typeface="Arial" panose="020B0604020202020204" pitchFamily="34" charset="0"/>
              </a:endParaRPr>
            </a:p>
          </p:txBody>
        </p:sp>
        <p:sp>
          <p:nvSpPr>
            <p:cNvPr id="11" name="CustomShape 4">
              <a:extLst>
                <a:ext uri="{FF2B5EF4-FFF2-40B4-BE49-F238E27FC236}">
                  <a16:creationId xmlns:a16="http://schemas.microsoft.com/office/drawing/2014/main" id="{A42384AB-A5FB-4F5C-BD7E-2B7B6DC6807E}"/>
                </a:ext>
              </a:extLst>
            </p:cNvPr>
            <p:cNvSpPr/>
            <p:nvPr/>
          </p:nvSpPr>
          <p:spPr>
            <a:xfrm>
              <a:off x="6671880" y="2277360"/>
              <a:ext cx="3983040" cy="181750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Durch das Hinterlegen von Sicherheitsleistungen (Margin) ergibt sich ein Hebel-Effekt.</a:t>
              </a:r>
            </a:p>
            <a:p>
              <a:pPr>
                <a:lnSpc>
                  <a:spcPct val="100000"/>
                </a:lnSpc>
              </a:pPr>
              <a:endParaRPr lang="de-DE" sz="1870" b="0" strike="noStrike" spc="-1">
                <a:solidFill>
                  <a:sysClr val="windowText" lastClr="000000"/>
                </a:solidFill>
                <a:latin typeface="Arial" panose="020B0604020202020204" pitchFamily="34" charset="0"/>
                <a:cs typeface="Arial" panose="020B0604020202020204" pitchFamily="34" charset="0"/>
              </a:endParaRPr>
            </a:p>
            <a:p>
              <a:pPr>
                <a:lnSpc>
                  <a:spcPct val="100000"/>
                </a:lnSpc>
              </a:pPr>
              <a:r>
                <a:rPr lang="de-DE" sz="1870" b="0" strike="noStrike" spc="-1">
                  <a:solidFill>
                    <a:sysClr val="windowText" lastClr="000000"/>
                  </a:solidFill>
                  <a:latin typeface="Arial" panose="020B0604020202020204" pitchFamily="34" charset="0"/>
                  <a:cs typeface="Arial" panose="020B0604020202020204" pitchFamily="34" charset="0"/>
                </a:rPr>
                <a:t>Gewinne/Verluste werden über Cash-Settlement bezahlt.</a:t>
              </a:r>
            </a:p>
          </p:txBody>
        </p:sp>
        <p:pic>
          <p:nvPicPr>
            <p:cNvPr id="13" name="Grafik 12">
              <a:extLst>
                <a:ext uri="{FF2B5EF4-FFF2-40B4-BE49-F238E27FC236}">
                  <a16:creationId xmlns:a16="http://schemas.microsoft.com/office/drawing/2014/main" id="{DCB8C235-A390-4476-91EA-9474715A61B7}"/>
                </a:ext>
              </a:extLst>
            </p:cNvPr>
            <p:cNvPicPr/>
            <p:nvPr/>
          </p:nvPicPr>
          <p:blipFill>
            <a:blip r:embed="rId3"/>
            <a:stretch/>
          </p:blipFill>
          <p:spPr>
            <a:xfrm>
              <a:off x="-23400" y="4201560"/>
              <a:ext cx="3718800" cy="2093040"/>
            </a:xfrm>
            <a:prstGeom prst="rect">
              <a:avLst/>
            </a:prstGeom>
            <a:ln>
              <a:noFill/>
            </a:ln>
          </p:spPr>
        </p:pic>
        <p:pic>
          <p:nvPicPr>
            <p:cNvPr id="15" name="Grafik 14">
              <a:extLst>
                <a:ext uri="{FF2B5EF4-FFF2-40B4-BE49-F238E27FC236}">
                  <a16:creationId xmlns:a16="http://schemas.microsoft.com/office/drawing/2014/main" id="{393AF0A7-858D-4279-970C-D7886311CD5E}"/>
                </a:ext>
              </a:extLst>
            </p:cNvPr>
            <p:cNvPicPr/>
            <p:nvPr/>
          </p:nvPicPr>
          <p:blipFill>
            <a:blip r:embed="rId4"/>
            <a:srcRect t="18625"/>
            <a:stretch/>
          </p:blipFill>
          <p:spPr>
            <a:xfrm>
              <a:off x="3695760" y="4197240"/>
              <a:ext cx="4580280" cy="2097360"/>
            </a:xfrm>
            <a:prstGeom prst="rect">
              <a:avLst/>
            </a:prstGeom>
            <a:ln>
              <a:noFill/>
            </a:ln>
          </p:spPr>
        </p:pic>
        <p:pic>
          <p:nvPicPr>
            <p:cNvPr id="17" name="Grafik 16">
              <a:extLst>
                <a:ext uri="{FF2B5EF4-FFF2-40B4-BE49-F238E27FC236}">
                  <a16:creationId xmlns:a16="http://schemas.microsoft.com/office/drawing/2014/main" id="{B645D38A-1B4A-44A6-A794-B0A4DDC13200}"/>
                </a:ext>
              </a:extLst>
            </p:cNvPr>
            <p:cNvPicPr/>
            <p:nvPr/>
          </p:nvPicPr>
          <p:blipFill>
            <a:blip r:embed="rId5"/>
            <a:stretch/>
          </p:blipFill>
          <p:spPr>
            <a:xfrm>
              <a:off x="8227440" y="4197240"/>
              <a:ext cx="3917520" cy="2150280"/>
            </a:xfrm>
            <a:prstGeom prst="rect">
              <a:avLst/>
            </a:prstGeom>
            <a:ln>
              <a:noFill/>
            </a:ln>
          </p:spPr>
        </p:pic>
      </p:grpSp>
    </p:spTree>
    <p:extLst>
      <p:ext uri="{BB962C8B-B14F-4D97-AF65-F5344CB8AC3E}">
        <p14:creationId xmlns:p14="http://schemas.microsoft.com/office/powerpoint/2010/main" val="241338572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9FD12CB-EDEB-40E5-80BC-FF7BE1895900}"/>
              </a:ext>
            </a:extLst>
          </p:cNvPr>
          <p:cNvSpPr>
            <a:spLocks noGrp="1"/>
          </p:cNvSpPr>
          <p:nvPr>
            <p:ph type="sldNum" sz="quarter" idx="10"/>
          </p:nvPr>
        </p:nvSpPr>
        <p:spPr/>
        <p:txBody>
          <a:bodyPr/>
          <a:lstStyle/>
          <a:p>
            <a:fld id="{F966D7FF-EADB-4E92-9989-4DE4533DAC48}" type="slidenum">
              <a:rPr lang="de-DE" smtClean="0"/>
              <a:pPr/>
              <a:t>54</a:t>
            </a:fld>
            <a:endParaRPr lang="de-DE" dirty="0"/>
          </a:p>
        </p:txBody>
      </p:sp>
      <p:sp>
        <p:nvSpPr>
          <p:cNvPr id="3" name="Inhaltsplatzhalter 2">
            <a:extLst>
              <a:ext uri="{FF2B5EF4-FFF2-40B4-BE49-F238E27FC236}">
                <a16:creationId xmlns:a16="http://schemas.microsoft.com/office/drawing/2014/main" id="{54502927-74A3-4C60-B8F1-1B537F8E382C}"/>
              </a:ext>
            </a:extLst>
          </p:cNvPr>
          <p:cNvSpPr>
            <a:spLocks noGrp="1"/>
          </p:cNvSpPr>
          <p:nvPr>
            <p:ph idx="11"/>
          </p:nvPr>
        </p:nvSpPr>
        <p:spPr/>
        <p:txBody>
          <a:bodyPr/>
          <a:lstStyle/>
          <a:p>
            <a:r>
              <a:rPr lang="de-DE" sz="1200" dirty="0">
                <a:ea typeface="Verdana"/>
                <a:cs typeface="Arial"/>
              </a:rPr>
              <a:t>Long Position eines Differenzkontrakts im DAX</a:t>
            </a:r>
            <a:endParaRPr lang="de-DE" sz="1200" dirty="0"/>
          </a:p>
        </p:txBody>
      </p:sp>
      <p:sp>
        <p:nvSpPr>
          <p:cNvPr id="5" name="Inhaltsplatzhalter 4">
            <a:extLst>
              <a:ext uri="{FF2B5EF4-FFF2-40B4-BE49-F238E27FC236}">
                <a16:creationId xmlns:a16="http://schemas.microsoft.com/office/drawing/2014/main" id="{7270F059-4A8E-423C-A27F-CE18BC8EA101}"/>
              </a:ext>
            </a:extLst>
          </p:cNvPr>
          <p:cNvSpPr>
            <a:spLocks noGrp="1"/>
          </p:cNvSpPr>
          <p:nvPr>
            <p:ph idx="12"/>
          </p:nvPr>
        </p:nvSpPr>
        <p:spPr/>
        <p:txBody>
          <a:bodyPr/>
          <a:lstStyle/>
          <a:p>
            <a:r>
              <a:rPr lang="de-DE" dirty="0"/>
              <a:t>Mit einem CFD und großem Hebel kann auch bei kleinen Kursschwankungen ein großer Gewinn (und Verlust!) erwirtschaftet werden</a:t>
            </a:r>
          </a:p>
        </p:txBody>
      </p:sp>
      <p:grpSp>
        <p:nvGrpSpPr>
          <p:cNvPr id="18" name="Gruppieren 17">
            <a:extLst>
              <a:ext uri="{FF2B5EF4-FFF2-40B4-BE49-F238E27FC236}">
                <a16:creationId xmlns:a16="http://schemas.microsoft.com/office/drawing/2014/main" id="{B7744F1B-15F8-4CC6-8127-2BD1F2B2D984}"/>
              </a:ext>
            </a:extLst>
          </p:cNvPr>
          <p:cNvGrpSpPr/>
          <p:nvPr/>
        </p:nvGrpSpPr>
        <p:grpSpPr>
          <a:xfrm>
            <a:off x="190340" y="4851617"/>
            <a:ext cx="12612960" cy="1729080"/>
            <a:chOff x="203040" y="4868280"/>
            <a:chExt cx="12612960" cy="1729080"/>
          </a:xfrm>
        </p:grpSpPr>
        <p:sp>
          <p:nvSpPr>
            <p:cNvPr id="7" name="CustomShape 2">
              <a:extLst>
                <a:ext uri="{FF2B5EF4-FFF2-40B4-BE49-F238E27FC236}">
                  <a16:creationId xmlns:a16="http://schemas.microsoft.com/office/drawing/2014/main" id="{75260CAE-1418-4C6C-9600-4FB7B4838908}"/>
                </a:ext>
              </a:extLst>
            </p:cNvPr>
            <p:cNvSpPr/>
            <p:nvPr/>
          </p:nvSpPr>
          <p:spPr>
            <a:xfrm>
              <a:off x="624240" y="4874760"/>
              <a:ext cx="12191760" cy="17226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ts val="320"/>
                </a:spcBef>
              </a:pPr>
              <a:r>
                <a:rPr lang="de-DE" sz="1600" b="1" strike="noStrike" spc="-1" dirty="0">
                  <a:solidFill>
                    <a:srgbClr val="000000"/>
                  </a:solidFill>
                  <a:latin typeface="Calibri"/>
                </a:rPr>
                <a:t>Einstieg (</a:t>
              </a:r>
              <a:r>
                <a:rPr lang="de-DE" sz="1600" b="1" strike="noStrike" spc="-1" dirty="0" err="1">
                  <a:solidFill>
                    <a:srgbClr val="000000"/>
                  </a:solidFill>
                  <a:latin typeface="Calibri"/>
                </a:rPr>
                <a:t>long</a:t>
              </a:r>
              <a:r>
                <a:rPr lang="de-DE" sz="1600" b="1" strike="noStrike" spc="-1" dirty="0">
                  <a:solidFill>
                    <a:srgbClr val="000000"/>
                  </a:solidFill>
                  <a:latin typeface="Calibri"/>
                </a:rPr>
                <a:t>)</a:t>
              </a:r>
              <a:r>
                <a:rPr lang="de-DE" sz="1600" b="0" strike="noStrike" spc="-1" dirty="0">
                  <a:solidFill>
                    <a:srgbClr val="000000"/>
                  </a:solidFill>
                  <a:latin typeface="Calibri"/>
                </a:rPr>
                <a:t> :      </a:t>
              </a:r>
              <a:r>
                <a:rPr lang="de-DE" sz="1600" b="0" strike="noStrike" spc="-1" dirty="0">
                  <a:solidFill>
                    <a:srgbClr val="808080"/>
                  </a:solidFill>
                  <a:latin typeface="Calibri"/>
                </a:rPr>
                <a:t>10.100 Punkte</a:t>
              </a:r>
              <a:endParaRPr lang="de-DE" sz="1600" b="0" strike="noStrike" spc="-1" dirty="0">
                <a:latin typeface="Arial"/>
              </a:endParaRPr>
            </a:p>
            <a:p>
              <a:pPr>
                <a:lnSpc>
                  <a:spcPct val="100000"/>
                </a:lnSpc>
                <a:spcBef>
                  <a:spcPts val="320"/>
                </a:spcBef>
              </a:pPr>
              <a:r>
                <a:rPr lang="de-DE" sz="1600" b="1" strike="noStrike" spc="-1" dirty="0">
                  <a:solidFill>
                    <a:srgbClr val="000000"/>
                  </a:solidFill>
                  <a:latin typeface="Calibri"/>
                </a:rPr>
                <a:t>Ausstieg  (</a:t>
              </a:r>
              <a:r>
                <a:rPr lang="de-DE" sz="1600" b="1" strike="noStrike" spc="-1" dirty="0" err="1">
                  <a:solidFill>
                    <a:srgbClr val="000000"/>
                  </a:solidFill>
                  <a:latin typeface="Calibri"/>
                </a:rPr>
                <a:t>short</a:t>
              </a:r>
              <a:r>
                <a:rPr lang="de-DE" sz="1600" b="1" strike="noStrike" spc="-1" dirty="0">
                  <a:solidFill>
                    <a:srgbClr val="000000"/>
                  </a:solidFill>
                  <a:latin typeface="Calibri"/>
                </a:rPr>
                <a:t>):   </a:t>
              </a:r>
              <a:r>
                <a:rPr lang="de-DE" sz="1600" b="0" strike="noStrike" spc="-1" dirty="0">
                  <a:solidFill>
                    <a:srgbClr val="808080"/>
                  </a:solidFill>
                  <a:latin typeface="Calibri"/>
                </a:rPr>
                <a:t>10.900 Punkte</a:t>
              </a:r>
              <a:endParaRPr lang="de-DE" sz="1600" b="0" strike="noStrike" spc="-1" dirty="0">
                <a:latin typeface="Arial"/>
              </a:endParaRPr>
            </a:p>
            <a:p>
              <a:pPr>
                <a:lnSpc>
                  <a:spcPct val="100000"/>
                </a:lnSpc>
                <a:spcBef>
                  <a:spcPts val="320"/>
                </a:spcBef>
              </a:pPr>
              <a:r>
                <a:rPr lang="de-DE" sz="1600" b="1" strike="noStrike" spc="-1" dirty="0">
                  <a:solidFill>
                    <a:srgbClr val="000000"/>
                  </a:solidFill>
                  <a:latin typeface="Calibri"/>
                </a:rPr>
                <a:t>Differenz</a:t>
              </a:r>
              <a:r>
                <a:rPr lang="de-DE" sz="1600" b="0" strike="noStrike" spc="-1" dirty="0">
                  <a:solidFill>
                    <a:srgbClr val="000000"/>
                  </a:solidFill>
                  <a:latin typeface="Calibri"/>
                </a:rPr>
                <a:t>: 	</a:t>
              </a:r>
              <a:r>
                <a:rPr lang="de-DE" sz="1600" b="0" strike="noStrike" spc="-1" dirty="0">
                  <a:solidFill>
                    <a:srgbClr val="808080"/>
                  </a:solidFill>
                  <a:latin typeface="Calibri"/>
                </a:rPr>
                <a:t>800 Punkte</a:t>
              </a:r>
              <a:endParaRPr lang="de-DE" sz="1600" b="0" strike="noStrike" spc="-1" dirty="0">
                <a:latin typeface="Arial"/>
              </a:endParaRPr>
            </a:p>
            <a:p>
              <a:pPr marL="343080" indent="-342720">
                <a:lnSpc>
                  <a:spcPct val="100000"/>
                </a:lnSpc>
                <a:spcBef>
                  <a:spcPts val="320"/>
                </a:spcBef>
                <a:buClr>
                  <a:srgbClr val="000000"/>
                </a:buClr>
                <a:buFont typeface="Wingdings" charset="2"/>
                <a:buChar char=""/>
              </a:pPr>
              <a:r>
                <a:rPr lang="de-DE" sz="1600" b="0" strike="noStrike" spc="-1" dirty="0">
                  <a:solidFill>
                    <a:srgbClr val="000000"/>
                  </a:solidFill>
                  <a:latin typeface="Calibri"/>
                </a:rPr>
                <a:t>Jeder Punkt bedeutet 1€ Gewinn/Verlust. Margin (Sicherheitsleistung) meist  0,2 - 1% (je nach Broker) </a:t>
              </a:r>
              <a:r>
                <a:rPr lang="de-DE" sz="1600" b="0" strike="noStrike" spc="-1" dirty="0">
                  <a:solidFill>
                    <a:srgbClr val="000000"/>
                  </a:solidFill>
                  <a:latin typeface="Wingdings"/>
                </a:rPr>
                <a:t></a:t>
              </a:r>
              <a:r>
                <a:rPr lang="de-DE" sz="1600" b="0" strike="noStrike" spc="-1" dirty="0">
                  <a:solidFill>
                    <a:srgbClr val="000000"/>
                  </a:solidFill>
                  <a:latin typeface="Calibri"/>
                </a:rPr>
                <a:t> Hebel 100-500</a:t>
              </a:r>
              <a:endParaRPr lang="de-DE" sz="1600" b="0" strike="noStrike" spc="-1" dirty="0">
                <a:latin typeface="Arial"/>
              </a:endParaRPr>
            </a:p>
            <a:p>
              <a:pPr>
                <a:lnSpc>
                  <a:spcPct val="100000"/>
                </a:lnSpc>
                <a:spcBef>
                  <a:spcPts val="320"/>
                </a:spcBef>
              </a:pPr>
              <a:r>
                <a:rPr lang="de-DE" sz="1600" b="0" strike="noStrike" spc="-1" dirty="0">
                  <a:solidFill>
                    <a:srgbClr val="000000"/>
                  </a:solidFill>
                  <a:latin typeface="Calibri"/>
                </a:rPr>
                <a:t>Somit ergibt sich in diesem Positionstrade ein Gewinn (ohne Transaktionskosten) von 800 € mit lediglich 20-100 Euro Kapitaleinsatz</a:t>
              </a:r>
              <a:endParaRPr lang="de-DE" sz="1600" b="0" strike="noStrike" spc="-1" dirty="0">
                <a:latin typeface="Arial"/>
              </a:endParaRPr>
            </a:p>
          </p:txBody>
        </p:sp>
        <p:sp>
          <p:nvSpPr>
            <p:cNvPr id="9" name="Line 3">
              <a:extLst>
                <a:ext uri="{FF2B5EF4-FFF2-40B4-BE49-F238E27FC236}">
                  <a16:creationId xmlns:a16="http://schemas.microsoft.com/office/drawing/2014/main" id="{6C3A9924-ABFD-414C-8E9C-F4AA222F91F1}"/>
                </a:ext>
              </a:extLst>
            </p:cNvPr>
            <p:cNvSpPr/>
            <p:nvPr/>
          </p:nvSpPr>
          <p:spPr>
            <a:xfrm flipV="1">
              <a:off x="624240" y="5016240"/>
              <a:ext cx="360" cy="100548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
          <p:nvSpPr>
            <p:cNvPr id="11" name="Line 4">
              <a:extLst>
                <a:ext uri="{FF2B5EF4-FFF2-40B4-BE49-F238E27FC236}">
                  <a16:creationId xmlns:a16="http://schemas.microsoft.com/office/drawing/2014/main" id="{E38DB6DF-5180-4F1F-B87D-BE2202B9BCFD}"/>
                </a:ext>
              </a:extLst>
            </p:cNvPr>
            <p:cNvSpPr/>
            <p:nvPr/>
          </p:nvSpPr>
          <p:spPr>
            <a:xfrm>
              <a:off x="203040" y="4868280"/>
              <a:ext cx="11844720" cy="36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grpSp>
      <p:grpSp>
        <p:nvGrpSpPr>
          <p:cNvPr id="25" name="Gruppieren 24">
            <a:extLst>
              <a:ext uri="{FF2B5EF4-FFF2-40B4-BE49-F238E27FC236}">
                <a16:creationId xmlns:a16="http://schemas.microsoft.com/office/drawing/2014/main" id="{C248D5AF-4F7B-4B7B-AA5D-15C06B7A5A4F}"/>
              </a:ext>
            </a:extLst>
          </p:cNvPr>
          <p:cNvGrpSpPr/>
          <p:nvPr/>
        </p:nvGrpSpPr>
        <p:grpSpPr>
          <a:xfrm>
            <a:off x="3451554" y="1479324"/>
            <a:ext cx="5288891" cy="3165982"/>
            <a:chOff x="8522060" y="1553293"/>
            <a:chExt cx="5288891" cy="3165982"/>
          </a:xfrm>
        </p:grpSpPr>
        <p:pic>
          <p:nvPicPr>
            <p:cNvPr id="20" name="Picture 7">
              <a:extLst>
                <a:ext uri="{FF2B5EF4-FFF2-40B4-BE49-F238E27FC236}">
                  <a16:creationId xmlns:a16="http://schemas.microsoft.com/office/drawing/2014/main" id="{2C255DD4-4A45-4F92-92E8-BE528EB0CD4B}"/>
                </a:ext>
              </a:extLst>
            </p:cNvPr>
            <p:cNvPicPr/>
            <p:nvPr/>
          </p:nvPicPr>
          <p:blipFill>
            <a:blip r:embed="rId2"/>
            <a:stretch/>
          </p:blipFill>
          <p:spPr>
            <a:xfrm>
              <a:off x="8522060" y="1553293"/>
              <a:ext cx="5288891" cy="3165982"/>
            </a:xfrm>
            <a:prstGeom prst="rect">
              <a:avLst/>
            </a:prstGeom>
            <a:ln>
              <a:noFill/>
            </a:ln>
          </p:spPr>
        </p:pic>
        <p:sp>
          <p:nvSpPr>
            <p:cNvPr id="22" name="Line 6">
              <a:extLst>
                <a:ext uri="{FF2B5EF4-FFF2-40B4-BE49-F238E27FC236}">
                  <a16:creationId xmlns:a16="http://schemas.microsoft.com/office/drawing/2014/main" id="{C0BEB82C-41CF-49D6-BF1A-52CC9FA9DDDD}"/>
                </a:ext>
              </a:extLst>
            </p:cNvPr>
            <p:cNvSpPr/>
            <p:nvPr/>
          </p:nvSpPr>
          <p:spPr>
            <a:xfrm>
              <a:off x="10553356" y="2053357"/>
              <a:ext cx="958680" cy="360"/>
            </a:xfrm>
            <a:prstGeom prst="line">
              <a:avLst/>
            </a:prstGeom>
            <a:ln w="25560">
              <a:solidFill>
                <a:srgbClr val="FF0000"/>
              </a:solidFill>
            </a:ln>
          </p:spPr>
          <p:style>
            <a:lnRef idx="1">
              <a:schemeClr val="accent1"/>
            </a:lnRef>
            <a:fillRef idx="0">
              <a:schemeClr val="accent1"/>
            </a:fillRef>
            <a:effectRef idx="0">
              <a:schemeClr val="accent1"/>
            </a:effectRef>
            <a:fontRef idx="minor"/>
          </p:style>
          <p:txBody>
            <a:bodyPr/>
            <a:lstStyle/>
            <a:p>
              <a:endParaRPr lang="de-DE"/>
            </a:p>
          </p:txBody>
        </p:sp>
        <p:sp>
          <p:nvSpPr>
            <p:cNvPr id="24" name="Line 6">
              <a:extLst>
                <a:ext uri="{FF2B5EF4-FFF2-40B4-BE49-F238E27FC236}">
                  <a16:creationId xmlns:a16="http://schemas.microsoft.com/office/drawing/2014/main" id="{28625519-E49F-4E9F-94F2-AECD9616546B}"/>
                </a:ext>
              </a:extLst>
            </p:cNvPr>
            <p:cNvSpPr/>
            <p:nvPr/>
          </p:nvSpPr>
          <p:spPr>
            <a:xfrm>
              <a:off x="8560470" y="3667691"/>
              <a:ext cx="958680" cy="360"/>
            </a:xfrm>
            <a:prstGeom prst="line">
              <a:avLst/>
            </a:prstGeom>
            <a:ln w="25560">
              <a:solidFill>
                <a:srgbClr val="FF0000"/>
              </a:solidFill>
            </a:ln>
          </p:spPr>
          <p:style>
            <a:lnRef idx="1">
              <a:schemeClr val="accent1"/>
            </a:lnRef>
            <a:fillRef idx="0">
              <a:schemeClr val="accent1"/>
            </a:fillRef>
            <a:effectRef idx="0">
              <a:schemeClr val="accent1"/>
            </a:effectRef>
            <a:fontRef idx="minor"/>
          </p:style>
          <p:txBody>
            <a:bodyPr/>
            <a:lstStyle/>
            <a:p>
              <a:endParaRPr lang="de-DE" dirty="0"/>
            </a:p>
          </p:txBody>
        </p:sp>
      </p:grpSp>
    </p:spTree>
    <p:extLst>
      <p:ext uri="{BB962C8B-B14F-4D97-AF65-F5344CB8AC3E}">
        <p14:creationId xmlns:p14="http://schemas.microsoft.com/office/powerpoint/2010/main" val="4200238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0AD8448-08B1-4129-BDD9-68823578217E}"/>
              </a:ext>
            </a:extLst>
          </p:cNvPr>
          <p:cNvSpPr>
            <a:spLocks noGrp="1"/>
          </p:cNvSpPr>
          <p:nvPr>
            <p:ph type="sldNum" sz="quarter" idx="10"/>
          </p:nvPr>
        </p:nvSpPr>
        <p:spPr/>
        <p:txBody>
          <a:bodyPr/>
          <a:lstStyle/>
          <a:p>
            <a:fld id="{F966D7FF-EADB-4E92-9989-4DE4533DAC48}" type="slidenum">
              <a:rPr lang="de-DE" smtClean="0"/>
              <a:pPr/>
              <a:t>55</a:t>
            </a:fld>
            <a:endParaRPr lang="de-DE" dirty="0"/>
          </a:p>
        </p:txBody>
      </p:sp>
      <p:sp>
        <p:nvSpPr>
          <p:cNvPr id="3" name="Inhaltsplatzhalter 2">
            <a:extLst>
              <a:ext uri="{FF2B5EF4-FFF2-40B4-BE49-F238E27FC236}">
                <a16:creationId xmlns:a16="http://schemas.microsoft.com/office/drawing/2014/main" id="{AC63F662-2E9F-4303-893C-DFB3D172A65A}"/>
              </a:ext>
            </a:extLst>
          </p:cNvPr>
          <p:cNvSpPr>
            <a:spLocks noGrp="1"/>
          </p:cNvSpPr>
          <p:nvPr>
            <p:ph idx="11"/>
          </p:nvPr>
        </p:nvSpPr>
        <p:spPr/>
        <p:txBody>
          <a:bodyPr/>
          <a:lstStyle/>
          <a:p>
            <a:r>
              <a:rPr lang="de-DE" dirty="0"/>
              <a:t>Pro und Contra von CFDs</a:t>
            </a:r>
          </a:p>
        </p:txBody>
      </p:sp>
      <p:sp>
        <p:nvSpPr>
          <p:cNvPr id="5" name="Inhaltsplatzhalter 4">
            <a:extLst>
              <a:ext uri="{FF2B5EF4-FFF2-40B4-BE49-F238E27FC236}">
                <a16:creationId xmlns:a16="http://schemas.microsoft.com/office/drawing/2014/main" id="{AE03C1FE-8CB9-443C-B465-949F2281D14C}"/>
              </a:ext>
            </a:extLst>
          </p:cNvPr>
          <p:cNvSpPr>
            <a:spLocks noGrp="1"/>
          </p:cNvSpPr>
          <p:nvPr>
            <p:ph idx="12"/>
          </p:nvPr>
        </p:nvSpPr>
        <p:spPr/>
        <p:txBody>
          <a:bodyPr/>
          <a:lstStyle/>
          <a:p>
            <a:r>
              <a:rPr lang="de-DE" dirty="0"/>
              <a:t>CFDs sind einfach gestaltet und können hohe Hebel ermöglichen, sind aber gleichzeitig damit ein sehr spekulatives und risikoreiches Finanzinstrument</a:t>
            </a:r>
          </a:p>
        </p:txBody>
      </p:sp>
      <p:grpSp>
        <p:nvGrpSpPr>
          <p:cNvPr id="28" name="Gruppieren 27">
            <a:extLst>
              <a:ext uri="{FF2B5EF4-FFF2-40B4-BE49-F238E27FC236}">
                <a16:creationId xmlns:a16="http://schemas.microsoft.com/office/drawing/2014/main" id="{AABCDAC6-EAB3-46FC-A586-9CF4952A5470}"/>
              </a:ext>
            </a:extLst>
          </p:cNvPr>
          <p:cNvGrpSpPr/>
          <p:nvPr/>
        </p:nvGrpSpPr>
        <p:grpSpPr>
          <a:xfrm>
            <a:off x="719640" y="1316520"/>
            <a:ext cx="10748160" cy="4892558"/>
            <a:chOff x="719640" y="1316520"/>
            <a:chExt cx="10748160" cy="4892558"/>
          </a:xfrm>
        </p:grpSpPr>
        <p:sp>
          <p:nvSpPr>
            <p:cNvPr id="7" name="CustomShape 2">
              <a:extLst>
                <a:ext uri="{FF2B5EF4-FFF2-40B4-BE49-F238E27FC236}">
                  <a16:creationId xmlns:a16="http://schemas.microsoft.com/office/drawing/2014/main" id="{3048690C-0266-4DE4-A5AD-07394132FD46}"/>
                </a:ext>
              </a:extLst>
            </p:cNvPr>
            <p:cNvSpPr/>
            <p:nvPr/>
          </p:nvSpPr>
          <p:spPr>
            <a:xfrm>
              <a:off x="8009640" y="1316520"/>
              <a:ext cx="3458160" cy="38268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417"/>
                </a:spcAft>
              </a:pPr>
              <a:r>
                <a:rPr lang="de-DE" sz="2140" b="1" strike="noStrike" spc="-1">
                  <a:solidFill>
                    <a:srgbClr val="FFFFFF"/>
                  </a:solidFill>
                  <a:latin typeface="Calibri"/>
                </a:rPr>
                <a:t>Nachteile</a:t>
              </a:r>
              <a:endParaRPr lang="de-DE" sz="2140" b="0" strike="noStrike" spc="-1">
                <a:latin typeface="Arial"/>
              </a:endParaRPr>
            </a:p>
          </p:txBody>
        </p:sp>
        <p:sp>
          <p:nvSpPr>
            <p:cNvPr id="9" name="CustomShape 3">
              <a:extLst>
                <a:ext uri="{FF2B5EF4-FFF2-40B4-BE49-F238E27FC236}">
                  <a16:creationId xmlns:a16="http://schemas.microsoft.com/office/drawing/2014/main" id="{94F4410D-0AF3-494A-912D-15CDD6151E3E}"/>
                </a:ext>
              </a:extLst>
            </p:cNvPr>
            <p:cNvSpPr/>
            <p:nvPr/>
          </p:nvSpPr>
          <p:spPr>
            <a:xfrm>
              <a:off x="8009640" y="1789718"/>
              <a:ext cx="3458160" cy="4419360"/>
            </a:xfrm>
            <a:prstGeom prst="rect">
              <a:avLst/>
            </a:prstGeom>
            <a:gradFill rotWithShape="0">
              <a:gsLst>
                <a:gs pos="0">
                  <a:srgbClr val="E5E5E5"/>
                </a:gs>
                <a:gs pos="100000">
                  <a:srgbClr val="F2F2F2"/>
                </a:gs>
              </a:gsLst>
              <a:lin ang="16200000"/>
            </a:gradFill>
            <a:ln w="9360">
              <a:solidFill>
                <a:srgbClr val="BFBFBF"/>
              </a:solidFill>
              <a:round/>
            </a:ln>
            <a:effectLst>
              <a:outerShdw blurRad="40000" dist="23040" dir="5400000" rotWithShape="0">
                <a:srgbClr val="000000">
                  <a:alpha val="35000"/>
                </a:srgbClr>
              </a:outerShdw>
            </a:effectLst>
          </p:spPr>
          <p:style>
            <a:lnRef idx="0">
              <a:scrgbClr r="0" g="0" b="0"/>
            </a:lnRef>
            <a:fillRef idx="0">
              <a:scrgbClr r="0" g="0" b="0"/>
            </a:fillRef>
            <a:effectRef idx="0">
              <a:scrgbClr r="0" g="0" b="0"/>
            </a:effectRef>
            <a:fontRef idx="minor"/>
          </p:style>
          <p:txBody>
            <a:bodyPr lIns="96120" tIns="60840" rIns="122040" bIns="6084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880" indent="-380520">
                <a:lnSpc>
                  <a:spcPct val="100000"/>
                </a:lnSpc>
                <a:buClr>
                  <a:srgbClr val="000000"/>
                </a:buClr>
                <a:buFont typeface="Wingdings" charset="2"/>
                <a:buChar char=""/>
              </a:pPr>
              <a:r>
                <a:rPr lang="de-DE" sz="2140" b="0" strike="noStrike" spc="-1">
                  <a:solidFill>
                    <a:srgbClr val="000000"/>
                  </a:solidFill>
                  <a:latin typeface="Calibri"/>
                </a:rPr>
                <a:t>Kann zu Totalverlust führen</a:t>
              </a:r>
              <a:endParaRPr lang="de-DE" sz="2140" b="0" strike="noStrike" spc="-1">
                <a:latin typeface="Arial"/>
              </a:endParaRPr>
            </a:p>
            <a:p>
              <a:pPr>
                <a:lnSpc>
                  <a:spcPct val="100000"/>
                </a:lnSpc>
              </a:pPr>
              <a:endParaRPr lang="de-DE" sz="2140" b="0" strike="noStrike" spc="-1">
                <a:latin typeface="Arial"/>
              </a:endParaRPr>
            </a:p>
            <a:p>
              <a:pPr marL="380880" indent="-380520">
                <a:lnSpc>
                  <a:spcPct val="100000"/>
                </a:lnSpc>
                <a:buClr>
                  <a:srgbClr val="000000"/>
                </a:buClr>
                <a:buFont typeface="Wingdings" charset="2"/>
                <a:buChar char=""/>
              </a:pPr>
              <a:r>
                <a:rPr lang="de-DE" sz="2140" b="0" strike="noStrike" spc="-1">
                  <a:solidFill>
                    <a:srgbClr val="000000"/>
                  </a:solidFill>
                  <a:latin typeface="Calibri"/>
                </a:rPr>
                <a:t>Automatisches Schließen der Position möglich wenn kein Nachschuss bei Margin Call</a:t>
              </a:r>
              <a:endParaRPr lang="de-DE" sz="2140" b="0" strike="noStrike" spc="-1">
                <a:latin typeface="Arial"/>
              </a:endParaRPr>
            </a:p>
            <a:p>
              <a:pPr>
                <a:lnSpc>
                  <a:spcPct val="100000"/>
                </a:lnSpc>
              </a:pPr>
              <a:endParaRPr lang="de-DE" sz="2140" b="0" strike="noStrike" spc="-1">
                <a:latin typeface="Arial"/>
              </a:endParaRPr>
            </a:p>
            <a:p>
              <a:pPr marL="380880" indent="-380520">
                <a:lnSpc>
                  <a:spcPct val="100000"/>
                </a:lnSpc>
                <a:buClr>
                  <a:srgbClr val="000000"/>
                </a:buClr>
                <a:buFont typeface="Wingdings" charset="2"/>
                <a:buChar char=""/>
              </a:pPr>
              <a:r>
                <a:rPr lang="de-DE" sz="2140" b="0" strike="noStrike" spc="-1">
                  <a:solidFill>
                    <a:srgbClr val="000000"/>
                  </a:solidFill>
                  <a:latin typeface="Calibri"/>
                </a:rPr>
                <a:t>Sehr spekulatives Anlageinstrument </a:t>
              </a:r>
              <a:endParaRPr lang="de-DE" sz="2140" b="0" strike="noStrike" spc="-1">
                <a:latin typeface="Arial"/>
              </a:endParaRPr>
            </a:p>
          </p:txBody>
        </p:sp>
        <p:sp>
          <p:nvSpPr>
            <p:cNvPr id="11" name="CustomShape 4">
              <a:extLst>
                <a:ext uri="{FF2B5EF4-FFF2-40B4-BE49-F238E27FC236}">
                  <a16:creationId xmlns:a16="http://schemas.microsoft.com/office/drawing/2014/main" id="{9473E58D-8F23-4248-9FA4-5A3FC163F6F3}"/>
                </a:ext>
              </a:extLst>
            </p:cNvPr>
            <p:cNvSpPr/>
            <p:nvPr/>
          </p:nvSpPr>
          <p:spPr>
            <a:xfrm>
              <a:off x="719640" y="1316520"/>
              <a:ext cx="3456000" cy="38268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Aft>
                  <a:spcPts val="417"/>
                </a:spcAft>
              </a:pPr>
              <a:r>
                <a:rPr lang="de-DE" sz="2140" b="1" strike="noStrike" spc="-1">
                  <a:solidFill>
                    <a:srgbClr val="FFFFFF"/>
                  </a:solidFill>
                  <a:latin typeface="Calibri"/>
                </a:rPr>
                <a:t>Vorteile</a:t>
              </a:r>
              <a:endParaRPr lang="de-DE" sz="2140" b="0" strike="noStrike" spc="-1">
                <a:latin typeface="Arial"/>
              </a:endParaRPr>
            </a:p>
          </p:txBody>
        </p:sp>
        <p:sp>
          <p:nvSpPr>
            <p:cNvPr id="13" name="CustomShape 5">
              <a:extLst>
                <a:ext uri="{FF2B5EF4-FFF2-40B4-BE49-F238E27FC236}">
                  <a16:creationId xmlns:a16="http://schemas.microsoft.com/office/drawing/2014/main" id="{83063483-7155-4193-93B7-0A2BE473C640}"/>
                </a:ext>
              </a:extLst>
            </p:cNvPr>
            <p:cNvSpPr/>
            <p:nvPr/>
          </p:nvSpPr>
          <p:spPr>
            <a:xfrm>
              <a:off x="719640" y="1793679"/>
              <a:ext cx="3456000" cy="4415040"/>
            </a:xfrm>
            <a:prstGeom prst="rect">
              <a:avLst/>
            </a:prstGeom>
            <a:gradFill rotWithShape="0">
              <a:gsLst>
                <a:gs pos="0">
                  <a:srgbClr val="E5E5E5"/>
                </a:gs>
                <a:gs pos="100000">
                  <a:srgbClr val="F2F2F2"/>
                </a:gs>
              </a:gsLst>
              <a:lin ang="16200000"/>
            </a:gradFill>
            <a:ln w="9360">
              <a:solidFill>
                <a:srgbClr val="BFBFBF"/>
              </a:solidFill>
              <a:round/>
            </a:ln>
            <a:effectLst>
              <a:outerShdw blurRad="40000" dist="23040" dir="5400000" rotWithShape="0">
                <a:srgbClr val="000000">
                  <a:alpha val="35000"/>
                </a:srgbClr>
              </a:outerShdw>
            </a:effectLst>
          </p:spPr>
          <p:style>
            <a:lnRef idx="0">
              <a:scrgbClr r="0" g="0" b="0"/>
            </a:lnRef>
            <a:fillRef idx="0">
              <a:scrgbClr r="0" g="0" b="0"/>
            </a:fillRef>
            <a:effectRef idx="0">
              <a:scrgbClr r="0" g="0" b="0"/>
            </a:effectRef>
            <a:fontRef idx="minor"/>
          </p:style>
          <p:txBody>
            <a:bodyPr lIns="96120" tIns="60840" rIns="122040" bIns="6084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880" indent="-380520">
                <a:lnSpc>
                  <a:spcPct val="100000"/>
                </a:lnSpc>
                <a:buClr>
                  <a:srgbClr val="000000"/>
                </a:buClr>
                <a:buFont typeface="Wingdings" charset="2"/>
                <a:buChar char=""/>
              </a:pPr>
              <a:r>
                <a:rPr lang="de-DE" sz="2140" b="0" strike="noStrike" spc="-1">
                  <a:solidFill>
                    <a:srgbClr val="000000"/>
                  </a:solidFill>
                  <a:latin typeface="Calibri"/>
                </a:rPr>
                <a:t>Einfache Anwendbarkeit</a:t>
              </a:r>
              <a:endParaRPr lang="de-DE" sz="2140" b="0" strike="noStrike" spc="-1">
                <a:latin typeface="Arial"/>
              </a:endParaRPr>
            </a:p>
            <a:p>
              <a:pPr>
                <a:lnSpc>
                  <a:spcPct val="100000"/>
                </a:lnSpc>
              </a:pPr>
              <a:endParaRPr lang="de-DE" sz="2140" b="0" strike="noStrike" spc="-1">
                <a:latin typeface="Arial"/>
              </a:endParaRPr>
            </a:p>
            <a:p>
              <a:pPr marL="380880" indent="-380520">
                <a:lnSpc>
                  <a:spcPct val="100000"/>
                </a:lnSpc>
                <a:buClr>
                  <a:srgbClr val="000000"/>
                </a:buClr>
                <a:buFont typeface="Wingdings" charset="2"/>
                <a:buChar char=""/>
              </a:pPr>
              <a:r>
                <a:rPr lang="de-DE" sz="2140" b="0" strike="noStrike" spc="-1">
                  <a:solidFill>
                    <a:srgbClr val="000000"/>
                  </a:solidFill>
                  <a:latin typeface="Calibri"/>
                </a:rPr>
                <a:t>Verlust auf Kontokapital beschränkt</a:t>
              </a:r>
              <a:endParaRPr lang="de-DE" sz="2140" b="0" strike="noStrike" spc="-1">
                <a:latin typeface="Arial"/>
              </a:endParaRPr>
            </a:p>
            <a:p>
              <a:pPr>
                <a:lnSpc>
                  <a:spcPct val="100000"/>
                </a:lnSpc>
              </a:pPr>
              <a:endParaRPr lang="de-DE" sz="2140" b="0" strike="noStrike" spc="-1">
                <a:latin typeface="Arial"/>
              </a:endParaRPr>
            </a:p>
            <a:p>
              <a:pPr marL="380880" indent="-380520">
                <a:lnSpc>
                  <a:spcPct val="100000"/>
                </a:lnSpc>
                <a:buClr>
                  <a:srgbClr val="000000"/>
                </a:buClr>
                <a:buFont typeface="Wingdings" charset="2"/>
                <a:buChar char=""/>
              </a:pPr>
              <a:r>
                <a:rPr lang="de-DE" sz="2140" b="0" strike="noStrike" spc="-1">
                  <a:solidFill>
                    <a:srgbClr val="000000"/>
                  </a:solidFill>
                  <a:latin typeface="Calibri"/>
                </a:rPr>
                <a:t>Hohe Hebelwirkung</a:t>
              </a:r>
              <a:br/>
              <a:r>
                <a:rPr lang="de-DE" sz="2140" b="0" strike="noStrike" spc="-1">
                  <a:solidFill>
                    <a:srgbClr val="000000"/>
                  </a:solidFill>
                  <a:latin typeface="Calibri"/>
                </a:rPr>
                <a:t>(Begrenzt für Privatanleger)</a:t>
              </a:r>
              <a:endParaRPr lang="de-DE" sz="2140" b="0" strike="noStrike" spc="-1">
                <a:latin typeface="Arial"/>
              </a:endParaRPr>
            </a:p>
            <a:p>
              <a:pPr>
                <a:lnSpc>
                  <a:spcPct val="100000"/>
                </a:lnSpc>
              </a:pPr>
              <a:endParaRPr lang="de-DE" sz="2140" b="0" strike="noStrike" spc="-1">
                <a:latin typeface="Arial"/>
              </a:endParaRPr>
            </a:p>
            <a:p>
              <a:pPr marL="380880" indent="-380520">
                <a:lnSpc>
                  <a:spcPct val="100000"/>
                </a:lnSpc>
                <a:buClr>
                  <a:srgbClr val="000000"/>
                </a:buClr>
                <a:buFont typeface="Wingdings" charset="2"/>
                <a:buChar char=""/>
              </a:pPr>
              <a:r>
                <a:rPr lang="de-DE" sz="2140" b="0" strike="noStrike" spc="-1">
                  <a:solidFill>
                    <a:srgbClr val="000000"/>
                  </a:solidFill>
                  <a:latin typeface="Calibri"/>
                </a:rPr>
                <a:t>Aufbau von Long/Short-Positionen </a:t>
              </a:r>
              <a:endParaRPr lang="de-DE" sz="2140" b="0" strike="noStrike" spc="-1">
                <a:latin typeface="Arial"/>
              </a:endParaRPr>
            </a:p>
          </p:txBody>
        </p:sp>
        <p:sp>
          <p:nvSpPr>
            <p:cNvPr id="15" name="Line 7">
              <a:extLst>
                <a:ext uri="{FF2B5EF4-FFF2-40B4-BE49-F238E27FC236}">
                  <a16:creationId xmlns:a16="http://schemas.microsoft.com/office/drawing/2014/main" id="{FE0C989E-102B-4ED6-A203-917C7F6991BB}"/>
                </a:ext>
              </a:extLst>
            </p:cNvPr>
            <p:cNvSpPr/>
            <p:nvPr/>
          </p:nvSpPr>
          <p:spPr>
            <a:xfrm flipH="1" flipV="1">
              <a:off x="5043960" y="1749240"/>
              <a:ext cx="14760" cy="29520"/>
            </a:xfrm>
            <a:prstGeom prst="line">
              <a:avLst/>
            </a:prstGeom>
            <a:ln w="9360">
              <a:solidFill>
                <a:schemeClr val="accent3"/>
              </a:solidFill>
              <a:round/>
            </a:ln>
          </p:spPr>
          <p:style>
            <a:lnRef idx="0">
              <a:scrgbClr r="0" g="0" b="0"/>
            </a:lnRef>
            <a:fillRef idx="0">
              <a:scrgbClr r="0" g="0" b="0"/>
            </a:fillRef>
            <a:effectRef idx="0">
              <a:scrgbClr r="0" g="0" b="0"/>
            </a:effectRef>
            <a:fontRef idx="minor"/>
          </p:style>
          <p:txBody>
            <a:bodyPr/>
            <a:lstStyle/>
            <a:p>
              <a:endParaRPr lang="de-DE"/>
            </a:p>
          </p:txBody>
        </p:sp>
        <p:sp>
          <p:nvSpPr>
            <p:cNvPr id="17" name="Line 9">
              <a:extLst>
                <a:ext uri="{FF2B5EF4-FFF2-40B4-BE49-F238E27FC236}">
                  <a16:creationId xmlns:a16="http://schemas.microsoft.com/office/drawing/2014/main" id="{A95B685D-B697-44DE-BF8F-771E9432FB4B}"/>
                </a:ext>
              </a:extLst>
            </p:cNvPr>
            <p:cNvSpPr/>
            <p:nvPr/>
          </p:nvSpPr>
          <p:spPr>
            <a:xfrm flipV="1">
              <a:off x="6979680" y="2402280"/>
              <a:ext cx="29520" cy="14760"/>
            </a:xfrm>
            <a:prstGeom prst="line">
              <a:avLst/>
            </a:prstGeom>
            <a:ln w="9360">
              <a:solidFill>
                <a:schemeClr val="accent3"/>
              </a:solidFill>
              <a:round/>
            </a:ln>
          </p:spPr>
          <p:style>
            <a:lnRef idx="0">
              <a:scrgbClr r="0" g="0" b="0"/>
            </a:lnRef>
            <a:fillRef idx="0">
              <a:scrgbClr r="0" g="0" b="0"/>
            </a:fillRef>
            <a:effectRef idx="0">
              <a:scrgbClr r="0" g="0" b="0"/>
            </a:effectRef>
            <a:fontRef idx="minor"/>
          </p:style>
          <p:txBody>
            <a:bodyPr/>
            <a:lstStyle/>
            <a:p>
              <a:endParaRPr lang="de-DE"/>
            </a:p>
          </p:txBody>
        </p:sp>
        <p:sp>
          <p:nvSpPr>
            <p:cNvPr id="19" name="Line 10">
              <a:extLst>
                <a:ext uri="{FF2B5EF4-FFF2-40B4-BE49-F238E27FC236}">
                  <a16:creationId xmlns:a16="http://schemas.microsoft.com/office/drawing/2014/main" id="{909FEF66-B21B-434D-B700-690274220B07}"/>
                </a:ext>
              </a:extLst>
            </p:cNvPr>
            <p:cNvSpPr/>
            <p:nvPr/>
          </p:nvSpPr>
          <p:spPr>
            <a:xfrm>
              <a:off x="5121720" y="1522440"/>
              <a:ext cx="1956600" cy="650520"/>
            </a:xfrm>
            <a:prstGeom prst="line">
              <a:avLst/>
            </a:prstGeom>
            <a:ln w="28440">
              <a:solidFill>
                <a:schemeClr val="accent3"/>
              </a:solidFill>
              <a:round/>
            </a:ln>
          </p:spPr>
          <p:style>
            <a:lnRef idx="0">
              <a:scrgbClr r="0" g="0" b="0"/>
            </a:lnRef>
            <a:fillRef idx="0">
              <a:scrgbClr r="0" g="0" b="0"/>
            </a:fillRef>
            <a:effectRef idx="0">
              <a:scrgbClr r="0" g="0" b="0"/>
            </a:effectRef>
            <a:fontRef idx="minor"/>
          </p:style>
          <p:txBody>
            <a:bodyPr/>
            <a:lstStyle/>
            <a:p>
              <a:endParaRPr lang="de-DE"/>
            </a:p>
          </p:txBody>
        </p:sp>
        <p:sp>
          <p:nvSpPr>
            <p:cNvPr id="21" name="Line 14">
              <a:extLst>
                <a:ext uri="{FF2B5EF4-FFF2-40B4-BE49-F238E27FC236}">
                  <a16:creationId xmlns:a16="http://schemas.microsoft.com/office/drawing/2014/main" id="{1B796713-683D-43D9-B207-E921B77249EE}"/>
                </a:ext>
              </a:extLst>
            </p:cNvPr>
            <p:cNvSpPr/>
            <p:nvPr/>
          </p:nvSpPr>
          <p:spPr>
            <a:xfrm>
              <a:off x="5007960" y="1815840"/>
              <a:ext cx="681480" cy="1960200"/>
            </a:xfrm>
            <a:prstGeom prst="line">
              <a:avLst/>
            </a:prstGeom>
            <a:ln w="28440" cap="rnd">
              <a:solidFill>
                <a:schemeClr val="accent3"/>
              </a:solidFill>
              <a:prstDash val="sysDot"/>
              <a:round/>
            </a:ln>
          </p:spPr>
          <p:style>
            <a:lnRef idx="0">
              <a:scrgbClr r="0" g="0" b="0"/>
            </a:lnRef>
            <a:fillRef idx="0">
              <a:scrgbClr r="0" g="0" b="0"/>
            </a:fillRef>
            <a:effectRef idx="0">
              <a:scrgbClr r="0" g="0" b="0"/>
            </a:effectRef>
            <a:fontRef idx="minor"/>
          </p:style>
          <p:txBody>
            <a:bodyPr/>
            <a:lstStyle/>
            <a:p>
              <a:endParaRPr lang="de-DE"/>
            </a:p>
          </p:txBody>
        </p:sp>
        <p:sp>
          <p:nvSpPr>
            <p:cNvPr id="23" name="Line 15">
              <a:extLst>
                <a:ext uri="{FF2B5EF4-FFF2-40B4-BE49-F238E27FC236}">
                  <a16:creationId xmlns:a16="http://schemas.microsoft.com/office/drawing/2014/main" id="{53E0CC09-42FD-4FB0-8C45-98696DB17FB1}"/>
                </a:ext>
              </a:extLst>
            </p:cNvPr>
            <p:cNvSpPr/>
            <p:nvPr/>
          </p:nvSpPr>
          <p:spPr>
            <a:xfrm flipH="1">
              <a:off x="4356000" y="1837080"/>
              <a:ext cx="643320" cy="1949400"/>
            </a:xfrm>
            <a:prstGeom prst="line">
              <a:avLst/>
            </a:prstGeom>
            <a:ln w="28440" cap="rnd">
              <a:solidFill>
                <a:schemeClr val="accent3"/>
              </a:solidFill>
              <a:prstDash val="sysDot"/>
              <a:round/>
            </a:ln>
          </p:spPr>
          <p:style>
            <a:lnRef idx="0">
              <a:scrgbClr r="0" g="0" b="0"/>
            </a:lnRef>
            <a:fillRef idx="0">
              <a:scrgbClr r="0" g="0" b="0"/>
            </a:fillRef>
            <a:effectRef idx="0">
              <a:scrgbClr r="0" g="0" b="0"/>
            </a:effectRef>
            <a:fontRef idx="minor"/>
          </p:style>
          <p:txBody>
            <a:bodyPr/>
            <a:lstStyle/>
            <a:p>
              <a:endParaRPr lang="de-DE"/>
            </a:p>
          </p:txBody>
        </p:sp>
        <p:sp>
          <p:nvSpPr>
            <p:cNvPr id="25" name="Line 17">
              <a:extLst>
                <a:ext uri="{FF2B5EF4-FFF2-40B4-BE49-F238E27FC236}">
                  <a16:creationId xmlns:a16="http://schemas.microsoft.com/office/drawing/2014/main" id="{9F5D8D74-AD1C-4C7B-8C61-87DBE4C323D2}"/>
                </a:ext>
              </a:extLst>
            </p:cNvPr>
            <p:cNvSpPr/>
            <p:nvPr/>
          </p:nvSpPr>
          <p:spPr>
            <a:xfrm flipH="1">
              <a:off x="6409080" y="2491200"/>
              <a:ext cx="624600" cy="1922040"/>
            </a:xfrm>
            <a:prstGeom prst="line">
              <a:avLst/>
            </a:prstGeom>
            <a:ln w="28440" cap="rnd">
              <a:solidFill>
                <a:schemeClr val="accent3"/>
              </a:solidFill>
              <a:prstDash val="sysDot"/>
              <a:round/>
            </a:ln>
          </p:spPr>
          <p:style>
            <a:lnRef idx="0">
              <a:scrgbClr r="0" g="0" b="0"/>
            </a:lnRef>
            <a:fillRef idx="0">
              <a:scrgbClr r="0" g="0" b="0"/>
            </a:fillRef>
            <a:effectRef idx="0">
              <a:scrgbClr r="0" g="0" b="0"/>
            </a:effectRef>
            <a:fontRef idx="minor"/>
          </p:style>
          <p:txBody>
            <a:bodyPr/>
            <a:lstStyle/>
            <a:p>
              <a:endParaRPr lang="de-DE"/>
            </a:p>
          </p:txBody>
        </p:sp>
        <p:sp>
          <p:nvSpPr>
            <p:cNvPr id="27" name="Line 18">
              <a:extLst>
                <a:ext uri="{FF2B5EF4-FFF2-40B4-BE49-F238E27FC236}">
                  <a16:creationId xmlns:a16="http://schemas.microsoft.com/office/drawing/2014/main" id="{340EDA58-08C5-4BED-82FF-D271EDB0A650}"/>
                </a:ext>
              </a:extLst>
            </p:cNvPr>
            <p:cNvSpPr/>
            <p:nvPr/>
          </p:nvSpPr>
          <p:spPr>
            <a:xfrm>
              <a:off x="7035480" y="2476440"/>
              <a:ext cx="707040" cy="1934640"/>
            </a:xfrm>
            <a:prstGeom prst="line">
              <a:avLst/>
            </a:prstGeom>
            <a:ln w="28440" cap="rnd">
              <a:solidFill>
                <a:schemeClr val="accent3"/>
              </a:solidFill>
              <a:prstDash val="sysDot"/>
              <a:round/>
            </a:ln>
          </p:spPr>
          <p:style>
            <a:lnRef idx="0">
              <a:scrgbClr r="0" g="0" b="0"/>
            </a:lnRef>
            <a:fillRef idx="0">
              <a:scrgbClr r="0" g="0" b="0"/>
            </a:fillRef>
            <a:effectRef idx="0">
              <a:scrgbClr r="0" g="0" b="0"/>
            </a:effectRef>
            <a:fontRef idx="minor"/>
          </p:style>
          <p:txBody>
            <a:bodyPr/>
            <a:lstStyle/>
            <a:p>
              <a:endParaRPr lang="de-DE"/>
            </a:p>
          </p:txBody>
        </p:sp>
      </p:grpSp>
    </p:spTree>
    <p:extLst>
      <p:ext uri="{BB962C8B-B14F-4D97-AF65-F5344CB8AC3E}">
        <p14:creationId xmlns:p14="http://schemas.microsoft.com/office/powerpoint/2010/main" val="20580697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9D0E026-5FC0-4630-AEF4-987622263587}"/>
              </a:ext>
            </a:extLst>
          </p:cNvPr>
          <p:cNvSpPr>
            <a:spLocks noGrp="1"/>
          </p:cNvSpPr>
          <p:nvPr>
            <p:ph type="sldNum" sz="quarter" idx="10"/>
          </p:nvPr>
        </p:nvSpPr>
        <p:spPr/>
        <p:txBody>
          <a:bodyPr/>
          <a:lstStyle/>
          <a:p>
            <a:fld id="{F966D7FF-EADB-4E92-9989-4DE4533DAC48}" type="slidenum">
              <a:rPr lang="de-DE" smtClean="0"/>
              <a:pPr/>
              <a:t>56</a:t>
            </a:fld>
            <a:endParaRPr lang="de-DE" dirty="0"/>
          </a:p>
        </p:txBody>
      </p:sp>
      <p:sp>
        <p:nvSpPr>
          <p:cNvPr id="3" name="Inhaltsplatzhalter 2">
            <a:extLst>
              <a:ext uri="{FF2B5EF4-FFF2-40B4-BE49-F238E27FC236}">
                <a16:creationId xmlns:a16="http://schemas.microsoft.com/office/drawing/2014/main" id="{5A0DB99F-D831-4FBF-97F1-8BAD5322D05C}"/>
              </a:ext>
            </a:extLst>
          </p:cNvPr>
          <p:cNvSpPr>
            <a:spLocks noGrp="1"/>
          </p:cNvSpPr>
          <p:nvPr>
            <p:ph idx="11"/>
          </p:nvPr>
        </p:nvSpPr>
        <p:spPr/>
        <p:txBody>
          <a:bodyPr/>
          <a:lstStyle/>
          <a:p>
            <a:r>
              <a:rPr lang="de-DE" dirty="0"/>
              <a:t>Zusammenfassung</a:t>
            </a:r>
          </a:p>
        </p:txBody>
      </p:sp>
      <p:sp>
        <p:nvSpPr>
          <p:cNvPr id="5" name="Inhaltsplatzhalter 4">
            <a:extLst>
              <a:ext uri="{FF2B5EF4-FFF2-40B4-BE49-F238E27FC236}">
                <a16:creationId xmlns:a16="http://schemas.microsoft.com/office/drawing/2014/main" id="{092D4886-9300-4C80-8E5A-42DECAFD8339}"/>
              </a:ext>
            </a:extLst>
          </p:cNvPr>
          <p:cNvSpPr>
            <a:spLocks noGrp="1"/>
          </p:cNvSpPr>
          <p:nvPr>
            <p:ph idx="12"/>
          </p:nvPr>
        </p:nvSpPr>
        <p:spPr/>
        <p:txBody>
          <a:bodyPr/>
          <a:lstStyle/>
          <a:p>
            <a:r>
              <a:rPr lang="de-DE" dirty="0"/>
              <a:t>Zertifikate sind flexible Instrumente für Privatanleger – genau wegen dieser Flexibilität müssen die Produkte vor dem Investment allerdings genau verstanden werden</a:t>
            </a:r>
          </a:p>
        </p:txBody>
      </p:sp>
      <p:grpSp>
        <p:nvGrpSpPr>
          <p:cNvPr id="24" name="Gruppieren 23">
            <a:extLst>
              <a:ext uri="{FF2B5EF4-FFF2-40B4-BE49-F238E27FC236}">
                <a16:creationId xmlns:a16="http://schemas.microsoft.com/office/drawing/2014/main" id="{FCE61676-2162-4289-9EF3-50E7314C6F5F}"/>
              </a:ext>
            </a:extLst>
          </p:cNvPr>
          <p:cNvGrpSpPr/>
          <p:nvPr/>
        </p:nvGrpSpPr>
        <p:grpSpPr>
          <a:xfrm>
            <a:off x="671376" y="1673980"/>
            <a:ext cx="10422136" cy="4305074"/>
            <a:chOff x="743692" y="1813680"/>
            <a:chExt cx="10422136" cy="4305074"/>
          </a:xfrm>
        </p:grpSpPr>
        <p:sp>
          <p:nvSpPr>
            <p:cNvPr id="7" name="CustomShape 2">
              <a:extLst>
                <a:ext uri="{FF2B5EF4-FFF2-40B4-BE49-F238E27FC236}">
                  <a16:creationId xmlns:a16="http://schemas.microsoft.com/office/drawing/2014/main" id="{208C17CC-A3A0-4686-BBE4-98024B8724A1}"/>
                </a:ext>
              </a:extLst>
            </p:cNvPr>
            <p:cNvSpPr/>
            <p:nvPr/>
          </p:nvSpPr>
          <p:spPr>
            <a:xfrm>
              <a:off x="5342017" y="3060337"/>
              <a:ext cx="1238040" cy="110664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sp>
        <p:sp>
          <p:nvSpPr>
            <p:cNvPr id="9" name="CustomShape 3">
              <a:extLst>
                <a:ext uri="{FF2B5EF4-FFF2-40B4-BE49-F238E27FC236}">
                  <a16:creationId xmlns:a16="http://schemas.microsoft.com/office/drawing/2014/main" id="{C921B744-4295-4C6F-B258-80EC9460CAC6}"/>
                </a:ext>
              </a:extLst>
            </p:cNvPr>
            <p:cNvSpPr/>
            <p:nvPr/>
          </p:nvSpPr>
          <p:spPr>
            <a:xfrm>
              <a:off x="7416720" y="1854164"/>
              <a:ext cx="3708000" cy="863313"/>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100000"/>
                </a:lnSpc>
              </a:pPr>
              <a:r>
                <a:rPr lang="de-DE" sz="1870" b="0" strike="noStrike" spc="-1" dirty="0">
                  <a:latin typeface="Arial" panose="020B0604020202020204" pitchFamily="34" charset="0"/>
                  <a:cs typeface="Arial" panose="020B0604020202020204" pitchFamily="34" charset="0"/>
                </a:rPr>
                <a:t>Durch </a:t>
              </a:r>
              <a:r>
                <a:rPr lang="de-DE" sz="1870" b="1" strike="noStrike" spc="-1" dirty="0">
                  <a:latin typeface="Arial" panose="020B0604020202020204" pitchFamily="34" charset="0"/>
                  <a:cs typeface="Arial" panose="020B0604020202020204" pitchFamily="34" charset="0"/>
                </a:rPr>
                <a:t>Anlagen</a:t>
              </a:r>
              <a:r>
                <a:rPr lang="de-DE" sz="1870" b="0" strike="noStrike" spc="-1" dirty="0">
                  <a:latin typeface="Arial" panose="020B0604020202020204" pitchFamily="34" charset="0"/>
                  <a:cs typeface="Arial" panose="020B0604020202020204" pitchFamily="34" charset="0"/>
                </a:rPr>
                <a:t> in mehrere      Basistitel entstehen neue Produkte mit neuen Eigenschaften</a:t>
              </a:r>
            </a:p>
          </p:txBody>
        </p:sp>
        <p:sp>
          <p:nvSpPr>
            <p:cNvPr id="11" name="CustomShape 4">
              <a:extLst>
                <a:ext uri="{FF2B5EF4-FFF2-40B4-BE49-F238E27FC236}">
                  <a16:creationId xmlns:a16="http://schemas.microsoft.com/office/drawing/2014/main" id="{C6EC3933-FB88-4F70-8685-5CC4A067CEC9}"/>
                </a:ext>
              </a:extLst>
            </p:cNvPr>
            <p:cNvSpPr/>
            <p:nvPr/>
          </p:nvSpPr>
          <p:spPr>
            <a:xfrm>
              <a:off x="819000" y="4676498"/>
              <a:ext cx="3710160" cy="1151084"/>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100000"/>
                </a:lnSpc>
              </a:pPr>
              <a:r>
                <a:rPr lang="de-DE" sz="1870" b="0" strike="noStrike" spc="-1" dirty="0">
                  <a:latin typeface="Arial" panose="020B0604020202020204" pitchFamily="34" charset="0"/>
                  <a:cs typeface="Arial" panose="020B0604020202020204" pitchFamily="34" charset="0"/>
                </a:rPr>
                <a:t>In Bezug zu </a:t>
              </a:r>
              <a:r>
                <a:rPr lang="de-DE" sz="1870" b="1" strike="noStrike" spc="-1" dirty="0">
                  <a:latin typeface="Arial" panose="020B0604020202020204" pitchFamily="34" charset="0"/>
                  <a:cs typeface="Arial" panose="020B0604020202020204" pitchFamily="34" charset="0"/>
                </a:rPr>
                <a:t>Basistiteln</a:t>
              </a:r>
              <a:r>
                <a:rPr lang="de-DE" sz="1870" b="0" strike="noStrike" spc="-1" dirty="0">
                  <a:latin typeface="Arial" panose="020B0604020202020204" pitchFamily="34" charset="0"/>
                  <a:cs typeface="Arial" panose="020B0604020202020204" pitchFamily="34" charset="0"/>
                </a:rPr>
                <a:t> stehen </a:t>
              </a:r>
              <a:br>
                <a:rPr dirty="0">
                  <a:latin typeface="Arial" panose="020B0604020202020204" pitchFamily="34" charset="0"/>
                  <a:cs typeface="Arial" panose="020B0604020202020204" pitchFamily="34" charset="0"/>
                </a:rPr>
              </a:br>
              <a:r>
                <a:rPr lang="de-DE" sz="1870" b="0" strike="noStrike" spc="-1" dirty="0">
                  <a:latin typeface="Arial" panose="020B0604020202020204" pitchFamily="34" charset="0"/>
                  <a:cs typeface="Arial" panose="020B0604020202020204" pitchFamily="34" charset="0"/>
                </a:rPr>
                <a:t>versprochenen höheren Zahlungen geringere Zahlungen in anderen Situationen gegenüber</a:t>
              </a:r>
            </a:p>
          </p:txBody>
        </p:sp>
        <p:sp>
          <p:nvSpPr>
            <p:cNvPr id="13" name="CustomShape 5">
              <a:extLst>
                <a:ext uri="{FF2B5EF4-FFF2-40B4-BE49-F238E27FC236}">
                  <a16:creationId xmlns:a16="http://schemas.microsoft.com/office/drawing/2014/main" id="{B5BE0AB3-6EE1-48D8-93D5-6E9825BBEA1A}"/>
                </a:ext>
              </a:extLst>
            </p:cNvPr>
            <p:cNvSpPr/>
            <p:nvPr/>
          </p:nvSpPr>
          <p:spPr>
            <a:xfrm>
              <a:off x="819000" y="1813680"/>
              <a:ext cx="3710160" cy="94428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111000"/>
                </a:lnSpc>
              </a:pPr>
              <a:r>
                <a:rPr lang="de-DE" sz="1870" b="1" strike="noStrike" spc="-1" dirty="0">
                  <a:latin typeface="Arial" panose="020B0604020202020204" pitchFamily="34" charset="0"/>
                  <a:cs typeface="Arial" panose="020B0604020202020204" pitchFamily="34" charset="0"/>
                </a:rPr>
                <a:t>Zertifikate</a:t>
              </a:r>
              <a:r>
                <a:rPr lang="de-DE" sz="1870" b="0" strike="noStrike" spc="-1" dirty="0">
                  <a:latin typeface="Arial" panose="020B0604020202020204" pitchFamily="34" charset="0"/>
                  <a:cs typeface="Arial" panose="020B0604020202020204" pitchFamily="34" charset="0"/>
                </a:rPr>
                <a:t> sind strukturierte</a:t>
              </a:r>
              <a:br>
                <a:rPr dirty="0">
                  <a:latin typeface="Arial" panose="020B0604020202020204" pitchFamily="34" charset="0"/>
                  <a:cs typeface="Arial" panose="020B0604020202020204" pitchFamily="34" charset="0"/>
                </a:rPr>
              </a:br>
              <a:r>
                <a:rPr lang="de-DE" sz="1870" b="0" strike="noStrike" spc="-1" dirty="0">
                  <a:latin typeface="Arial" panose="020B0604020202020204" pitchFamily="34" charset="0"/>
                  <a:cs typeface="Arial" panose="020B0604020202020204" pitchFamily="34" charset="0"/>
                </a:rPr>
                <a:t>Anlageprodukte mit allen       möglichen Ertragsstrukturen</a:t>
              </a:r>
            </a:p>
          </p:txBody>
        </p:sp>
        <p:sp>
          <p:nvSpPr>
            <p:cNvPr id="15" name="CustomShape 6">
              <a:extLst>
                <a:ext uri="{FF2B5EF4-FFF2-40B4-BE49-F238E27FC236}">
                  <a16:creationId xmlns:a16="http://schemas.microsoft.com/office/drawing/2014/main" id="{584AA6BB-9DB2-43F6-AE25-44AEC74F5080}"/>
                </a:ext>
              </a:extLst>
            </p:cNvPr>
            <p:cNvSpPr/>
            <p:nvPr/>
          </p:nvSpPr>
          <p:spPr>
            <a:xfrm>
              <a:off x="743692" y="2165017"/>
              <a:ext cx="4366440" cy="490680"/>
            </a:xfrm>
            <a:custGeom>
              <a:avLst/>
              <a:gdLst/>
              <a:ahLst/>
              <a:cxnLst/>
              <a:rect l="l" t="t" r="r" b="b"/>
              <a:pathLst>
                <a:path w="1982" h="214">
                  <a:moveTo>
                    <a:pt x="1982" y="214"/>
                  </a:moveTo>
                  <a:lnTo>
                    <a:pt x="1768" y="0"/>
                  </a:lnTo>
                  <a:lnTo>
                    <a:pt x="0" y="0"/>
                  </a:lnTo>
                </a:path>
              </a:pathLst>
            </a:custGeom>
            <a:noFill/>
            <a:ln w="19080">
              <a:solidFill>
                <a:schemeClr val="tx2"/>
              </a:solidFill>
              <a:round/>
              <a:headEnd type="triangle" w="med" len="med"/>
            </a:ln>
          </p:spPr>
          <p:style>
            <a:lnRef idx="0">
              <a:scrgbClr r="0" g="0" b="0"/>
            </a:lnRef>
            <a:fillRef idx="0">
              <a:scrgbClr r="0" g="0" b="0"/>
            </a:fillRef>
            <a:effectRef idx="0">
              <a:scrgbClr r="0" g="0" b="0"/>
            </a:effectRef>
            <a:fontRef idx="minor"/>
          </p:style>
        </p:sp>
        <p:sp>
          <p:nvSpPr>
            <p:cNvPr id="17" name="CustomShape 7">
              <a:extLst>
                <a:ext uri="{FF2B5EF4-FFF2-40B4-BE49-F238E27FC236}">
                  <a16:creationId xmlns:a16="http://schemas.microsoft.com/office/drawing/2014/main" id="{0638EF80-4622-472A-86B6-4A9A5FF42AAE}"/>
                </a:ext>
              </a:extLst>
            </p:cNvPr>
            <p:cNvSpPr/>
            <p:nvPr/>
          </p:nvSpPr>
          <p:spPr>
            <a:xfrm flipV="1">
              <a:off x="743692" y="4494600"/>
              <a:ext cx="4366440" cy="490680"/>
            </a:xfrm>
            <a:custGeom>
              <a:avLst/>
              <a:gdLst/>
              <a:ahLst/>
              <a:cxnLst/>
              <a:rect l="l" t="t" r="r" b="b"/>
              <a:pathLst>
                <a:path w="1982" h="214">
                  <a:moveTo>
                    <a:pt x="1982" y="214"/>
                  </a:moveTo>
                  <a:lnTo>
                    <a:pt x="1768" y="0"/>
                  </a:lnTo>
                  <a:lnTo>
                    <a:pt x="0" y="0"/>
                  </a:lnTo>
                </a:path>
              </a:pathLst>
            </a:custGeom>
            <a:noFill/>
            <a:ln w="19080">
              <a:solidFill>
                <a:schemeClr val="tx2"/>
              </a:solidFill>
              <a:round/>
              <a:headEnd type="triangle" w="med" len="med"/>
            </a:ln>
          </p:spPr>
          <p:style>
            <a:lnRef idx="0">
              <a:scrgbClr r="0" g="0" b="0"/>
            </a:lnRef>
            <a:fillRef idx="0">
              <a:scrgbClr r="0" g="0" b="0"/>
            </a:fillRef>
            <a:effectRef idx="0">
              <a:scrgbClr r="0" g="0" b="0"/>
            </a:effectRef>
            <a:fontRef idx="minor"/>
          </p:style>
        </p:sp>
        <p:sp>
          <p:nvSpPr>
            <p:cNvPr id="19" name="CustomShape 8">
              <a:extLst>
                <a:ext uri="{FF2B5EF4-FFF2-40B4-BE49-F238E27FC236}">
                  <a16:creationId xmlns:a16="http://schemas.microsoft.com/office/drawing/2014/main" id="{E9B8DE46-34B4-4FD4-AD0E-E563D3509C99}"/>
                </a:ext>
              </a:extLst>
            </p:cNvPr>
            <p:cNvSpPr/>
            <p:nvPr/>
          </p:nvSpPr>
          <p:spPr>
            <a:xfrm flipH="1">
              <a:off x="6801548" y="2165017"/>
              <a:ext cx="4364280" cy="490680"/>
            </a:xfrm>
            <a:custGeom>
              <a:avLst/>
              <a:gdLst/>
              <a:ahLst/>
              <a:cxnLst/>
              <a:rect l="l" t="t" r="r" b="b"/>
              <a:pathLst>
                <a:path w="1982" h="214">
                  <a:moveTo>
                    <a:pt x="1982" y="214"/>
                  </a:moveTo>
                  <a:lnTo>
                    <a:pt x="1768" y="0"/>
                  </a:lnTo>
                  <a:lnTo>
                    <a:pt x="0" y="0"/>
                  </a:lnTo>
                </a:path>
              </a:pathLst>
            </a:custGeom>
            <a:noFill/>
            <a:ln w="19080">
              <a:solidFill>
                <a:schemeClr val="tx2"/>
              </a:solidFill>
              <a:round/>
              <a:headEnd type="triangle" w="med" len="med"/>
            </a:ln>
          </p:spPr>
          <p:style>
            <a:lnRef idx="0">
              <a:scrgbClr r="0" g="0" b="0"/>
            </a:lnRef>
            <a:fillRef idx="0">
              <a:scrgbClr r="0" g="0" b="0"/>
            </a:fillRef>
            <a:effectRef idx="0">
              <a:scrgbClr r="0" g="0" b="0"/>
            </a:effectRef>
            <a:fontRef idx="minor"/>
          </p:style>
        </p:sp>
        <p:sp>
          <p:nvSpPr>
            <p:cNvPr id="21" name="CustomShape 9">
              <a:extLst>
                <a:ext uri="{FF2B5EF4-FFF2-40B4-BE49-F238E27FC236}">
                  <a16:creationId xmlns:a16="http://schemas.microsoft.com/office/drawing/2014/main" id="{A99F2B61-395D-4BB9-9386-4F2EE77F4921}"/>
                </a:ext>
              </a:extLst>
            </p:cNvPr>
            <p:cNvSpPr/>
            <p:nvPr/>
          </p:nvSpPr>
          <p:spPr>
            <a:xfrm flipH="1" flipV="1">
              <a:off x="6801548" y="4494959"/>
              <a:ext cx="4364280" cy="490680"/>
            </a:xfrm>
            <a:custGeom>
              <a:avLst/>
              <a:gdLst/>
              <a:ahLst/>
              <a:cxnLst/>
              <a:rect l="l" t="t" r="r" b="b"/>
              <a:pathLst>
                <a:path w="1982" h="214">
                  <a:moveTo>
                    <a:pt x="1982" y="214"/>
                  </a:moveTo>
                  <a:lnTo>
                    <a:pt x="1768" y="0"/>
                  </a:lnTo>
                  <a:lnTo>
                    <a:pt x="0" y="0"/>
                  </a:lnTo>
                </a:path>
              </a:pathLst>
            </a:custGeom>
            <a:noFill/>
            <a:ln w="19080">
              <a:solidFill>
                <a:schemeClr val="tx2"/>
              </a:solidFill>
              <a:round/>
              <a:headEnd type="triangle" w="med" len="med"/>
            </a:ln>
          </p:spPr>
          <p:style>
            <a:lnRef idx="0">
              <a:scrgbClr r="0" g="0" b="0"/>
            </a:lnRef>
            <a:fillRef idx="0">
              <a:scrgbClr r="0" g="0" b="0"/>
            </a:fillRef>
            <a:effectRef idx="0">
              <a:scrgbClr r="0" g="0" b="0"/>
            </a:effectRef>
            <a:fontRef idx="minor"/>
          </p:style>
        </p:sp>
        <p:sp>
          <p:nvSpPr>
            <p:cNvPr id="23" name="CustomShape 10">
              <a:extLst>
                <a:ext uri="{FF2B5EF4-FFF2-40B4-BE49-F238E27FC236}">
                  <a16:creationId xmlns:a16="http://schemas.microsoft.com/office/drawing/2014/main" id="{EC2CDAF6-08B4-4DAF-BEB0-039C18AF55ED}"/>
                </a:ext>
              </a:extLst>
            </p:cNvPr>
            <p:cNvSpPr/>
            <p:nvPr/>
          </p:nvSpPr>
          <p:spPr>
            <a:xfrm>
              <a:off x="7416720" y="4392127"/>
              <a:ext cx="3708000" cy="1726627"/>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100000"/>
                </a:lnSpc>
              </a:pPr>
              <a:r>
                <a:rPr lang="de-DE" sz="1870" b="1" strike="noStrike" spc="-1" dirty="0">
                  <a:latin typeface="Arial" panose="020B0604020202020204" pitchFamily="34" charset="0"/>
                  <a:cs typeface="Arial" panose="020B0604020202020204" pitchFamily="34" charset="0"/>
                </a:rPr>
                <a:t>Zertifikate</a:t>
              </a:r>
              <a:r>
                <a:rPr lang="de-DE" sz="1870" b="0" strike="noStrike" spc="-1" dirty="0">
                  <a:latin typeface="Arial" panose="020B0604020202020204" pitchFamily="34" charset="0"/>
                  <a:cs typeface="Arial" panose="020B0604020202020204" pitchFamily="34" charset="0"/>
                </a:rPr>
                <a:t> können sehr gefährliche Produkte sein. Bevor man sich entschließt, in eines davon zu investieren, sollte man alle möglichen Auszahlungsprofile kennen.</a:t>
              </a:r>
            </a:p>
          </p:txBody>
        </p:sp>
      </p:grpSp>
    </p:spTree>
    <p:extLst>
      <p:ext uri="{BB962C8B-B14F-4D97-AF65-F5344CB8AC3E}">
        <p14:creationId xmlns:p14="http://schemas.microsoft.com/office/powerpoint/2010/main" val="2529514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FE29388-B4E9-42C6-98CC-3CC03A9351DF}"/>
              </a:ext>
            </a:extLst>
          </p:cNvPr>
          <p:cNvSpPr>
            <a:spLocks noGrp="1"/>
          </p:cNvSpPr>
          <p:nvPr>
            <p:ph type="sldNum" sz="quarter" idx="10"/>
          </p:nvPr>
        </p:nvSpPr>
        <p:spPr/>
        <p:txBody>
          <a:bodyPr/>
          <a:lstStyle/>
          <a:p>
            <a:fld id="{F966D7FF-EADB-4E92-9989-4DE4533DAC48}" type="slidenum">
              <a:rPr lang="de-DE" smtClean="0"/>
              <a:pPr/>
              <a:t>57</a:t>
            </a:fld>
            <a:endParaRPr lang="de-DE" dirty="0"/>
          </a:p>
        </p:txBody>
      </p:sp>
      <p:sp>
        <p:nvSpPr>
          <p:cNvPr id="3" name="Inhaltsplatzhalter 2">
            <a:extLst>
              <a:ext uri="{FF2B5EF4-FFF2-40B4-BE49-F238E27FC236}">
                <a16:creationId xmlns:a16="http://schemas.microsoft.com/office/drawing/2014/main" id="{6B8BB524-1F9A-4AEF-8D6D-950983068A8E}"/>
              </a:ext>
            </a:extLst>
          </p:cNvPr>
          <p:cNvSpPr>
            <a:spLocks noGrp="1"/>
          </p:cNvSpPr>
          <p:nvPr>
            <p:ph idx="11"/>
          </p:nvPr>
        </p:nvSpPr>
        <p:spPr/>
        <p:txBody>
          <a:bodyPr/>
          <a:lstStyle/>
          <a:p>
            <a:r>
              <a:rPr lang="de-DE" dirty="0"/>
              <a:t>Fragen zum Teilbereich </a:t>
            </a:r>
            <a:r>
              <a:rPr lang="de-DE" dirty="0" err="1"/>
              <a:t>Zertfiikate</a:t>
            </a:r>
            <a:endParaRPr lang="de-DE" dirty="0"/>
          </a:p>
        </p:txBody>
      </p:sp>
      <p:sp>
        <p:nvSpPr>
          <p:cNvPr id="4" name="Inhaltsplatzhalter 3">
            <a:extLst>
              <a:ext uri="{FF2B5EF4-FFF2-40B4-BE49-F238E27FC236}">
                <a16:creationId xmlns:a16="http://schemas.microsoft.com/office/drawing/2014/main" id="{CE41E480-CBE9-4BAF-9E8A-49655FA6C7AA}"/>
              </a:ext>
            </a:extLst>
          </p:cNvPr>
          <p:cNvSpPr>
            <a:spLocks noGrp="1"/>
          </p:cNvSpPr>
          <p:nvPr>
            <p:ph idx="1"/>
          </p:nvPr>
        </p:nvSpPr>
        <p:spPr/>
        <p:txBody>
          <a:bodyPr/>
          <a:lstStyle/>
          <a:p>
            <a:pPr>
              <a:lnSpc>
                <a:spcPct val="100000"/>
              </a:lnSpc>
            </a:pPr>
            <a:r>
              <a:rPr lang="de-DE" sz="2000" b="1" strike="noStrike" spc="-1" dirty="0">
                <a:solidFill>
                  <a:schemeClr val="tx1"/>
                </a:solidFill>
                <a:latin typeface="Arial" panose="020B0604020202020204" pitchFamily="34" charset="0"/>
                <a:cs typeface="Arial" panose="020B0604020202020204" pitchFamily="34" charset="0"/>
              </a:rPr>
              <a:t>Bei Garantiezertifikaten</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ist in jedem Fall eine Mindestrückzahlung sichergestellt</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handelt es sich um Inhaberschuldverschreibungen</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ist während der Laufzeit kein Verlust möglich</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ist das Laufzeitende nicht festgelegt</a:t>
            </a:r>
          </a:p>
          <a:p>
            <a:pPr>
              <a:lnSpc>
                <a:spcPct val="100000"/>
              </a:lnSpc>
            </a:pPr>
            <a:endParaRPr lang="de-DE" sz="2000" b="0" strike="noStrike" spc="-1" dirty="0">
              <a:solidFill>
                <a:schemeClr val="tx1"/>
              </a:solidFill>
              <a:latin typeface="Arial" panose="020B0604020202020204" pitchFamily="34" charset="0"/>
              <a:cs typeface="Arial" panose="020B0604020202020204" pitchFamily="34" charset="0"/>
            </a:endParaRPr>
          </a:p>
          <a:p>
            <a:pPr>
              <a:lnSpc>
                <a:spcPct val="100000"/>
              </a:lnSpc>
            </a:pPr>
            <a:r>
              <a:rPr lang="de-DE" sz="2000" b="1" strike="noStrike" spc="-1" dirty="0">
                <a:solidFill>
                  <a:schemeClr val="tx1"/>
                </a:solidFill>
                <a:latin typeface="Arial" panose="020B0604020202020204" pitchFamily="34" charset="0"/>
                <a:cs typeface="Arial" panose="020B0604020202020204" pitchFamily="34" charset="0"/>
              </a:rPr>
              <a:t>Bei Differenzkontrakten</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existieren nur solche auf Aktien und Indizes</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besteht eine </a:t>
            </a:r>
            <a:r>
              <a:rPr lang="de-DE" sz="2000" b="0" strike="noStrike" spc="-1" dirty="0" err="1">
                <a:solidFill>
                  <a:schemeClr val="tx1"/>
                </a:solidFill>
                <a:latin typeface="Arial" panose="020B0604020202020204" pitchFamily="34" charset="0"/>
                <a:cs typeface="Arial" panose="020B0604020202020204" pitchFamily="34" charset="0"/>
              </a:rPr>
              <a:t>Börsenhandelbarkeit</a:t>
            </a:r>
            <a:endParaRPr lang="de-DE" sz="2000" spc="-1" dirty="0">
              <a:solidFill>
                <a:schemeClr val="tx1"/>
              </a:solidFill>
              <a:latin typeface="Arial" panose="020B0604020202020204" pitchFamily="34" charset="0"/>
              <a:cs typeface="Arial" panose="020B0604020202020204" pitchFamily="34" charset="0"/>
            </a:endParaRP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kann der Verlust über den Einsatz (Margin) hinausgehen</a:t>
            </a:r>
          </a:p>
          <a:p>
            <a:pPr>
              <a:lnSpc>
                <a:spcPct val="100000"/>
              </a:lnSpc>
            </a:pPr>
            <a:r>
              <a:rPr lang="de-DE" sz="2000" b="0" strike="noStrike" spc="-1" dirty="0">
                <a:solidFill>
                  <a:schemeClr val="tx1"/>
                </a:solidFill>
                <a:latin typeface="Arial" panose="020B0604020202020204" pitchFamily="34" charset="0"/>
                <a:cs typeface="Arial" panose="020B0604020202020204" pitchFamily="34" charset="0"/>
              </a:rPr>
              <a:t>besteht kein Emittentenrisiko</a:t>
            </a:r>
          </a:p>
        </p:txBody>
      </p:sp>
      <p:sp>
        <p:nvSpPr>
          <p:cNvPr id="5" name="Inhaltsplatzhalter 4">
            <a:extLst>
              <a:ext uri="{FF2B5EF4-FFF2-40B4-BE49-F238E27FC236}">
                <a16:creationId xmlns:a16="http://schemas.microsoft.com/office/drawing/2014/main" id="{2D4D168B-FCA6-4F95-8794-AC048CF9DC02}"/>
              </a:ext>
            </a:extLst>
          </p:cNvPr>
          <p:cNvSpPr>
            <a:spLocks noGrp="1"/>
          </p:cNvSpPr>
          <p:nvPr>
            <p:ph idx="12"/>
          </p:nvPr>
        </p:nvSpPr>
        <p:spPr/>
        <p:txBody>
          <a:bodyPr/>
          <a:lstStyle/>
          <a:p>
            <a:r>
              <a:rPr lang="de-DE" dirty="0"/>
              <a:t>Ein paar Testfragen zur Vorbereitung auf die Prüfung</a:t>
            </a:r>
          </a:p>
        </p:txBody>
      </p:sp>
    </p:spTree>
    <p:extLst>
      <p:ext uri="{BB962C8B-B14F-4D97-AF65-F5344CB8AC3E}">
        <p14:creationId xmlns:p14="http://schemas.microsoft.com/office/powerpoint/2010/main" val="2627660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D3D691E5-E38B-43D6-BE2D-B53E7EC7647A}"/>
              </a:ext>
            </a:extLst>
          </p:cNvPr>
          <p:cNvSpPr>
            <a:spLocks noGrp="1"/>
          </p:cNvSpPr>
          <p:nvPr>
            <p:ph type="subTitle" idx="1"/>
          </p:nvPr>
        </p:nvSpPr>
        <p:spPr>
          <a:xfrm>
            <a:off x="506873" y="2158610"/>
            <a:ext cx="4007253" cy="1270390"/>
          </a:xfrm>
        </p:spPr>
        <p:txBody>
          <a:bodyPr/>
          <a:lstStyle/>
          <a:p>
            <a:r>
              <a:rPr lang="de-DE" sz="2000" b="1" dirty="0"/>
              <a:t>Vielen Dank für Euer Interesse!</a:t>
            </a:r>
          </a:p>
        </p:txBody>
      </p:sp>
      <p:sp>
        <p:nvSpPr>
          <p:cNvPr id="3" name="Titel 2">
            <a:extLst>
              <a:ext uri="{FF2B5EF4-FFF2-40B4-BE49-F238E27FC236}">
                <a16:creationId xmlns:a16="http://schemas.microsoft.com/office/drawing/2014/main" id="{F40D7B0B-F7D4-412D-BED4-50B9DDF1482D}"/>
              </a:ext>
            </a:extLst>
          </p:cNvPr>
          <p:cNvSpPr>
            <a:spLocks noGrp="1"/>
          </p:cNvSpPr>
          <p:nvPr>
            <p:ph type="ctrTitle"/>
          </p:nvPr>
        </p:nvSpPr>
        <p:spPr>
          <a:xfrm>
            <a:off x="645769" y="295546"/>
            <a:ext cx="3384000" cy="1193800"/>
          </a:xfrm>
        </p:spPr>
        <p:txBody>
          <a:bodyPr/>
          <a:lstStyle/>
          <a:p>
            <a:r>
              <a:rPr lang="de-DE" b="1" dirty="0">
                <a:latin typeface="Arial"/>
                <a:cs typeface="Arial"/>
              </a:rPr>
              <a:t>Ende Teil III</a:t>
            </a:r>
            <a:endParaRPr lang="de-DE" b="1" dirty="0"/>
          </a:p>
        </p:txBody>
      </p:sp>
      <p:pic>
        <p:nvPicPr>
          <p:cNvPr id="5" name="Grafik 4">
            <a:extLst>
              <a:ext uri="{FF2B5EF4-FFF2-40B4-BE49-F238E27FC236}">
                <a16:creationId xmlns:a16="http://schemas.microsoft.com/office/drawing/2014/main" id="{11F4CE95-FB92-4B20-8FB2-00F99E21A9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1556" y="3842795"/>
            <a:ext cx="3257886" cy="2257063"/>
          </a:xfrm>
          <a:prstGeom prst="rect">
            <a:avLst/>
          </a:prstGeom>
        </p:spPr>
      </p:pic>
    </p:spTree>
    <p:extLst>
      <p:ext uri="{BB962C8B-B14F-4D97-AF65-F5344CB8AC3E}">
        <p14:creationId xmlns:p14="http://schemas.microsoft.com/office/powerpoint/2010/main" val="123945209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85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a:extLst>
              <a:ext uri="{FF2B5EF4-FFF2-40B4-BE49-F238E27FC236}">
                <a16:creationId xmlns:a16="http://schemas.microsoft.com/office/drawing/2014/main" id="{D8DE1245-0547-481C-B02B-A35BC3D462F7}"/>
              </a:ext>
            </a:extLst>
          </p:cNvPr>
          <p:cNvSpPr>
            <a:spLocks noChangeArrowheads="1"/>
          </p:cNvSpPr>
          <p:nvPr/>
        </p:nvSpPr>
        <p:spPr bwMode="auto">
          <a:xfrm>
            <a:off x="299864" y="3029168"/>
            <a:ext cx="3384001" cy="5739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Optionen</a:t>
            </a:r>
          </a:p>
        </p:txBody>
      </p:sp>
      <p:sp>
        <p:nvSpPr>
          <p:cNvPr id="5" name="Rechteck 4">
            <a:extLst>
              <a:ext uri="{FF2B5EF4-FFF2-40B4-BE49-F238E27FC236}">
                <a16:creationId xmlns:a16="http://schemas.microsoft.com/office/drawing/2014/main" id="{15C9A07B-94EB-4F12-ACDA-1C08F950AF6B}"/>
              </a:ext>
            </a:extLst>
          </p:cNvPr>
          <p:cNvSpPr/>
          <p:nvPr/>
        </p:nvSpPr>
        <p:spPr>
          <a:xfrm>
            <a:off x="299864" y="1752818"/>
            <a:ext cx="3384001" cy="573917"/>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6" name="Rechteck 5">
            <a:extLst>
              <a:ext uri="{FF2B5EF4-FFF2-40B4-BE49-F238E27FC236}">
                <a16:creationId xmlns:a16="http://schemas.microsoft.com/office/drawing/2014/main" id="{5DC778D2-6FDE-4F56-8428-89167E2CE9B1}"/>
              </a:ext>
            </a:extLst>
          </p:cNvPr>
          <p:cNvSpPr/>
          <p:nvPr/>
        </p:nvSpPr>
        <p:spPr>
          <a:xfrm>
            <a:off x="299864" y="4278001"/>
            <a:ext cx="3384001" cy="573918"/>
          </a:xfrm>
          <a:prstGeom prst="rect">
            <a:avLst/>
          </a:prstGeom>
          <a:solidFill>
            <a:srgbClr val="BFBFBF">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2500"/>
          </a:p>
        </p:txBody>
      </p:sp>
      <p:sp>
        <p:nvSpPr>
          <p:cNvPr id="7" name="Rectangle 12">
            <a:extLst>
              <a:ext uri="{FF2B5EF4-FFF2-40B4-BE49-F238E27FC236}">
                <a16:creationId xmlns:a16="http://schemas.microsoft.com/office/drawing/2014/main" id="{C6F8892F-4113-4E3C-86E3-7D4342F37326}"/>
              </a:ext>
            </a:extLst>
          </p:cNvPr>
          <p:cNvSpPr>
            <a:spLocks noChangeArrowheads="1"/>
          </p:cNvSpPr>
          <p:nvPr/>
        </p:nvSpPr>
        <p:spPr bwMode="auto">
          <a:xfrm>
            <a:off x="299864" y="1752817"/>
            <a:ext cx="3384001" cy="586617"/>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Futures</a:t>
            </a:r>
          </a:p>
        </p:txBody>
      </p:sp>
      <p:sp>
        <p:nvSpPr>
          <p:cNvPr id="8" name="Rectangle 12">
            <a:extLst>
              <a:ext uri="{FF2B5EF4-FFF2-40B4-BE49-F238E27FC236}">
                <a16:creationId xmlns:a16="http://schemas.microsoft.com/office/drawing/2014/main" id="{6DE87A68-80C4-477D-A028-2FB81E1D08A5}"/>
              </a:ext>
            </a:extLst>
          </p:cNvPr>
          <p:cNvSpPr>
            <a:spLocks noChangeArrowheads="1"/>
          </p:cNvSpPr>
          <p:nvPr/>
        </p:nvSpPr>
        <p:spPr bwMode="auto">
          <a:xfrm>
            <a:off x="299864" y="4278001"/>
            <a:ext cx="3384001" cy="586618"/>
          </a:xfrm>
          <a:prstGeom prst="rect">
            <a:avLst/>
          </a:prstGeom>
          <a:gradFill flip="none" rotWithShape="1">
            <a:gsLst>
              <a:gs pos="0">
                <a:srgbClr val="091638"/>
              </a:gs>
              <a:gs pos="100000">
                <a:srgbClr val="133176">
                  <a:alpha val="91000"/>
                </a:srgbClr>
              </a:gs>
            </a:gsLst>
            <a:lin ang="16200000" scaled="0"/>
            <a:tileRect/>
          </a:gradFill>
          <a:ln>
            <a:noFill/>
            <a:headEnd/>
            <a:tailEnd/>
          </a:ln>
        </p:spPr>
        <p:style>
          <a:lnRef idx="1">
            <a:schemeClr val="accent3"/>
          </a:lnRef>
          <a:fillRef idx="3">
            <a:schemeClr val="accent3"/>
          </a:fillRef>
          <a:effectRef idx="2">
            <a:schemeClr val="accent3"/>
          </a:effectRef>
          <a:fontRef idx="minor">
            <a:schemeClr val="lt1"/>
          </a:fontRef>
        </p:style>
        <p:txBody>
          <a:bodyPr lIns="96000" tIns="60959" rIns="121919" bIns="60959" anchor="ctr"/>
          <a:lstStyle/>
          <a:p>
            <a:pPr algn="ctr">
              <a:spcAft>
                <a:spcPts val="556"/>
              </a:spcAft>
              <a:defRPr/>
            </a:pPr>
            <a:r>
              <a:rPr lang="de-DE" sz="2500" b="1" dirty="0">
                <a:solidFill>
                  <a:schemeClr val="bg1"/>
                </a:solidFill>
              </a:rPr>
              <a:t>Zertifikate</a:t>
            </a:r>
          </a:p>
        </p:txBody>
      </p:sp>
      <p:sp>
        <p:nvSpPr>
          <p:cNvPr id="9" name="Rechteck 8">
            <a:extLst>
              <a:ext uri="{FF2B5EF4-FFF2-40B4-BE49-F238E27FC236}">
                <a16:creationId xmlns:a16="http://schemas.microsoft.com/office/drawing/2014/main" id="{303E7D32-8E99-40A3-8BC2-CB297BA209D5}"/>
              </a:ext>
            </a:extLst>
          </p:cNvPr>
          <p:cNvSpPr/>
          <p:nvPr/>
        </p:nvSpPr>
        <p:spPr>
          <a:xfrm>
            <a:off x="299864" y="1772694"/>
            <a:ext cx="3384001" cy="573919"/>
          </a:xfrm>
          <a:prstGeom prst="rect">
            <a:avLst/>
          </a:prstGeom>
          <a:noFill/>
          <a:ln w="44450">
            <a:solidFill>
              <a:srgbClr val="F5F6F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de-DE"/>
          </a:p>
        </p:txBody>
      </p:sp>
    </p:spTree>
    <p:extLst>
      <p:ext uri="{BB962C8B-B14F-4D97-AF65-F5344CB8AC3E}">
        <p14:creationId xmlns:p14="http://schemas.microsoft.com/office/powerpoint/2010/main" val="3563663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CB881A7-67D8-49AE-88FC-7736FD27F7AB}"/>
              </a:ext>
            </a:extLst>
          </p:cNvPr>
          <p:cNvSpPr>
            <a:spLocks noGrp="1"/>
          </p:cNvSpPr>
          <p:nvPr>
            <p:ph type="sldNum" sz="quarter" idx="10"/>
          </p:nvPr>
        </p:nvSpPr>
        <p:spPr/>
        <p:txBody>
          <a:bodyPr/>
          <a:lstStyle/>
          <a:p>
            <a:fld id="{F966D7FF-EADB-4E92-9989-4DE4533DAC48}" type="slidenum">
              <a:rPr lang="de-DE" smtClean="0"/>
              <a:pPr/>
              <a:t>7</a:t>
            </a:fld>
            <a:endParaRPr lang="de-DE" dirty="0"/>
          </a:p>
        </p:txBody>
      </p:sp>
      <p:sp>
        <p:nvSpPr>
          <p:cNvPr id="24" name="CustomShape 1">
            <a:extLst>
              <a:ext uri="{FF2B5EF4-FFF2-40B4-BE49-F238E27FC236}">
                <a16:creationId xmlns:a16="http://schemas.microsoft.com/office/drawing/2014/main" id="{006CF973-08E6-47DD-9AF8-7AB3508B0053}"/>
              </a:ext>
            </a:extLst>
          </p:cNvPr>
          <p:cNvSpPr/>
          <p:nvPr/>
        </p:nvSpPr>
        <p:spPr>
          <a:xfrm>
            <a:off x="1636200" y="2730600"/>
            <a:ext cx="8876880" cy="1396800"/>
          </a:xfrm>
          <a:prstGeom prst="rect">
            <a:avLst/>
          </a:prstGeom>
          <a:gradFill rotWithShape="0">
            <a:gsLst>
              <a:gs pos="0">
                <a:srgbClr val="091638"/>
              </a:gs>
              <a:gs pos="100000">
                <a:srgbClr val="133176"/>
              </a:gs>
            </a:gsLst>
            <a:lin ang="16200000"/>
          </a:gradFill>
          <a:ln>
            <a:noFill/>
          </a:ln>
        </p:spPr>
        <p:style>
          <a:lnRef idx="1">
            <a:schemeClr val="accent3"/>
          </a:lnRef>
          <a:fillRef idx="3">
            <a:schemeClr val="accent3"/>
          </a:fillRef>
          <a:effectRef idx="2">
            <a:schemeClr val="accent3"/>
          </a:effectRef>
          <a:fontRef idx="minor"/>
        </p:style>
        <p:txBody>
          <a:bodyPr lIns="96120" tIns="60840" rIns="122040" bIns="6084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Aft>
                <a:spcPts val="556"/>
              </a:spcAft>
            </a:pPr>
            <a:r>
              <a:rPr lang="de-DE" sz="5870" b="1" strike="noStrike" spc="-1">
                <a:solidFill>
                  <a:srgbClr val="FFFFFF"/>
                </a:solidFill>
                <a:latin typeface="Century Gothic"/>
              </a:rPr>
              <a:t>Wozu gibt es Futures?</a:t>
            </a:r>
            <a:endParaRPr lang="de-DE" sz="5870" b="0" strike="noStrike" spc="-1">
              <a:latin typeface="Arial"/>
            </a:endParaRPr>
          </a:p>
        </p:txBody>
      </p:sp>
      <p:sp>
        <p:nvSpPr>
          <p:cNvPr id="25" name="TextShape 2">
            <a:extLst>
              <a:ext uri="{FF2B5EF4-FFF2-40B4-BE49-F238E27FC236}">
                <a16:creationId xmlns:a16="http://schemas.microsoft.com/office/drawing/2014/main" id="{4F9B42C1-A957-41BB-9BA6-CE339D1364B1}"/>
              </a:ext>
            </a:extLst>
          </p:cNvPr>
          <p:cNvSpPr txBox="1"/>
          <p:nvPr/>
        </p:nvSpPr>
        <p:spPr>
          <a:xfrm>
            <a:off x="203040" y="291960"/>
            <a:ext cx="9821160" cy="552600"/>
          </a:xfrm>
          <a:prstGeom prst="rect">
            <a:avLst/>
          </a:prstGeom>
          <a:noFill/>
          <a:ln>
            <a:noFill/>
          </a:ln>
        </p:spPr>
        <p:txBody>
          <a:bodyPr lIns="90000" tIns="45000" rIns="90000" bIns="4500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1800" b="0" strike="noStrike" spc="-1">
              <a:solidFill>
                <a:srgbClr val="000000"/>
              </a:solidFill>
              <a:latin typeface="Calibri"/>
            </a:endParaRPr>
          </a:p>
        </p:txBody>
      </p:sp>
    </p:spTree>
    <p:extLst>
      <p:ext uri="{BB962C8B-B14F-4D97-AF65-F5344CB8AC3E}">
        <p14:creationId xmlns:p14="http://schemas.microsoft.com/office/powerpoint/2010/main" val="266673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7570C87-C626-43C2-97A8-7B5CF0A6A9E1}"/>
              </a:ext>
            </a:extLst>
          </p:cNvPr>
          <p:cNvSpPr>
            <a:spLocks noGrp="1"/>
          </p:cNvSpPr>
          <p:nvPr>
            <p:ph type="sldNum" sz="quarter" idx="10"/>
          </p:nvPr>
        </p:nvSpPr>
        <p:spPr/>
        <p:txBody>
          <a:bodyPr/>
          <a:lstStyle/>
          <a:p>
            <a:fld id="{F966D7FF-EADB-4E92-9989-4DE4533DAC48}" type="slidenum">
              <a:rPr lang="de-DE" smtClean="0"/>
              <a:pPr/>
              <a:t>8</a:t>
            </a:fld>
            <a:endParaRPr lang="de-DE" dirty="0"/>
          </a:p>
        </p:txBody>
      </p:sp>
      <p:sp>
        <p:nvSpPr>
          <p:cNvPr id="3" name="Inhaltsplatzhalter 2">
            <a:extLst>
              <a:ext uri="{FF2B5EF4-FFF2-40B4-BE49-F238E27FC236}">
                <a16:creationId xmlns:a16="http://schemas.microsoft.com/office/drawing/2014/main" id="{CA6D9FCA-E306-477B-A78B-F112592FD9DB}"/>
              </a:ext>
            </a:extLst>
          </p:cNvPr>
          <p:cNvSpPr>
            <a:spLocks noGrp="1"/>
          </p:cNvSpPr>
          <p:nvPr>
            <p:ph idx="11"/>
          </p:nvPr>
        </p:nvSpPr>
        <p:spPr/>
        <p:txBody>
          <a:bodyPr/>
          <a:lstStyle/>
          <a:p>
            <a:r>
              <a:rPr lang="de-DE" dirty="0"/>
              <a:t>Was sind Futures?</a:t>
            </a:r>
          </a:p>
        </p:txBody>
      </p:sp>
      <p:sp>
        <p:nvSpPr>
          <p:cNvPr id="5" name="Inhaltsplatzhalter 4">
            <a:extLst>
              <a:ext uri="{FF2B5EF4-FFF2-40B4-BE49-F238E27FC236}">
                <a16:creationId xmlns:a16="http://schemas.microsoft.com/office/drawing/2014/main" id="{542CF92C-DE0A-4F43-A0BF-773430E81554}"/>
              </a:ext>
            </a:extLst>
          </p:cNvPr>
          <p:cNvSpPr>
            <a:spLocks noGrp="1"/>
          </p:cNvSpPr>
          <p:nvPr>
            <p:ph idx="12"/>
          </p:nvPr>
        </p:nvSpPr>
        <p:spPr/>
        <p:txBody>
          <a:bodyPr/>
          <a:lstStyle/>
          <a:p>
            <a:r>
              <a:rPr lang="de-DE" dirty="0"/>
              <a:t>Futures verpflichten den Käufer, den Kontraktgegenstand in der Zukunft zu kaufen und den Verkäufer, den Kontraktgegenstand zu liefern</a:t>
            </a:r>
          </a:p>
        </p:txBody>
      </p:sp>
      <p:sp>
        <p:nvSpPr>
          <p:cNvPr id="7" name="CustomShape 2">
            <a:extLst>
              <a:ext uri="{FF2B5EF4-FFF2-40B4-BE49-F238E27FC236}">
                <a16:creationId xmlns:a16="http://schemas.microsoft.com/office/drawing/2014/main" id="{06776F92-D238-4B69-94EB-5F07FBBC5CED}"/>
              </a:ext>
            </a:extLst>
          </p:cNvPr>
          <p:cNvSpPr/>
          <p:nvPr/>
        </p:nvSpPr>
        <p:spPr>
          <a:xfrm>
            <a:off x="912240" y="1374395"/>
            <a:ext cx="10847520" cy="48837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3200" b="1" strike="noStrike" spc="-1">
                <a:solidFill>
                  <a:srgbClr val="000000"/>
                </a:solidFill>
                <a:latin typeface="Calibri"/>
              </a:rPr>
              <a:t>Futures beinhalten die Pflicht, den     </a:t>
            </a:r>
            <a:r>
              <a:rPr lang="de-DE" sz="3740" b="1" strike="noStrike" spc="-1">
                <a:solidFill>
                  <a:srgbClr val="44546A"/>
                </a:solidFill>
                <a:latin typeface="Century Gothic"/>
              </a:rPr>
              <a:t>	</a:t>
            </a:r>
            <a:r>
              <a:rPr lang="de-DE" sz="4800" b="1" strike="noStrike" spc="-1">
                <a:solidFill>
                  <a:srgbClr val="FFC000"/>
                </a:solidFill>
                <a:latin typeface="Calibri"/>
              </a:rPr>
              <a:t>Kontraktgegenstand</a:t>
            </a:r>
            <a:r>
              <a:rPr lang="de-DE" sz="4800" b="1" strike="noStrike" spc="-1">
                <a:solidFill>
                  <a:srgbClr val="44546A"/>
                </a:solidFill>
                <a:latin typeface="Calibri"/>
              </a:rPr>
              <a:t> </a:t>
            </a:r>
            <a:endParaRPr lang="de-DE" sz="4800" b="0" strike="noStrike" spc="-1">
              <a:latin typeface="Arial"/>
            </a:endParaRPr>
          </a:p>
          <a:p>
            <a:pPr>
              <a:lnSpc>
                <a:spcPct val="100000"/>
              </a:lnSpc>
            </a:pPr>
            <a:r>
              <a:rPr lang="de-DE" sz="4800" b="1" strike="noStrike" spc="-1">
                <a:solidFill>
                  <a:srgbClr val="44546A"/>
                </a:solidFill>
                <a:latin typeface="Century Gothic"/>
              </a:rPr>
              <a:t>	  </a:t>
            </a:r>
            <a:r>
              <a:rPr lang="de-DE" sz="3200" b="1" strike="noStrike" spc="-1">
                <a:solidFill>
                  <a:srgbClr val="000000"/>
                </a:solidFill>
                <a:latin typeface="Calibri"/>
              </a:rPr>
              <a:t>zum</a:t>
            </a:r>
            <a:r>
              <a:rPr lang="de-DE" sz="3200" b="1" strike="noStrike" spc="-1">
                <a:solidFill>
                  <a:srgbClr val="44546A"/>
                </a:solidFill>
                <a:latin typeface="Century Gothic"/>
              </a:rPr>
              <a:t> </a:t>
            </a:r>
            <a:endParaRPr lang="de-DE" sz="3200" b="0" strike="noStrike" spc="-1">
              <a:latin typeface="Arial"/>
            </a:endParaRPr>
          </a:p>
          <a:p>
            <a:pPr>
              <a:lnSpc>
                <a:spcPct val="100000"/>
              </a:lnSpc>
            </a:pPr>
            <a:r>
              <a:rPr lang="de-DE" sz="4800" b="1" strike="noStrike" spc="-1">
                <a:solidFill>
                  <a:srgbClr val="FFC000"/>
                </a:solidFill>
                <a:latin typeface="Century Gothic"/>
              </a:rPr>
              <a:t>		</a:t>
            </a:r>
            <a:r>
              <a:rPr lang="de-DE" sz="4800" b="1" strike="noStrike" spc="-1">
                <a:solidFill>
                  <a:srgbClr val="FFC000"/>
                </a:solidFill>
                <a:latin typeface="Calibri"/>
              </a:rPr>
              <a:t>Future-Preis</a:t>
            </a:r>
            <a:endParaRPr lang="de-DE" sz="4800" b="0" strike="noStrike" spc="-1">
              <a:latin typeface="Arial"/>
            </a:endParaRPr>
          </a:p>
          <a:p>
            <a:pPr>
              <a:lnSpc>
                <a:spcPct val="100000"/>
              </a:lnSpc>
            </a:pPr>
            <a:r>
              <a:rPr lang="de-DE" sz="4800" b="1" strike="noStrike" spc="-1">
                <a:solidFill>
                  <a:srgbClr val="44546A"/>
                </a:solidFill>
                <a:latin typeface="Century Gothic"/>
              </a:rPr>
              <a:t>		  </a:t>
            </a:r>
            <a:r>
              <a:rPr lang="de-DE" sz="3200" b="1" strike="noStrike" spc="-1">
                <a:solidFill>
                  <a:srgbClr val="000000"/>
                </a:solidFill>
                <a:latin typeface="Calibri"/>
              </a:rPr>
              <a:t>bei</a:t>
            </a:r>
            <a:r>
              <a:rPr lang="de-DE" sz="3200" b="1" strike="noStrike" spc="-1">
                <a:solidFill>
                  <a:srgbClr val="44546A"/>
                </a:solidFill>
                <a:latin typeface="Century Gothic"/>
              </a:rPr>
              <a:t> </a:t>
            </a:r>
            <a:endParaRPr lang="de-DE" sz="3200" b="0" strike="noStrike" spc="-1">
              <a:latin typeface="Arial"/>
            </a:endParaRPr>
          </a:p>
          <a:p>
            <a:pPr>
              <a:lnSpc>
                <a:spcPct val="100000"/>
              </a:lnSpc>
            </a:pPr>
            <a:r>
              <a:rPr lang="de-DE" sz="4800" b="1" strike="noStrike" spc="-1">
                <a:solidFill>
                  <a:srgbClr val="FFC000"/>
                </a:solidFill>
                <a:latin typeface="Century Gothic"/>
              </a:rPr>
              <a:t>		     </a:t>
            </a:r>
            <a:r>
              <a:rPr lang="de-DE" sz="4800" b="1" strike="noStrike" spc="-1">
                <a:solidFill>
                  <a:srgbClr val="FFC000"/>
                </a:solidFill>
                <a:latin typeface="Calibri"/>
              </a:rPr>
              <a:t>Fälligkeit</a:t>
            </a:r>
            <a:endParaRPr lang="de-DE" sz="4800" b="0" strike="noStrike" spc="-1">
              <a:latin typeface="Arial"/>
            </a:endParaRPr>
          </a:p>
          <a:p>
            <a:pPr>
              <a:lnSpc>
                <a:spcPct val="100000"/>
              </a:lnSpc>
            </a:pPr>
            <a:r>
              <a:rPr lang="de-DE" sz="3740" b="1" strike="noStrike" spc="-1">
                <a:solidFill>
                  <a:srgbClr val="44546A"/>
                </a:solidFill>
                <a:latin typeface="Century Gothic"/>
              </a:rPr>
              <a:t>		          </a:t>
            </a:r>
            <a:r>
              <a:rPr lang="de-DE" sz="3200" b="1" strike="noStrike" spc="-1">
                <a:solidFill>
                  <a:srgbClr val="000000"/>
                </a:solidFill>
                <a:latin typeface="Calibri"/>
              </a:rPr>
              <a:t>anzunehmen, bzw. zu liefern. </a:t>
            </a:r>
            <a:endParaRPr lang="de-DE" sz="3200" b="0" strike="noStrike" spc="-1">
              <a:latin typeface="Arial"/>
            </a:endParaRPr>
          </a:p>
        </p:txBody>
      </p:sp>
      <p:sp>
        <p:nvSpPr>
          <p:cNvPr id="9" name="Line 3">
            <a:extLst>
              <a:ext uri="{FF2B5EF4-FFF2-40B4-BE49-F238E27FC236}">
                <a16:creationId xmlns:a16="http://schemas.microsoft.com/office/drawing/2014/main" id="{670F074E-BB5C-40F4-821E-F6E03F2F2F8F}"/>
              </a:ext>
            </a:extLst>
          </p:cNvPr>
          <p:cNvSpPr/>
          <p:nvPr/>
        </p:nvSpPr>
        <p:spPr>
          <a:xfrm>
            <a:off x="912240" y="1374395"/>
            <a:ext cx="360" cy="4512600"/>
          </a:xfrm>
          <a:prstGeom prst="line">
            <a:avLst/>
          </a:prstGeom>
          <a:ln/>
        </p:spPr>
        <p:style>
          <a:lnRef idx="1">
            <a:schemeClr val="accent1"/>
          </a:lnRef>
          <a:fillRef idx="0">
            <a:schemeClr val="accent1"/>
          </a:fillRef>
          <a:effectRef idx="0">
            <a:schemeClr val="accent1"/>
          </a:effectRef>
          <a:fontRef idx="minor"/>
        </p:style>
        <p:txBody>
          <a:bodyPr/>
          <a:lstStyle/>
          <a:p>
            <a:endParaRPr lang="de-DE"/>
          </a:p>
        </p:txBody>
      </p:sp>
    </p:spTree>
    <p:extLst>
      <p:ext uri="{BB962C8B-B14F-4D97-AF65-F5344CB8AC3E}">
        <p14:creationId xmlns:p14="http://schemas.microsoft.com/office/powerpoint/2010/main" val="440773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045BBAF-DA64-460F-B6B6-FB33999E5407}"/>
              </a:ext>
            </a:extLst>
          </p:cNvPr>
          <p:cNvSpPr>
            <a:spLocks noGrp="1"/>
          </p:cNvSpPr>
          <p:nvPr>
            <p:ph type="sldNum" sz="quarter" idx="10"/>
          </p:nvPr>
        </p:nvSpPr>
        <p:spPr/>
        <p:txBody>
          <a:bodyPr/>
          <a:lstStyle/>
          <a:p>
            <a:fld id="{F966D7FF-EADB-4E92-9989-4DE4533DAC48}" type="slidenum">
              <a:rPr lang="de-DE" smtClean="0"/>
              <a:pPr/>
              <a:t>9</a:t>
            </a:fld>
            <a:endParaRPr lang="de-DE" dirty="0"/>
          </a:p>
        </p:txBody>
      </p:sp>
      <p:sp>
        <p:nvSpPr>
          <p:cNvPr id="3" name="Inhaltsplatzhalter 2">
            <a:extLst>
              <a:ext uri="{FF2B5EF4-FFF2-40B4-BE49-F238E27FC236}">
                <a16:creationId xmlns:a16="http://schemas.microsoft.com/office/drawing/2014/main" id="{17AFEF7B-B8AF-4BBB-9A45-57E496504CA4}"/>
              </a:ext>
            </a:extLst>
          </p:cNvPr>
          <p:cNvSpPr>
            <a:spLocks noGrp="1"/>
          </p:cNvSpPr>
          <p:nvPr>
            <p:ph idx="11"/>
          </p:nvPr>
        </p:nvSpPr>
        <p:spPr/>
        <p:txBody>
          <a:bodyPr/>
          <a:lstStyle/>
          <a:p>
            <a:r>
              <a:rPr lang="de-DE" sz="1200" dirty="0">
                <a:ea typeface="Verdana"/>
                <a:cs typeface="Arial"/>
              </a:rPr>
              <a:t>Wozu gibt es Futures?</a:t>
            </a:r>
            <a:endParaRPr lang="de-DE" sz="1200" dirty="0"/>
          </a:p>
        </p:txBody>
      </p:sp>
      <p:sp>
        <p:nvSpPr>
          <p:cNvPr id="5" name="Inhaltsplatzhalter 4">
            <a:extLst>
              <a:ext uri="{FF2B5EF4-FFF2-40B4-BE49-F238E27FC236}">
                <a16:creationId xmlns:a16="http://schemas.microsoft.com/office/drawing/2014/main" id="{D38DAA70-E11A-4477-A2F6-CA66347FC154}"/>
              </a:ext>
            </a:extLst>
          </p:cNvPr>
          <p:cNvSpPr>
            <a:spLocks noGrp="1"/>
          </p:cNvSpPr>
          <p:nvPr>
            <p:ph idx="12"/>
          </p:nvPr>
        </p:nvSpPr>
        <p:spPr/>
        <p:txBody>
          <a:bodyPr/>
          <a:lstStyle/>
          <a:p>
            <a:r>
              <a:rPr lang="de-DE" dirty="0"/>
              <a:t>Futures bieten eine Vereinbarung für einen bestimmten Preis in der Zukunft und können so Planungssicherheit fördern</a:t>
            </a:r>
          </a:p>
        </p:txBody>
      </p:sp>
      <p:grpSp>
        <p:nvGrpSpPr>
          <p:cNvPr id="20" name="Gruppieren 19">
            <a:extLst>
              <a:ext uri="{FF2B5EF4-FFF2-40B4-BE49-F238E27FC236}">
                <a16:creationId xmlns:a16="http://schemas.microsoft.com/office/drawing/2014/main" id="{78C03828-8D64-4FB9-9C7B-0AD93D9EB6B6}"/>
              </a:ext>
            </a:extLst>
          </p:cNvPr>
          <p:cNvGrpSpPr/>
          <p:nvPr/>
        </p:nvGrpSpPr>
        <p:grpSpPr>
          <a:xfrm>
            <a:off x="-366070" y="1386327"/>
            <a:ext cx="12231720" cy="4899028"/>
            <a:chOff x="-366070" y="1386327"/>
            <a:chExt cx="12231720" cy="4899028"/>
          </a:xfrm>
        </p:grpSpPr>
        <p:pic>
          <p:nvPicPr>
            <p:cNvPr id="7" name="Grafik 6">
              <a:extLst>
                <a:ext uri="{FF2B5EF4-FFF2-40B4-BE49-F238E27FC236}">
                  <a16:creationId xmlns:a16="http://schemas.microsoft.com/office/drawing/2014/main" id="{E680DEB0-5D1D-489A-A9F3-68785FAB9EF6}"/>
                </a:ext>
              </a:extLst>
            </p:cNvPr>
            <p:cNvPicPr/>
            <p:nvPr/>
          </p:nvPicPr>
          <p:blipFill>
            <a:blip r:embed="rId3">
              <a:extLst>
                <a:ext uri="{BEBA8EAE-BF5A-486C-A8C5-ECC9F3942E4B}">
                  <a14:imgProps xmlns:a14="http://schemas.microsoft.com/office/drawing/2010/main">
                    <a14:imgLayer r:embed="rId4">
                      <a14:imgEffect>
                        <a14:artisticPaintStrokes/>
                      </a14:imgEffect>
                    </a14:imgLayer>
                  </a14:imgProps>
                </a:ext>
              </a:extLst>
            </a:blip>
            <a:stretch/>
          </p:blipFill>
          <p:spPr>
            <a:xfrm>
              <a:off x="-366070" y="3355675"/>
              <a:ext cx="4405680" cy="2929680"/>
            </a:xfrm>
            <a:prstGeom prst="rect">
              <a:avLst/>
            </a:prstGeom>
            <a:ln>
              <a:noFill/>
            </a:ln>
          </p:spPr>
        </p:pic>
        <p:pic>
          <p:nvPicPr>
            <p:cNvPr id="9" name="Picture 2">
              <a:extLst>
                <a:ext uri="{FF2B5EF4-FFF2-40B4-BE49-F238E27FC236}">
                  <a16:creationId xmlns:a16="http://schemas.microsoft.com/office/drawing/2014/main" id="{2F4BFF80-A595-49F7-96F9-7CA346A03215}"/>
                </a:ext>
              </a:extLst>
            </p:cNvPr>
            <p:cNvPicPr/>
            <p:nvPr/>
          </p:nvPicPr>
          <p:blipFill>
            <a:blip r:embed="rId5"/>
            <a:stretch/>
          </p:blipFill>
          <p:spPr>
            <a:xfrm>
              <a:off x="1974290" y="2088115"/>
              <a:ext cx="2548440" cy="1538640"/>
            </a:xfrm>
            <a:prstGeom prst="rect">
              <a:avLst/>
            </a:prstGeom>
            <a:ln>
              <a:noFill/>
            </a:ln>
          </p:spPr>
        </p:pic>
        <p:pic>
          <p:nvPicPr>
            <p:cNvPr id="11" name="Picture 4">
              <a:extLst>
                <a:ext uri="{FF2B5EF4-FFF2-40B4-BE49-F238E27FC236}">
                  <a16:creationId xmlns:a16="http://schemas.microsoft.com/office/drawing/2014/main" id="{0711F9B4-5BF5-4874-B43E-A5FE30778370}"/>
                </a:ext>
              </a:extLst>
            </p:cNvPr>
            <p:cNvPicPr/>
            <p:nvPr/>
          </p:nvPicPr>
          <p:blipFill>
            <a:blip r:embed="rId6"/>
            <a:srcRect l="25749" t="4587" r="21663" b="8611"/>
            <a:stretch/>
          </p:blipFill>
          <p:spPr>
            <a:xfrm>
              <a:off x="7986290" y="1386327"/>
              <a:ext cx="3879360" cy="4800240"/>
            </a:xfrm>
            <a:prstGeom prst="rect">
              <a:avLst/>
            </a:prstGeom>
            <a:ln w="88920">
              <a:solidFill>
                <a:srgbClr val="FFFFFF"/>
              </a:solidFill>
              <a:miter/>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Grafik 12">
              <a:extLst>
                <a:ext uri="{FF2B5EF4-FFF2-40B4-BE49-F238E27FC236}">
                  <a16:creationId xmlns:a16="http://schemas.microsoft.com/office/drawing/2014/main" id="{7AB4A72F-7126-496D-A7EE-FB165CD68016}"/>
                </a:ext>
              </a:extLst>
            </p:cNvPr>
            <p:cNvPicPr/>
            <p:nvPr/>
          </p:nvPicPr>
          <p:blipFill>
            <a:blip r:embed="rId7"/>
            <a:stretch/>
          </p:blipFill>
          <p:spPr>
            <a:xfrm>
              <a:off x="6257930" y="3922315"/>
              <a:ext cx="1218960" cy="1218960"/>
            </a:xfrm>
            <a:prstGeom prst="rect">
              <a:avLst/>
            </a:prstGeom>
            <a:ln>
              <a:noFill/>
            </a:ln>
          </p:spPr>
        </p:pic>
        <p:sp>
          <p:nvSpPr>
            <p:cNvPr id="15" name="CustomShape 4">
              <a:extLst>
                <a:ext uri="{FF2B5EF4-FFF2-40B4-BE49-F238E27FC236}">
                  <a16:creationId xmlns:a16="http://schemas.microsoft.com/office/drawing/2014/main" id="{AA2A4C6E-7197-40BA-9E5E-A75D48751C2E}"/>
                </a:ext>
              </a:extLst>
            </p:cNvPr>
            <p:cNvSpPr/>
            <p:nvPr/>
          </p:nvSpPr>
          <p:spPr>
            <a:xfrm>
              <a:off x="387872" y="2669515"/>
              <a:ext cx="1972080" cy="187884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sz="11740" b="1" strike="noStrike" spc="-1" dirty="0">
                  <a:solidFill>
                    <a:srgbClr val="000000"/>
                  </a:solidFill>
                  <a:latin typeface="Calibri"/>
                </a:rPr>
                <a:t>?</a:t>
              </a:r>
              <a:endParaRPr lang="de-DE" sz="11740" b="0" strike="noStrike" spc="-1" dirty="0">
                <a:latin typeface="Arial"/>
              </a:endParaRPr>
            </a:p>
          </p:txBody>
        </p:sp>
        <p:pic>
          <p:nvPicPr>
            <p:cNvPr id="17" name="Grafik 16">
              <a:extLst>
                <a:ext uri="{FF2B5EF4-FFF2-40B4-BE49-F238E27FC236}">
                  <a16:creationId xmlns:a16="http://schemas.microsoft.com/office/drawing/2014/main" id="{420CAACC-3FCF-42D2-8BAB-5BAB768B2154}"/>
                </a:ext>
              </a:extLst>
            </p:cNvPr>
            <p:cNvPicPr/>
            <p:nvPr/>
          </p:nvPicPr>
          <p:blipFill>
            <a:blip r:embed="rId8"/>
            <a:stretch/>
          </p:blipFill>
          <p:spPr>
            <a:xfrm>
              <a:off x="4336970" y="3161995"/>
              <a:ext cx="1332720" cy="1332720"/>
            </a:xfrm>
            <a:prstGeom prst="rect">
              <a:avLst/>
            </a:prstGeom>
            <a:ln>
              <a:noFill/>
            </a:ln>
          </p:spPr>
        </p:pic>
        <p:pic>
          <p:nvPicPr>
            <p:cNvPr id="19" name="Grafik 18">
              <a:extLst>
                <a:ext uri="{FF2B5EF4-FFF2-40B4-BE49-F238E27FC236}">
                  <a16:creationId xmlns:a16="http://schemas.microsoft.com/office/drawing/2014/main" id="{8DAAF896-95C4-4834-BD83-8AB14429D15C}"/>
                </a:ext>
              </a:extLst>
            </p:cNvPr>
            <p:cNvPicPr/>
            <p:nvPr/>
          </p:nvPicPr>
          <p:blipFill>
            <a:blip r:embed="rId9"/>
            <a:stretch/>
          </p:blipFill>
          <p:spPr>
            <a:xfrm>
              <a:off x="4203050" y="4055515"/>
              <a:ext cx="1588320" cy="1588320"/>
            </a:xfrm>
            <a:prstGeom prst="rect">
              <a:avLst/>
            </a:prstGeom>
            <a:ln>
              <a:noFill/>
            </a:ln>
          </p:spPr>
        </p:pic>
      </p:grpSp>
    </p:spTree>
    <p:extLst>
      <p:ext uri="{BB962C8B-B14F-4D97-AF65-F5344CB8AC3E}">
        <p14:creationId xmlns:p14="http://schemas.microsoft.com/office/powerpoint/2010/main" val="2218583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itemSingleHeight+topicLeftSpacing)&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itemSingleHeight&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5&quot; visible=&quot;1&quot; /&gt;&lt;/element&gt;&lt;element type=&quot;autoshape&quot; autoShapeType=&quot;1&quot; value=&quot;&quot;&gt;&lt;position left=&quot;0&quot; top=&quot;0&quot; width=&quot;itemSingleHeight&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D9D9D9&quot; visible=&quot;1&quot; /&gt;&lt;/element&gt;&lt;element type=&quot;autoshape&quot; autoShapeType=&quot;1&quot; value=&quot;&quot;&gt;&lt;position left=&quot;0&quot; top=&quot;0&quot; width=&quot;itemSingleHeight&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5&quot; visible=&quot;1&quot; /&gt;&lt;/element&gt;&lt;element type=&quot;autoshape&quot; autoShapeType=&quot;1&quot; value=&quot;&quot;&gt;&lt;position left=&quot;0&quot; top=&quot;0&quot; width=&quot;itemSingleHeight&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D9D9D9&quot; visible=&quot;1&quot; /&gt;&lt;/element&gt;&lt;element type=&quot;autoshape&quot; autoShapeType=&quot;1&quot; value=&quot;&quot;&gt;&lt;position left=&quot;0&quot; top=&quot;0&quot; width=&quot;itemSingleHeight&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5&quot; visible=&quot;1&quot; /&gt;&lt;/element&gt;&lt;element type=&quot;autoshape&quot; autoShapeType=&quot;1&quot; value=&quot;&quot;&gt;&lt;position left=&quot;0&quot; top=&quot;0&quot; width=&quot;itemSingleHeight&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D9D9D9&quot; visible=&quot;1&quot; /&gt;&lt;/element&gt;&lt;element type=&quot;autoshape&quot; autoShapeType=&quot;1&quot; value=&quot;&quot;&gt;&lt;position left=&quot;0&quot; top=&quot;0&quot; width=&quot;itemSingleHeight&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itemSingleHeight+topicLeftSpacing&quot; top=&quot;0&quot; width=&quot;agendaWidth-topicLeftSpacing-itemNoWidth&quot; height=&quot;itemHeight&quot; /&gt;&lt;fill foreColor=&quot;5&quot; visible=&quot;1&quot; /&gt;&lt;/element&gt;&lt;element type=&quot;autoshape&quot; autoShapeType=&quot;1&quot; value=&quot;&quot;&gt;&lt;position left=&quot;0&quot; top=&quot;0&quot; width=&quot;itemSingleHeight&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0&quot; createBackupSlide=&quot;0&quot; layoutId=&quot;1_4&quot; createSections=&quot;0&quot; singleSlideId=&quot;1d21ecce-c693-4412-80e3-2b24ad9ff442&quot; backupSlideId=&quot;&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469.1742&quot; /&gt;&lt;column field=&quot;responsible&quot; label=&quot;Responsible&quot; visible=&quot;1&quot; checked=&quot;0&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0&quot; leftSpacing=&quot;10&quot; rightSpacing=&quot;6&quot; dock=&quot;2&quot; /&gt;&lt;column field=&quot;pageno&quot; label=&quot;Page No.&quot; visible=&quot;1&quot; checked=&quot;1&quot; leftSpacing=&quot;10&quot; rightSpacing=&quot;6&quot; dock=&quot;2&quot; /&gt;&lt;/columns&gt;&lt;items&gt;&lt;item duration=&quot;30&quot; id=&quot;1ba32da7-e4b8-4968-908d-ece270eb092c&quot; parentId=&quot;&quot; level=&quot;1&quot; generateAgendaSlide=&quot;1&quot; showAgendaItem=&quot;1&quot; isBreak=&quot;0&quot; topic=&quot;Basics&quot; agendaSlideId=&quot;&quot; itemNo=&quot;1&quot; subItemNo=&quot;0&quot; /&gt;&lt;item duration=&quot;30&quot; id=&quot;c7bc0f47-d57a-45ab-9e4c-e40c76be9ef1&quot; parentId=&quot;&quot; level=&quot;1&quot; generateAgendaSlide=&quot;1&quot; showAgendaItem=&quot;1&quot; isBreak=&quot;0&quot; agendaSlideId=&quot;&quot; topic=&quot;Controlling&quot; itemNo=&quot;2&quot; subItemNo=&quot;0&quot; /&gt;&lt;item duration=&quot;30&quot; id=&quot;a8e97998-40aa-4748-ba1a-27f32e8afe59&quot; parentId=&quot;&quot; level=&quot;1&quot; generateAgendaSlide=&quot;1&quot; showAgendaItem=&quot;1&quot; isBreak=&quot;0&quot; agendaSlideId=&quot;&quot; topic=&quot;Grafiken&quot; itemNo=&quot;3&quot; subItemNo=&quot;0&quot; /&gt;&lt;item duration=&quot;30&quot; id=&quot;3e34f59e-f315-4dd7-a886-3d1a6b5500f3&quot; parentId=&quot;&quot; level=&quot;1&quot; generateAgendaSlide=&quot;1&quot; showAgendaItem=&quot;1&quot; isBreak=&quot;0&quot; agendaSlideId=&quot;&quot; topic=&quot;Folienlayout&quot; itemNo=&quot;4&quot; subItemNo=&quot;0&quot; /&gt;&lt;item duration=&quot;30&quot; id=&quot;be755a6c-3c1a-4297-bb0c-f1bbf03b1735&quot; parentId=&quot;&quot; level=&quot;1&quot; generateAgendaSlide=&quot;1&quot; showAgendaItem=&quot;1&quot; isBreak=&quot;0&quot; agendaSlideId=&quot;&quot; topic=&quot;Controlling&quot; itemNo=&quot;5&quot; subItemNo=&quot;0&quot; /&gt;&lt;item duration=&quot;30&quot; id=&quot;d26529ef-b6c0-4ba4-9bf0-cc14c50e328d&quot; parentId=&quot;&quot; level=&quot;1&quot; generateAgendaSlide=&quot;1&quot; showAgendaItem=&quot;1&quot; isBreak=&quot;0&quot; agendaSlideId=&quot;&quot; topic=&quot;Projektplanung&quot; itemNo=&quot;6&quot; subItemNo=&quot;0&quot; /&gt;&lt;item duration=&quot;30&quot; id=&quot;b616a551-63b7-4f40-bb21-c35f5759ed3d&quot; parentId=&quot;&quot; level=&quot;1&quot; generateAgendaSlide=&quot;1&quot; showAgendaItem=&quot;1&quot; isBreak=&quot;0&quot; agendaSlideId=&quot;&quot; topic=&quot;Zeitablauf&quot; itemNo=&quot;7&quot; subItemNo=&quot;0&quot; /&gt;&lt;item duration=&quot;30&quot; id=&quot;c30fb5ac-d8ad-429b-879a-4f12da959884&quot; parentId=&quot;&quot; level=&quot;1&quot; generateAgendaSlide=&quot;1&quot; showAgendaItem=&quot;1&quot; isBreak=&quot;0&quot; agendaSlideId=&quot;&quot; topic=&quot;Ansprechpartner&quot; itemNo=&quot;8&quot; subItemNo=&quot;0&quot; /&gt;&lt;/items&gt;&lt;/agenda&gt;&lt;/contents&gt;&lt;/ee4p&gt;"/>
  <p:tag name="EE4P_AGENDAWIZARD_UPDATEPAGENUMBERS" val="1"/>
</p:tagLst>
</file>

<file path=ppt/tags/tag10.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6"/>
  <p:tag name="EE4P_AGENDAWIZARD_PROPERTIES" val="31.12504/316.3987/31.50465/31.50472"/>
</p:tagLst>
</file>

<file path=ppt/tags/tag11.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12.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ntrolling"/>
  <p:tag name="EE4P_AGENDAWIZARD_PROPERTIES" val="67.62968/279.894/136.0661/31.50472"/>
</p:tagLst>
</file>

<file path=ppt/tags/tag13.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5"/>
  <p:tag name="EE4P_AGENDAWIZARD_PROPERTIES" val="31.12504/279.894/31.50465/31.50472"/>
</p:tagLst>
</file>

<file path=ppt/tags/tag14.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15.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Folienlayout"/>
  <p:tag name="EE4P_AGENDAWIZARD_PROPERTIES" val="67.62968/243.3892/136.0661/31.50472"/>
</p:tagLst>
</file>

<file path=ppt/tags/tag16.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4"/>
  <p:tag name="EE4P_AGENDAWIZARD_PROPERTIES" val="31.12504/243.3892/31.50465/31.50472"/>
</p:tagLst>
</file>

<file path=ppt/tags/tag17.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18.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Grafiken"/>
  <p:tag name="EE4P_AGENDAWIZARD_PROPERTIES" val="67.62968/206.8845/136.0661/31.50472"/>
</p:tagLst>
</file>

<file path=ppt/tags/tag19.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3"/>
  <p:tag name="EE4P_AGENDAWIZARD_PROPERTIES" val="31.12504/206.8845/31.50465/31.50472"/>
</p:tagLst>
</file>

<file path=ppt/tags/tag2.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20.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21.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Controlling"/>
  <p:tag name="EE4P_AGENDAWIZARD_PROPERTIES" val="67.62968/170.3798/136.0661/31.50472"/>
</p:tagLst>
</file>

<file path=ppt/tags/tag22.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2"/>
  <p:tag name="EE4P_AGENDAWIZARD_PROPERTIES" val="31.12504/170.3798/31.50465/31.50472"/>
</p:tagLst>
</file>

<file path=ppt/tags/tag23.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24.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Basics"/>
  <p:tag name="EE4P_AGENDAWIZARD_PROPERTIES" val="67.62968/133.875/136.0661/31.50472"/>
</p:tagLst>
</file>

<file path=ppt/tags/tag25.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1"/>
  <p:tag name="EE4P_AGENDAWIZARD_PROPERTIES" val="31.12504/133.875/31.50465/31.50472"/>
</p:tagLst>
</file>

<file path=ppt/tags/tag3.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Ansprechpartner"/>
  <p:tag name="EE4P_AGENDAWIZARD_PROPERTIES" val="67.62968/389.4081/136.0661/31.50472"/>
</p:tagLst>
</file>

<file path=ppt/tags/tag4.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8"/>
  <p:tag name="EE4P_AGENDAWIZARD_PROPERTIES" val="31.12504/389.4081/31.50465/31.50472"/>
</p:tagLst>
</file>

<file path=ppt/tags/tag5.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6.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Zeitablauf"/>
  <p:tag name="EE4P_AGENDAWIZARD_PROPERTIES" val="67.62968/352.9034/136.0661/31.50472"/>
</p:tagLst>
</file>

<file path=ppt/tags/tag7.xml><?xml version="1.0" encoding="utf-8"?>
<p:tagLst xmlns:a="http://schemas.openxmlformats.org/drawingml/2006/main" xmlns:r="http://schemas.openxmlformats.org/officeDocument/2006/relationships" xmlns:p="http://schemas.openxmlformats.org/presentationml/2006/main">
  <p:tag name="EE4P_AGENDAWIZARD" val="item__ItemNo"/>
  <p:tag name="EE4P_AGENDAWIZARD_CONTENT" val="/7"/>
  <p:tag name="EE4P_AGENDAWIZARD_PROPERTIES" val="31.12504/352.9034/31.50465/31.50472"/>
</p:tagLst>
</file>

<file path=ppt/tags/tag8.xml><?xml version="1.0" encoding="utf-8"?>
<p:tagLst xmlns:a="http://schemas.openxmlformats.org/drawingml/2006/main" xmlns:r="http://schemas.openxmlformats.org/officeDocument/2006/relationships" xmlns:p="http://schemas.openxmlformats.org/presentationml/2006/main">
  <p:tag name="EE4P_AGENDAWIZARD" val="item__Element"/>
</p:tagLst>
</file>

<file path=ppt/tags/tag9.xml><?xml version="1.0" encoding="utf-8"?>
<p:tagLst xmlns:a="http://schemas.openxmlformats.org/drawingml/2006/main" xmlns:r="http://schemas.openxmlformats.org/officeDocument/2006/relationships" xmlns:p="http://schemas.openxmlformats.org/presentationml/2006/main">
  <p:tag name="EE4P_AGENDAWIZARD" val="item__Topic"/>
  <p:tag name="EE4P_AGENDAWIZARD_CONTENT" val="/Projektplanung"/>
  <p:tag name="EE4P_AGENDAWIZARD_PROPERTIES" val="67.62968/316.3987/136.0661/31.50472"/>
</p:tagLst>
</file>

<file path=ppt/theme/theme1.xml><?xml version="1.0" encoding="utf-8"?>
<a:theme xmlns:a="http://schemas.openxmlformats.org/drawingml/2006/main" name="1_Textfolie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anchor="t">
        <a:noAutofit/>
      </a:bodyPr>
      <a:lstStyle>
        <a:defPPr algn="l">
          <a:defRPr sz="1800" b="1" kern="1200" baseline="0" dirty="0" smtClean="0">
            <a:solidFill>
              <a:srgbClr val="193052"/>
            </a:solidFill>
            <a:latin typeface="Arial (Überschriften)"/>
            <a:ea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itel_und_Abschlussfolie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anchor="t">
        <a:noAutofit/>
      </a:bodyPr>
      <a:lstStyle>
        <a:defPPr algn="l">
          <a:defRPr sz="1800" b="1" kern="1200" baseline="0" dirty="0" smtClean="0">
            <a:solidFill>
              <a:srgbClr val="193052"/>
            </a:solidFill>
            <a:latin typeface="Arial (Überschriften)"/>
            <a:ea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anchor="t">
        <a:noAutofit/>
      </a:bodyPr>
      <a:lstStyle>
        <a:defPPr algn="l">
          <a:defRPr sz="1800" b="1" kern="1200" baseline="0" dirty="0" smtClean="0">
            <a:solidFill>
              <a:srgbClr val="193052"/>
            </a:solidFill>
            <a:latin typeface="Arial (Überschriften)"/>
            <a:ea typeface="Verdana" panose="020B060403050404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4FAEA1580AD5042A44A95D1178805AA" ma:contentTypeVersion="154" ma:contentTypeDescription="Ein neues Dokument erstellen." ma:contentTypeScope="" ma:versionID="b36b06b380e363c3dec57582dcd794ef">
  <xsd:schema xmlns:xsd="http://www.w3.org/2001/XMLSchema" xmlns:xs="http://www.w3.org/2001/XMLSchema" xmlns:p="http://schemas.microsoft.com/office/2006/metadata/properties" xmlns:ns2="204b7412-439c-4831-9ad8-f50ccc261daa" xmlns:ns3="e89788d6-dbb4-4496-b3d7-f8faa9891f72" xmlns:ns4="2b143b5d-2690-4860-a940-e6cf5c46148d" targetNamespace="http://schemas.microsoft.com/office/2006/metadata/properties" ma:root="true" ma:fieldsID="f8c98ca77a8a9717b331f944445d3123" ns2:_="" ns3:_="" ns4:_="">
    <xsd:import namespace="204b7412-439c-4831-9ad8-f50ccc261daa"/>
    <xsd:import namespace="e89788d6-dbb4-4496-b3d7-f8faa9891f72"/>
    <xsd:import namespace="2b143b5d-2690-4860-a940-e6cf5c46148d"/>
    <xsd:element name="properties">
      <xsd:complexType>
        <xsd:sequence>
          <xsd:element name="documentManagement">
            <xsd:complexType>
              <xsd:all>
                <xsd:element ref="ns2:_dlc_DocIdUrl" minOccurs="0"/>
                <xsd:element ref="ns2:_dlc_DocId" minOccurs="0"/>
                <xsd:element ref="ns2:_dlc_DocIdPersistId" minOccurs="0"/>
                <xsd:element ref="ns3:MediaServiceMetadata" minOccurs="0"/>
                <xsd:element ref="ns3:MediaServiceFastMetadata" minOccurs="0"/>
                <xsd:element ref="ns2:SharedWithUsers" minOccurs="0"/>
                <xsd:element ref="ns2:SharedWithDetails"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4b7412-439c-4831-9ad8-f50ccc261daa" elementFormDefault="qualified">
    <xsd:import namespace="http://schemas.microsoft.com/office/2006/documentManagement/types"/>
    <xsd:import namespace="http://schemas.microsoft.com/office/infopath/2007/PartnerControls"/>
    <xsd:element name="_dlc_DocIdUrl" ma:index="2"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8" nillable="true" ma:displayName="Wert der Dokument-ID" ma:description="Der Wert der diesem Element zugewiesenen Dokument-ID." ma:hidden="true" ma:internalName="_dlc_DocId" ma:readOnly="true">
      <xsd:simpleType>
        <xsd:restriction base="dms:Text"/>
      </xsd:simple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element name="SharedWithUsers" ma:index="13" nillable="true" ma:displayName="Freigegeben für"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89788d6-dbb4-4496-b3d7-f8faa9891f7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b143b5d-2690-4860-a940-e6cf5c46148d" elementFormDefault="qualified">
    <xsd:import namespace="http://schemas.microsoft.com/office/2006/documentManagement/types"/>
    <xsd:import namespace="http://schemas.microsoft.com/office/infopath/2007/PartnerControls"/>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hidden="true"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hidden="true" ma:internalName="MediaServiceOCR" ma:readOnly="true">
      <xsd:simpleType>
        <xsd:restriction base="dms:Note"/>
      </xsd:simpleType>
    </xsd:element>
    <xsd:element name="MediaServiceLocation" ma:index="20" nillable="true" ma:displayName="Location" ma:hidden="true"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hidden="true" ma:internalName="MediaServiceKeyPoint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Inhaltstyp"/>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204b7412-439c-4831-9ad8-f50ccc261daa">BVHDOC-1173560229-39734</_dlc_DocId>
    <_dlc_DocIdUrl xmlns="204b7412-439c-4831-9ad8-f50ccc261daa">
      <Url>https://bvhcloud.sharepoint.com/sites/documents/_layouts/15/DocIdRedir.aspx?ID=BVHDOC-1173560229-39734</Url>
      <Description>BVHDOC-1173560229-39734</Description>
    </_dlc_DocIdUrl>
    <_dlc_DocIdPersistId xmlns="204b7412-439c-4831-9ad8-f50ccc261daa" xsi:nil="true"/>
  </documentManagement>
</p:properties>
</file>

<file path=customXml/itemProps1.xml><?xml version="1.0" encoding="utf-8"?>
<ds:datastoreItem xmlns:ds="http://schemas.openxmlformats.org/officeDocument/2006/customXml" ds:itemID="{5DC0374A-C08B-4BA1-A87B-008465B61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4b7412-439c-4831-9ad8-f50ccc261daa"/>
    <ds:schemaRef ds:uri="e89788d6-dbb4-4496-b3d7-f8faa9891f72"/>
    <ds:schemaRef ds:uri="2b143b5d-2690-4860-a940-e6cf5c4614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9A20E9-68C2-4178-A9BD-255917EE2E9D}">
  <ds:schemaRefs>
    <ds:schemaRef ds:uri="http://schemas.microsoft.com/sharepoint/events"/>
  </ds:schemaRefs>
</ds:datastoreItem>
</file>

<file path=customXml/itemProps3.xml><?xml version="1.0" encoding="utf-8"?>
<ds:datastoreItem xmlns:ds="http://schemas.openxmlformats.org/officeDocument/2006/customXml" ds:itemID="{B54C6512-7146-4737-897C-61DD6387320F}">
  <ds:schemaRefs>
    <ds:schemaRef ds:uri="http://schemas.microsoft.com/sharepoint/v3/contenttype/forms"/>
  </ds:schemaRefs>
</ds:datastoreItem>
</file>

<file path=customXml/itemProps4.xml><?xml version="1.0" encoding="utf-8"?>
<ds:datastoreItem xmlns:ds="http://schemas.openxmlformats.org/officeDocument/2006/customXml" ds:itemID="{9515AC11-C435-466E-AFF6-32F5849E7A8B}">
  <ds:schemaRefs>
    <ds:schemaRef ds:uri="http://schemas.microsoft.com/office/2006/metadata/properties"/>
    <ds:schemaRef ds:uri="http://schemas.microsoft.com/office/infopath/2007/PartnerControls"/>
    <ds:schemaRef ds:uri="204b7412-439c-4831-9ad8-f50ccc261daa"/>
  </ds:schemaRefs>
</ds:datastoreItem>
</file>

<file path=docProps/app.xml><?xml version="1.0" encoding="utf-8"?>
<Properties xmlns="http://schemas.openxmlformats.org/officeDocument/2006/extended-properties" xmlns:vt="http://schemas.openxmlformats.org/officeDocument/2006/docPropsVTypes">
  <Template/>
  <TotalTime>0</TotalTime>
  <Words>4267</Words>
  <Application>Microsoft Office PowerPoint</Application>
  <PresentationFormat>Breitbild</PresentationFormat>
  <Paragraphs>748</Paragraphs>
  <Slides>59</Slides>
  <Notes>29</Notes>
  <HiddenSlides>0</HiddenSlides>
  <MMClips>0</MMClips>
  <ScaleCrop>false</ScaleCrop>
  <HeadingPairs>
    <vt:vector size="6" baseType="variant">
      <vt:variant>
        <vt:lpstr>Verwendete Schriftarten</vt:lpstr>
      </vt:variant>
      <vt:variant>
        <vt:i4>10</vt:i4>
      </vt:variant>
      <vt:variant>
        <vt:lpstr>Design</vt:lpstr>
      </vt:variant>
      <vt:variant>
        <vt:i4>3</vt:i4>
      </vt:variant>
      <vt:variant>
        <vt:lpstr>Folientitel</vt:lpstr>
      </vt:variant>
      <vt:variant>
        <vt:i4>59</vt:i4>
      </vt:variant>
    </vt:vector>
  </HeadingPairs>
  <TitlesOfParts>
    <vt:vector size="72" baseType="lpstr">
      <vt:lpstr>Arial</vt:lpstr>
      <vt:lpstr>Arial (Textkörper)</vt:lpstr>
      <vt:lpstr>Arial (Überschriften)</vt:lpstr>
      <vt:lpstr>Bookman Old Style</vt:lpstr>
      <vt:lpstr>Calibri</vt:lpstr>
      <vt:lpstr>Century Gothic</vt:lpstr>
      <vt:lpstr>National Book</vt:lpstr>
      <vt:lpstr>StarSymbol</vt:lpstr>
      <vt:lpstr>-webkit-standard</vt:lpstr>
      <vt:lpstr>Wingdings</vt:lpstr>
      <vt:lpstr>1_Textfolien</vt:lpstr>
      <vt:lpstr>2_Titel_und_Abschlussfolien</vt:lpstr>
      <vt:lpstr>Benutzerdefiniertes Design</vt:lpstr>
      <vt:lpstr>PowerPoint-Präsentation</vt:lpstr>
      <vt:lpstr>PowerPoint-Präsentation</vt:lpstr>
      <vt:lpstr>Futures, Optionen und Zertifik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nde Teil III</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VH Börsenführerschein III</dc:title>
  <dc:creator>education@bvh.org</dc:creator>
  <cp:lastModifiedBy>Max Hamscher</cp:lastModifiedBy>
  <cp:revision>1525</cp:revision>
  <cp:lastPrinted>2016-11-19T07:22:24Z</cp:lastPrinted>
  <dcterms:created xsi:type="dcterms:W3CDTF">2015-08-10T06:35:41Z</dcterms:created>
  <dcterms:modified xsi:type="dcterms:W3CDTF">2020-11-05T23:3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FAEA1580AD5042A44A95D1178805AA</vt:lpwstr>
  </property>
  <property fmtid="{D5CDD505-2E9C-101B-9397-08002B2CF9AE}" pid="3" name="Order">
    <vt:r8>1129800</vt:r8>
  </property>
  <property fmtid="{D5CDD505-2E9C-101B-9397-08002B2CF9AE}" pid="4" name="_dlc_DocIdItemGuid">
    <vt:lpwstr>21a7a37e-1fd9-4c2e-a6f8-5b25bb549aae</vt:lpwstr>
  </property>
</Properties>
</file>